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vnd.openxmlformats-officedocument.vmlDrawing" Extension="vml"/>
  <Default ContentType="image/x-wmf" Extension="wmf"/>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Layout+xml" PartName="/ppt/slideLayouts/slideLayout97.xml"/>
  <Override ContentType="application/vnd.openxmlformats-officedocument.presentationml.slideLayout+xml" PartName="/ppt/slideLayouts/slideLayout98.xml"/>
  <Override ContentType="application/vnd.openxmlformats-officedocument.presentationml.slideLayout+xml" PartName="/ppt/slideLayouts/slideLayout99.xml"/>
  <Override ContentType="application/vnd.openxmlformats-officedocument.presentationml.slideLayout+xml" PartName="/ppt/slideLayouts/slideLayout100.xml"/>
  <Override ContentType="application/vnd.openxmlformats-officedocument.presentationml.slideLayout+xml" PartName="/ppt/slideLayouts/slideLayout101.xml"/>
  <Override ContentType="application/vnd.openxmlformats-officedocument.presentationml.slideLayout+xml" PartName="/ppt/slideLayouts/slideLayout102.xml"/>
  <Override ContentType="application/vnd.openxmlformats-officedocument.presentationml.slideLayout+xml" PartName="/ppt/slideLayouts/slideLayout103.xml"/>
  <Override ContentType="application/vnd.openxmlformats-officedocument.presentationml.slideLayout+xml" PartName="/ppt/slideLayouts/slideLayout104.xml"/>
  <Override ContentType="application/vnd.openxmlformats-officedocument.presentationml.slideLayout+xml" PartName="/ppt/slideLayouts/slideLayout105.xml"/>
  <Override ContentType="application/vnd.openxmlformats-officedocument.presentationml.slideLayout+xml" PartName="/ppt/slideLayouts/slideLayout106.xml"/>
  <Override ContentType="application/vnd.openxmlformats-officedocument.presentationml.slideLayout+xml" PartName="/ppt/slideLayouts/slideLayout107.xml"/>
  <Override ContentType="application/vnd.openxmlformats-officedocument.presentationml.slideLayout+xml" PartName="/ppt/slideLayouts/slideLayout108.xml"/>
  <Override ContentType="application/vnd.openxmlformats-officedocument.presentationml.slideLayout+xml" PartName="/ppt/slideLayouts/slideLayout109.xml"/>
  <Override ContentType="application/vnd.openxmlformats-officedocument.presentationml.slideLayout+xml" PartName="/ppt/slideLayouts/slideLayout110.xml"/>
  <Override ContentType="application/vnd.openxmlformats-officedocument.presentationml.slideLayout+xml" PartName="/ppt/slideLayouts/slideLayout111.xml"/>
  <Override ContentType="application/vnd.openxmlformats-officedocument.presentationml.slideLayout+xml" PartName="/ppt/slideLayouts/slideLayout112.xml"/>
  <Override ContentType="application/vnd.openxmlformats-officedocument.presentationml.slideLayout+xml" PartName="/ppt/slideLayouts/slideLayout113.xml"/>
  <Override ContentType="application/vnd.openxmlformats-officedocument.presentationml.slideLayout+xml" PartName="/ppt/slideLayouts/slideLayout114.xml"/>
  <Override ContentType="application/vnd.openxmlformats-officedocument.presentationml.slideLayout+xml" PartName="/ppt/slideLayouts/slideLayout115.xml"/>
  <Override ContentType="application/vnd.openxmlformats-officedocument.presentationml.slideLayout+xml" PartName="/ppt/slideLayouts/slideLayout116.xml"/>
  <Override ContentType="application/vnd.openxmlformats-officedocument.presentationml.slideLayout+xml" PartName="/ppt/slideLayouts/slideLayout117.xml"/>
  <Override ContentType="application/vnd.openxmlformats-officedocument.presentationml.slideLayout+xml" PartName="/ppt/slideLayouts/slideLayout118.xml"/>
  <Override ContentType="application/vnd.openxmlformats-officedocument.presentationml.slideLayout+xml" PartName="/ppt/slideLayouts/slideLayout119.xml"/>
  <Override ContentType="application/vnd.openxmlformats-officedocument.presentationml.slideLayout+xml" PartName="/ppt/slideLayouts/slideLayout120.xml"/>
  <Override ContentType="application/vnd.openxmlformats-officedocument.presentationml.slideLayout+xml" PartName="/ppt/slideLayouts/slideLayout121.xml"/>
  <Override ContentType="application/vnd.openxmlformats-officedocument.presentationml.slideLayout+xml" PartName="/ppt/slideLayouts/slideLayout122.xml"/>
  <Override ContentType="application/vnd.openxmlformats-officedocument.presentationml.slideLayout+xml" PartName="/ppt/slideLayouts/slideLayout123.xml"/>
  <Override ContentType="application/vnd.openxmlformats-officedocument.presentationml.slideLayout+xml" PartName="/ppt/slideLayouts/slideLayout124.xml"/>
  <Override ContentType="application/vnd.openxmlformats-officedocument.presentationml.slideLayout+xml" PartName="/ppt/slideLayouts/slideLayout125.xml"/>
  <Override ContentType="application/vnd.openxmlformats-officedocument.presentationml.slideLayout+xml" PartName="/ppt/slideLayouts/slideLayout126.xml"/>
  <Override ContentType="application/vnd.openxmlformats-officedocument.presentationml.slideLayout+xml" PartName="/ppt/slideLayouts/slideLayout127.xml"/>
  <Override ContentType="application/vnd.openxmlformats-officedocument.presentationml.slideLayout+xml" PartName="/ppt/slideLayouts/slideLayout128.xml"/>
  <Override ContentType="application/vnd.openxmlformats-officedocument.presentationml.slideLayout+xml" PartName="/ppt/slideLayouts/slideLayout129.xml"/>
  <Override ContentType="application/vnd.openxmlformats-officedocument.presentationml.slideLayout+xml" PartName="/ppt/slideLayouts/slideLayout130.xml"/>
  <Override ContentType="application/vnd.openxmlformats-officedocument.presentationml.slideLayout+xml" PartName="/ppt/slideLayouts/slideLayout131.xml"/>
  <Override ContentType="application/vnd.openxmlformats-officedocument.presentationml.slideLayout+xml" PartName="/ppt/slideLayouts/slideLayout132.xml"/>
  <Override ContentType="application/vnd.openxmlformats-officedocument.presentationml.slideLayout+xml" PartName="/ppt/slideLayouts/slideLayout133.xml"/>
  <Override ContentType="application/vnd.openxmlformats-officedocument.presentationml.slideLayout+xml" PartName="/ppt/slideLayouts/slideLayout134.xml"/>
  <Override ContentType="application/vnd.openxmlformats-officedocument.presentationml.slideLayout+xml" PartName="/ppt/slideLayouts/slideLayout135.xml"/>
  <Override ContentType="application/vnd.openxmlformats-officedocument.presentationml.slideLayout+xml" PartName="/ppt/slideLayouts/slideLayout136.xml"/>
  <Override ContentType="application/vnd.openxmlformats-officedocument.presentationml.slideLayout+xml" PartName="/ppt/slideLayouts/slideLayout137.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Master+xml" PartName="/ppt/slideMasters/slideMaster9.xml"/>
  <Override ContentType="application/vnd.openxmlformats-officedocument.presentationml.slideMaster+xml" PartName="/ppt/slideMasters/slideMaster10.xml"/>
  <Override ContentType="application/vnd.openxmlformats-officedocument.presentationml.slideMaster+xml" PartName="/ppt/slideMasters/slideMaster11.xml"/>
  <Override ContentType="application/vnd.openxmlformats-officedocument.presentationml.slideMaster+xml" PartName="/ppt/slideMasters/slideMaster1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theme+xml" PartName="/ppt/theme/theme9.xml"/>
  <Override ContentType="application/vnd.openxmlformats-officedocument.theme+xml" PartName="/ppt/theme/theme10.xml"/>
  <Override ContentType="application/vnd.openxmlformats-officedocument.theme+xml" PartName="/ppt/theme/theme11.xml"/>
  <Override ContentType="application/vnd.openxmlformats-officedocument.theme+xml" PartName="/ppt/theme/theme12.xml"/>
  <Override ContentType="application/vnd.openxmlformats-officedocument.theme+xml" PartName="/ppt/theme/theme13.xml"/>
  <Override ContentType="application/vnd.openxmlformats-officedocument.theme+xml" PartName="/ppt/theme/theme1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53" r:id="rId2"/>
    <p:sldMasterId id="2147483765" r:id="rId3"/>
    <p:sldMasterId id="2147483857" r:id="rId4"/>
    <p:sldMasterId id="2147483882" r:id="rId5"/>
    <p:sldMasterId id="2147483894" r:id="rId6"/>
    <p:sldMasterId id="2147483908" r:id="rId7"/>
    <p:sldMasterId id="2147483969" r:id="rId8"/>
    <p:sldMasterId id="2147483995" r:id="rId9"/>
    <p:sldMasterId id="2147484019" r:id="rId10"/>
    <p:sldMasterId id="2147484056" r:id="rId11"/>
    <p:sldMasterId id="2147484274" r:id="rId12"/>
  </p:sldMasterIdLst>
  <p:notesMasterIdLst>
    <p:notesMasterId r:id="rId15"/>
  </p:notesMasterIdLst>
  <p:handoutMasterIdLst>
    <p:handoutMasterId r:id="rId16"/>
  </p:handoutMasterIdLst>
  <p:sldIdLst>
    <p:sldId id="686" r:id="rId13"/>
    <p:sldId id="687" r:id="rId14"/>
  </p:sldIdLst>
  <p:sldSz cx="10691813" cy="7559675"/>
  <p:notesSz cx="7104063" cy="10234613"/>
  <p:custDataLst>
    <p:tags r:id="rId17"/>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78" autoAdjust="0"/>
    <p:restoredTop sz="96366" autoAdjust="0"/>
  </p:normalViewPr>
  <p:slideViewPr>
    <p:cSldViewPr snapToGrid="0" snapToObjects="1">
      <p:cViewPr varScale="1">
        <p:scale>
          <a:sx n="102" d="100"/>
          <a:sy n="102" d="100"/>
        </p:scale>
        <p:origin x="72" y="120"/>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Masters/slideMaster10.xml" Type="http://schemas.openxmlformats.org/officeDocument/2006/relationships/slideMaster"/><Relationship Id="rId11" Target="slideMasters/slideMaster11.xml" Type="http://schemas.openxmlformats.org/officeDocument/2006/relationships/slideMaster"/><Relationship Id="rId12" Target="slideMasters/slideMaster12.xml" Type="http://schemas.openxmlformats.org/officeDocument/2006/relationships/slideMaster"/><Relationship Id="rId13" Target="slides/slide1.xml" Type="http://schemas.openxmlformats.org/officeDocument/2006/relationships/slide"/><Relationship Id="rId14" Target="slides/slide2.xml" Type="http://schemas.openxmlformats.org/officeDocument/2006/relationships/slide"/><Relationship Id="rId15" Target="notesMasters/notesMaster1.xml" Type="http://schemas.openxmlformats.org/officeDocument/2006/relationships/notesMaster"/><Relationship Id="rId16" Target="handoutMasters/handoutMaster1.xml" Type="http://schemas.openxmlformats.org/officeDocument/2006/relationships/handoutMaster"/><Relationship Id="rId17" Target="tags/tag1.xml" Type="http://schemas.openxmlformats.org/officeDocument/2006/relationships/tags"/><Relationship Id="rId18" Target="presProps.xml" Type="http://schemas.openxmlformats.org/officeDocument/2006/relationships/presProps"/><Relationship Id="rId19" Target="viewProps.xml" Type="http://schemas.openxmlformats.org/officeDocument/2006/relationships/viewProps"/><Relationship Id="rId2" Target="slideMasters/slideMaster2.xml" Type="http://schemas.openxmlformats.org/officeDocument/2006/relationships/slideMaster"/><Relationship Id="rId20" Target="theme/theme1.xml" Type="http://schemas.openxmlformats.org/officeDocument/2006/relationships/theme"/><Relationship Id="rId21" Target="tableStyles.xml" Type="http://schemas.openxmlformats.org/officeDocument/2006/relationships/tableStyles"/><Relationship Id="rId3" Target="slideMasters/slideMaster3.xml" Type="http://schemas.openxmlformats.org/officeDocument/2006/relationships/slideMaster"/><Relationship Id="rId4" Target="slideMasters/slideMaster4.xml" Type="http://schemas.openxmlformats.org/officeDocument/2006/relationships/slideMaster"/><Relationship Id="rId5" Target="slideMasters/slideMaster5.xml" Type="http://schemas.openxmlformats.org/officeDocument/2006/relationships/slideMaster"/><Relationship Id="rId6" Target="slideMasters/slideMaster6.xml" Type="http://schemas.openxmlformats.org/officeDocument/2006/relationships/slideMaster"/><Relationship Id="rId7" Target="slideMasters/slideMaster7.xml" Type="http://schemas.openxmlformats.org/officeDocument/2006/relationships/slideMaster"/><Relationship Id="rId8" Target="slideMasters/slideMaster8.xml" Type="http://schemas.openxmlformats.org/officeDocument/2006/relationships/slideMaster"/><Relationship Id="rId9" Target="slideMasters/slideMaster9.xml" Type="http://schemas.openxmlformats.org/officeDocument/2006/relationships/slideMaster"/></Relationships>
</file>

<file path=ppt/drawings/_rels/vmlDrawing1.vml.rels><?xml version="1.0" encoding="UTF-8" standalone="yes"?><Relationships xmlns="http://schemas.openxmlformats.org/package/2006/relationships"><Relationship Id="rId1" Target="../media/image21.emf" Type="http://schemas.openxmlformats.org/officeDocument/2006/relationships/image"/></Relationships>
</file>

<file path=ppt/handoutMasters/_rels/handoutMaster1.xml.rels><?xml version="1.0" encoding="UTF-8" standalone="yes"?><Relationships xmlns="http://schemas.openxmlformats.org/package/2006/relationships"><Relationship Id="rId1" Target="../theme/theme14.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9</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1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9</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0.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1.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2.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4.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5.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6.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7.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8.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9.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0.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1.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2.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3.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4.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5.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7.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8.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9.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0.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1.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2.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3.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4.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5.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9.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0.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1.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2.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3.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4.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5.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6.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1.png" Type="http://schemas.openxmlformats.org/officeDocument/2006/relationships/image"/><Relationship Id="rId3" Target="NULL" Type="http://schemas.openxmlformats.org/officeDocument/2006/relationships/image"/><Relationship Id="rId4" Target="../media/image2.jpeg" Type="http://schemas.openxmlformats.org/officeDocument/2006/relationships/image"/></Relationships>
</file>

<file path=ppt/slideLayouts/_rels/slideLayout3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2.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3.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5.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 Id="rId3" Target="NULL" Type="http://schemas.openxmlformats.org/officeDocument/2006/relationships/image"/><Relationship Id="rId4" Target="../media/image4.jpeg" Type="http://schemas.openxmlformats.org/officeDocument/2006/relationships/image"/></Relationships>
</file>

<file path=ppt/slideLayouts/_rels/slideLayout4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7.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8.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9.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0.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1.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2.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3.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4.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1.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2.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3.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4.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5.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6.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1.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2.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3.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4.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5.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6.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7.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8.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0.xml.rels><?xml version="1.0" encoding="UTF-8" standalone="yes"?><Relationships xmlns="http://schemas.openxmlformats.org/package/2006/relationships"><Relationship Id="rId1" Target="../slideMasters/slideMaster7.xml" Type="http://schemas.openxmlformats.org/officeDocument/2006/relationships/slideMaster"/><Relationship Id="rId2" Target="../media/image1.png" Type="http://schemas.openxmlformats.org/officeDocument/2006/relationships/image"/><Relationship Id="rId3" Target="../media/image2.jpeg" Type="http://schemas.openxmlformats.org/officeDocument/2006/relationships/image"/></Relationships>
</file>

<file path=ppt/slideLayouts/_rels/slideLayout8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2.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3.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4.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5.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6.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7.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8.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9.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0.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2.xml.rels><?xml version="1.0" encoding="UTF-8" standalone="yes"?><Relationships xmlns="http://schemas.openxmlformats.org/package/2006/relationships"><Relationship Id="rId1" Target="../slideMasters/slideMaster8.xml" Type="http://schemas.openxmlformats.org/officeDocument/2006/relationships/slideMaster"/><Relationship Id="rId2" Target="../media/image1.png" Type="http://schemas.openxmlformats.org/officeDocument/2006/relationships/image"/><Relationship Id="rId3" Target="NULL" Type="http://schemas.openxmlformats.org/officeDocument/2006/relationships/image"/><Relationship Id="rId4" Target="../media/image2.jpeg" Type="http://schemas.openxmlformats.org/officeDocument/2006/relationships/image"/></Relationships>
</file>

<file path=ppt/slideLayouts/_rels/slideLayout9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4.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5.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6.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7.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8.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9.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00"/>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503972" indent="0" algn="ctr">
              <a:buNone/>
              <a:defRPr>
                <a:solidFill>
                  <a:schemeClr val="tx1">
                    <a:tint val="75000"/>
                  </a:schemeClr>
                </a:solidFill>
              </a:defRPr>
            </a:lvl2pPr>
            <a:lvl3pPr marL="1007943" indent="0" algn="ctr">
              <a:buNone/>
              <a:defRPr>
                <a:solidFill>
                  <a:schemeClr val="tx1">
                    <a:tint val="75000"/>
                  </a:schemeClr>
                </a:solidFill>
              </a:defRPr>
            </a:lvl3pPr>
            <a:lvl4pPr marL="1511915" indent="0" algn="ctr">
              <a:buNone/>
              <a:defRPr>
                <a:solidFill>
                  <a:schemeClr val="tx1">
                    <a:tint val="75000"/>
                  </a:schemeClr>
                </a:solidFill>
              </a:defRPr>
            </a:lvl4pPr>
            <a:lvl5pPr marL="2015886" indent="0" algn="ctr">
              <a:buNone/>
              <a:defRPr>
                <a:solidFill>
                  <a:schemeClr val="tx1">
                    <a:tint val="75000"/>
                  </a:schemeClr>
                </a:solidFill>
              </a:defRPr>
            </a:lvl5pPr>
            <a:lvl6pPr marL="2519858" indent="0" algn="ctr">
              <a:buNone/>
              <a:defRPr>
                <a:solidFill>
                  <a:schemeClr val="tx1">
                    <a:tint val="75000"/>
                  </a:schemeClr>
                </a:solidFill>
              </a:defRPr>
            </a:lvl6pPr>
            <a:lvl7pPr marL="3023829" indent="0" algn="ctr">
              <a:buNone/>
              <a:defRPr>
                <a:solidFill>
                  <a:schemeClr val="tx1">
                    <a:tint val="75000"/>
                  </a:schemeClr>
                </a:solidFill>
              </a:defRPr>
            </a:lvl7pPr>
            <a:lvl8pPr marL="3527801" indent="0" algn="ctr">
              <a:buNone/>
              <a:defRPr>
                <a:solidFill>
                  <a:schemeClr val="tx1">
                    <a:tint val="75000"/>
                  </a:schemeClr>
                </a:solidFill>
              </a:defRPr>
            </a:lvl8pPr>
            <a:lvl9pPr marL="4031772"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54054CC1-4557-4A70-8892-1A87F0B9F498}" type="datetimeFigureOut">
              <a:rPr lang="ja-JP" altLang="en-US"/>
              <a:pPr>
                <a:defRPr/>
              </a:pPr>
              <a:t>2019/1/9</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C3BA7D1E-618F-45CF-925B-8C3A41E2516D}" type="slidenum">
              <a:rPr lang="ja-JP" altLang="en-US"/>
              <a:pPr>
                <a:defRPr/>
              </a:pPr>
              <a:t>‹#›</a:t>
            </a:fld>
            <a:endParaRPr lang="ja-JP" altLang="en-US"/>
          </a:p>
        </p:txBody>
      </p:sp>
    </p:spTree>
    <p:extLst>
      <p:ext uri="{BB962C8B-B14F-4D97-AF65-F5344CB8AC3E}">
        <p14:creationId xmlns:p14="http://schemas.microsoft.com/office/powerpoint/2010/main" val="299675534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8B5F2197-8041-4CB8-8B90-901BEF6C2E77}" type="datetimeFigureOut">
              <a:rPr lang="ja-JP" altLang="en-US"/>
              <a:pPr>
                <a:defRPr/>
              </a:pPr>
              <a:t>2019/1/9</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0B6BE1FB-8DC6-40B0-9501-F72E0B2317DE}" type="slidenum">
              <a:rPr lang="ja-JP" altLang="en-US"/>
              <a:pPr>
                <a:defRPr/>
              </a:pPr>
              <a:t>‹#›</a:t>
            </a:fld>
            <a:endParaRPr lang="ja-JP" altLang="en-US"/>
          </a:p>
        </p:txBody>
      </p:sp>
    </p:spTree>
    <p:extLst>
      <p:ext uri="{BB962C8B-B14F-4D97-AF65-F5344CB8AC3E}">
        <p14:creationId xmlns:p14="http://schemas.microsoft.com/office/powerpoint/2010/main" val="16036427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792"/>
            <a:ext cx="9088041" cy="1501435"/>
          </a:xfrm>
        </p:spPr>
        <p:txBody>
          <a:bodyPr anchor="t"/>
          <a:lstStyle>
            <a:lvl1pPr algn="l">
              <a:defRPr sz="4409"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205">
                <a:solidFill>
                  <a:schemeClr val="tx1">
                    <a:tint val="75000"/>
                  </a:schemeClr>
                </a:solidFill>
              </a:defRPr>
            </a:lvl1pPr>
            <a:lvl2pPr marL="503972" indent="0">
              <a:buNone/>
              <a:defRPr sz="1984">
                <a:solidFill>
                  <a:schemeClr val="tx1">
                    <a:tint val="75000"/>
                  </a:schemeClr>
                </a:solidFill>
              </a:defRPr>
            </a:lvl2pPr>
            <a:lvl3pPr marL="1007943" indent="0">
              <a:buNone/>
              <a:defRPr sz="1764">
                <a:solidFill>
                  <a:schemeClr val="tx1">
                    <a:tint val="75000"/>
                  </a:schemeClr>
                </a:solidFill>
              </a:defRPr>
            </a:lvl3pPr>
            <a:lvl4pPr marL="1511915" indent="0">
              <a:buNone/>
              <a:defRPr sz="1543">
                <a:solidFill>
                  <a:schemeClr val="tx1">
                    <a:tint val="75000"/>
                  </a:schemeClr>
                </a:solidFill>
              </a:defRPr>
            </a:lvl4pPr>
            <a:lvl5pPr marL="2015886" indent="0">
              <a:buNone/>
              <a:defRPr sz="1543">
                <a:solidFill>
                  <a:schemeClr val="tx1">
                    <a:tint val="75000"/>
                  </a:schemeClr>
                </a:solidFill>
              </a:defRPr>
            </a:lvl5pPr>
            <a:lvl6pPr marL="2519858" indent="0">
              <a:buNone/>
              <a:defRPr sz="1543">
                <a:solidFill>
                  <a:schemeClr val="tx1">
                    <a:tint val="75000"/>
                  </a:schemeClr>
                </a:solidFill>
              </a:defRPr>
            </a:lvl6pPr>
            <a:lvl7pPr marL="3023829" indent="0">
              <a:buNone/>
              <a:defRPr sz="1543">
                <a:solidFill>
                  <a:schemeClr val="tx1">
                    <a:tint val="75000"/>
                  </a:schemeClr>
                </a:solidFill>
              </a:defRPr>
            </a:lvl7pPr>
            <a:lvl8pPr marL="3527801" indent="0">
              <a:buNone/>
              <a:defRPr sz="1543">
                <a:solidFill>
                  <a:schemeClr val="tx1">
                    <a:tint val="75000"/>
                  </a:schemeClr>
                </a:solidFill>
              </a:defRPr>
            </a:lvl8pPr>
            <a:lvl9pPr marL="4031772" indent="0">
              <a:buNone/>
              <a:defRPr sz="1543">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1F1C66CC-B3B7-401C-8157-D7DC507C4D64}" type="datetimeFigureOut">
              <a:rPr lang="ja-JP" altLang="en-US"/>
              <a:pPr>
                <a:defRPr/>
              </a:pPr>
              <a:t>2019/1/9</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4593ECAC-9575-4A4D-89E3-1962900218EB}" type="slidenum">
              <a:rPr lang="ja-JP" altLang="en-US"/>
              <a:pPr>
                <a:defRPr/>
              </a:pPr>
              <a:t>‹#›</a:t>
            </a:fld>
            <a:endParaRPr lang="ja-JP" altLang="en-US"/>
          </a:p>
        </p:txBody>
      </p:sp>
    </p:spTree>
    <p:extLst>
      <p:ext uri="{BB962C8B-B14F-4D97-AF65-F5344CB8AC3E}">
        <p14:creationId xmlns:p14="http://schemas.microsoft.com/office/powerpoint/2010/main" val="2911300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25"/>
            <a:ext cx="4722217" cy="4989036"/>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25"/>
            <a:ext cx="4722217" cy="4989036"/>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87B3FC8A-6EBE-428D-BB69-761DF7A3C433}" type="datetimeFigureOut">
              <a:rPr lang="ja-JP" altLang="en-US"/>
              <a:pPr>
                <a:defRPr/>
              </a:pPr>
              <a:t>2019/1/9</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B0788A19-3414-48A3-A1A8-0B9F9333D44D}" type="slidenum">
              <a:rPr lang="ja-JP" altLang="en-US"/>
              <a:pPr>
                <a:defRPr/>
              </a:pPr>
              <a:t>‹#›</a:t>
            </a:fld>
            <a:endParaRPr lang="ja-JP" altLang="en-US"/>
          </a:p>
        </p:txBody>
      </p:sp>
    </p:spTree>
    <p:extLst>
      <p:ext uri="{BB962C8B-B14F-4D97-AF65-F5344CB8AC3E}">
        <p14:creationId xmlns:p14="http://schemas.microsoft.com/office/powerpoint/2010/main" val="2252947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3" y="1692178"/>
            <a:ext cx="4725930"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3" y="2397397"/>
            <a:ext cx="4725930"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65D43BEE-D743-44AC-B92A-F3370E9C9EF2}" type="datetimeFigureOut">
              <a:rPr lang="ja-JP" altLang="en-US"/>
              <a:pPr>
                <a:defRPr/>
              </a:pPr>
              <a:t>2019/1/9</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FB31302A-AB97-42A6-B5F8-EA8B6B3F3F3C}" type="slidenum">
              <a:rPr lang="ja-JP" altLang="en-US"/>
              <a:pPr>
                <a:defRPr/>
              </a:pPr>
              <a:t>‹#›</a:t>
            </a:fld>
            <a:endParaRPr lang="ja-JP" altLang="en-US"/>
          </a:p>
        </p:txBody>
      </p:sp>
    </p:spTree>
    <p:extLst>
      <p:ext uri="{BB962C8B-B14F-4D97-AF65-F5344CB8AC3E}">
        <p14:creationId xmlns:p14="http://schemas.microsoft.com/office/powerpoint/2010/main" val="335870009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6E20F799-043B-4165-9D52-A6A7B3646492}" type="datetimeFigureOut">
              <a:rPr lang="ja-JP" altLang="en-US"/>
              <a:pPr>
                <a:defRPr/>
              </a:pPr>
              <a:t>2019/1/9</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BA8C6C40-50B7-42A7-B27F-2BFABBA72B96}" type="slidenum">
              <a:rPr lang="ja-JP" altLang="en-US"/>
              <a:pPr>
                <a:defRPr/>
              </a:pPr>
              <a:t>‹#›</a:t>
            </a:fld>
            <a:endParaRPr lang="ja-JP" altLang="en-US"/>
          </a:p>
        </p:txBody>
      </p:sp>
    </p:spTree>
    <p:extLst>
      <p:ext uri="{BB962C8B-B14F-4D97-AF65-F5344CB8AC3E}">
        <p14:creationId xmlns:p14="http://schemas.microsoft.com/office/powerpoint/2010/main" val="141052994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A221A28F-A083-4B3C-A561-64F8A342145F}" type="datetimeFigureOut">
              <a:rPr lang="ja-JP" altLang="en-US"/>
              <a:pPr>
                <a:defRPr/>
              </a:pPr>
              <a:t>2019/1/9</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772AA6B6-DF8F-4AA0-9199-AD2941AB1ADC}" type="slidenum">
              <a:rPr lang="ja-JP" altLang="en-US"/>
              <a:pPr>
                <a:defRPr/>
              </a:pPr>
              <a:t>‹#›</a:t>
            </a:fld>
            <a:endParaRPr lang="ja-JP" altLang="en-US"/>
          </a:p>
        </p:txBody>
      </p:sp>
    </p:spTree>
    <p:extLst>
      <p:ext uri="{BB962C8B-B14F-4D97-AF65-F5344CB8AC3E}">
        <p14:creationId xmlns:p14="http://schemas.microsoft.com/office/powerpoint/2010/main" val="371324822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205" b="1"/>
            </a:lvl1pPr>
          </a:lstStyle>
          <a:p>
            <a:r>
              <a:rPr lang="ja-JP" altLang="en-US"/>
              <a:t>マスター タイトルの書式設定</a:t>
            </a:r>
          </a:p>
        </p:txBody>
      </p:sp>
      <p:sp>
        <p:nvSpPr>
          <p:cNvPr id="3" name="コンテンツ プレースホルダー 2"/>
          <p:cNvSpPr>
            <a:spLocks noGrp="1"/>
          </p:cNvSpPr>
          <p:nvPr>
            <p:ph idx="1"/>
          </p:nvPr>
        </p:nvSpPr>
        <p:spPr>
          <a:xfrm>
            <a:off x="4180202" y="300988"/>
            <a:ext cx="5977020" cy="6451973"/>
          </a:xfrm>
        </p:spPr>
        <p:txBody>
          <a:bodyPr/>
          <a:lstStyle>
            <a:lvl1pPr>
              <a:defRPr sz="3527"/>
            </a:lvl1pPr>
            <a:lvl2pPr>
              <a:defRPr sz="3086"/>
            </a:lvl2pPr>
            <a:lvl3pPr>
              <a:defRPr sz="2646"/>
            </a:lvl3pPr>
            <a:lvl4pPr>
              <a:defRPr sz="2205"/>
            </a:lvl4pPr>
            <a:lvl5pPr>
              <a:defRPr sz="2205"/>
            </a:lvl5pPr>
            <a:lvl6pPr>
              <a:defRPr sz="2205"/>
            </a:lvl6pPr>
            <a:lvl7pPr>
              <a:defRPr sz="2205"/>
            </a:lvl7pPr>
            <a:lvl8pPr>
              <a:defRPr sz="2205"/>
            </a:lvl8pPr>
            <a:lvl9pPr>
              <a:defRPr sz="2205"/>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3"/>
            <a:ext cx="3517533" cy="5171028"/>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636EE691-99A5-4E9B-B5EB-A6257DEC6504}" type="datetimeFigureOut">
              <a:rPr lang="ja-JP" altLang="en-US"/>
              <a:pPr>
                <a:defRPr/>
              </a:pPr>
              <a:t>2019/1/9</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9605EBDB-CA91-419C-8F43-475B7C8A3983}" type="slidenum">
              <a:rPr lang="ja-JP" altLang="en-US"/>
              <a:pPr>
                <a:defRPr/>
              </a:pPr>
              <a:t>‹#›</a:t>
            </a:fld>
            <a:endParaRPr lang="ja-JP" altLang="en-US"/>
          </a:p>
        </p:txBody>
      </p:sp>
    </p:spTree>
    <p:extLst>
      <p:ext uri="{BB962C8B-B14F-4D97-AF65-F5344CB8AC3E}">
        <p14:creationId xmlns:p14="http://schemas.microsoft.com/office/powerpoint/2010/main" val="417397541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205"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527"/>
            </a:lvl1pPr>
            <a:lvl2pPr marL="503972" indent="0">
              <a:buNone/>
              <a:defRPr sz="3086"/>
            </a:lvl2pPr>
            <a:lvl3pPr marL="1007943" indent="0">
              <a:buNone/>
              <a:defRPr sz="2646"/>
            </a:lvl3pPr>
            <a:lvl4pPr marL="1511915" indent="0">
              <a:buNone/>
              <a:defRPr sz="2205"/>
            </a:lvl4pPr>
            <a:lvl5pPr marL="2015886" indent="0">
              <a:buNone/>
              <a:defRPr sz="2205"/>
            </a:lvl5pPr>
            <a:lvl6pPr marL="2519858" indent="0">
              <a:buNone/>
              <a:defRPr sz="2205"/>
            </a:lvl6pPr>
            <a:lvl7pPr marL="3023829" indent="0">
              <a:buNone/>
              <a:defRPr sz="2205"/>
            </a:lvl7pPr>
            <a:lvl8pPr marL="3527801" indent="0">
              <a:buNone/>
              <a:defRPr sz="2205"/>
            </a:lvl8pPr>
            <a:lvl9pPr marL="4031772" indent="0">
              <a:buNone/>
              <a:defRPr sz="2205"/>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C7DD1873-7015-42F2-946E-B0CF94CC6421}" type="datetimeFigureOut">
              <a:rPr lang="ja-JP" altLang="en-US"/>
              <a:pPr>
                <a:defRPr/>
              </a:pPr>
              <a:t>2019/1/9</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E1DED7D1-ED98-49AF-A8DF-A575402B415B}" type="slidenum">
              <a:rPr lang="ja-JP" altLang="en-US"/>
              <a:pPr>
                <a:defRPr/>
              </a:pPr>
              <a:t>‹#›</a:t>
            </a:fld>
            <a:endParaRPr lang="ja-JP" altLang="en-US"/>
          </a:p>
        </p:txBody>
      </p:sp>
    </p:spTree>
    <p:extLst>
      <p:ext uri="{BB962C8B-B14F-4D97-AF65-F5344CB8AC3E}">
        <p14:creationId xmlns:p14="http://schemas.microsoft.com/office/powerpoint/2010/main" val="292637279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46CAD794-3600-4E68-A355-D07BC18C93BB}" type="datetimeFigureOut">
              <a:rPr lang="ja-JP" altLang="en-US"/>
              <a:pPr>
                <a:defRPr/>
              </a:pPr>
              <a:t>2019/1/9</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8121BFB5-F30D-4847-900E-7F9E68CAE872}" type="slidenum">
              <a:rPr lang="ja-JP" altLang="en-US"/>
              <a:pPr>
                <a:defRPr/>
              </a:pPr>
              <a:t>‹#›</a:t>
            </a:fld>
            <a:endParaRPr lang="ja-JP" altLang="en-US"/>
          </a:p>
        </p:txBody>
      </p:sp>
    </p:spTree>
    <p:extLst>
      <p:ext uri="{BB962C8B-B14F-4D97-AF65-F5344CB8AC3E}">
        <p14:creationId xmlns:p14="http://schemas.microsoft.com/office/powerpoint/2010/main" val="384342204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38"/>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38"/>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EBEA021B-97B6-4399-A352-DA7A56961B6F}" type="datetimeFigureOut">
              <a:rPr lang="ja-JP" altLang="en-US"/>
              <a:pPr>
                <a:defRPr/>
              </a:pPr>
              <a:t>2019/1/9</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9B119DEA-0B28-4970-A045-712AE9EFA3B4}" type="slidenum">
              <a:rPr lang="ja-JP" altLang="en-US"/>
              <a:pPr>
                <a:defRPr/>
              </a:pPr>
              <a:t>‹#›</a:t>
            </a:fld>
            <a:endParaRPr lang="ja-JP" altLang="en-US"/>
          </a:p>
        </p:txBody>
      </p:sp>
    </p:spTree>
    <p:extLst>
      <p:ext uri="{BB962C8B-B14F-4D97-AF65-F5344CB8AC3E}">
        <p14:creationId xmlns:p14="http://schemas.microsoft.com/office/powerpoint/2010/main" val="18552681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10.xml.rels><?xml version="1.0" encoding="UTF-8" standalone="yes"?><Relationships xmlns="http://schemas.openxmlformats.org/package/2006/relationships"><Relationship Id="rId1" Target="../slideLayouts/slideLayout104.xml" Type="http://schemas.openxmlformats.org/officeDocument/2006/relationships/slideLayout"/><Relationship Id="rId10" Target="../slideLayouts/slideLayout113.xml" Type="http://schemas.openxmlformats.org/officeDocument/2006/relationships/slideLayout"/><Relationship Id="rId11" Target="../slideLayouts/slideLayout114.xml" Type="http://schemas.openxmlformats.org/officeDocument/2006/relationships/slideLayout"/><Relationship Id="rId12" Target="../theme/theme10.xml" Type="http://schemas.openxmlformats.org/officeDocument/2006/relationships/theme"/><Relationship Id="rId2" Target="../slideLayouts/slideLayout105.xml" Type="http://schemas.openxmlformats.org/officeDocument/2006/relationships/slideLayout"/><Relationship Id="rId3" Target="../slideLayouts/slideLayout106.xml" Type="http://schemas.openxmlformats.org/officeDocument/2006/relationships/slideLayout"/><Relationship Id="rId4" Target="../slideLayouts/slideLayout107.xml" Type="http://schemas.openxmlformats.org/officeDocument/2006/relationships/slideLayout"/><Relationship Id="rId5" Target="../slideLayouts/slideLayout108.xml" Type="http://schemas.openxmlformats.org/officeDocument/2006/relationships/slideLayout"/><Relationship Id="rId6" Target="../slideLayouts/slideLayout109.xml" Type="http://schemas.openxmlformats.org/officeDocument/2006/relationships/slideLayout"/><Relationship Id="rId7" Target="../slideLayouts/slideLayout110.xml" Type="http://schemas.openxmlformats.org/officeDocument/2006/relationships/slideLayout"/><Relationship Id="rId8" Target="../slideLayouts/slideLayout111.xml" Type="http://schemas.openxmlformats.org/officeDocument/2006/relationships/slideLayout"/><Relationship Id="rId9" Target="../slideLayouts/slideLayout112.xml" Type="http://schemas.openxmlformats.org/officeDocument/2006/relationships/slideLayout"/></Relationships>
</file>

<file path=ppt/slideMasters/_rels/slideMaster11.xml.rels><?xml version="1.0" encoding="UTF-8" standalone="yes"?><Relationships xmlns="http://schemas.openxmlformats.org/package/2006/relationships"><Relationship Id="rId1" Target="../slideLayouts/slideLayout115.xml" Type="http://schemas.openxmlformats.org/officeDocument/2006/relationships/slideLayout"/><Relationship Id="rId10" Target="../slideLayouts/slideLayout124.xml" Type="http://schemas.openxmlformats.org/officeDocument/2006/relationships/slideLayout"/><Relationship Id="rId11" Target="../slideLayouts/slideLayout125.xml" Type="http://schemas.openxmlformats.org/officeDocument/2006/relationships/slideLayout"/><Relationship Id="rId12" Target="../slideLayouts/slideLayout126.xml" Type="http://schemas.openxmlformats.org/officeDocument/2006/relationships/slideLayout"/><Relationship Id="rId13" Target="../theme/theme11.xml" Type="http://schemas.openxmlformats.org/officeDocument/2006/relationships/theme"/><Relationship Id="rId2" Target="../slideLayouts/slideLayout116.xml" Type="http://schemas.openxmlformats.org/officeDocument/2006/relationships/slideLayout"/><Relationship Id="rId3" Target="../slideLayouts/slideLayout117.xml" Type="http://schemas.openxmlformats.org/officeDocument/2006/relationships/slideLayout"/><Relationship Id="rId4" Target="../slideLayouts/slideLayout118.xml" Type="http://schemas.openxmlformats.org/officeDocument/2006/relationships/slideLayout"/><Relationship Id="rId5" Target="../slideLayouts/slideLayout119.xml" Type="http://schemas.openxmlformats.org/officeDocument/2006/relationships/slideLayout"/><Relationship Id="rId6" Target="../slideLayouts/slideLayout120.xml" Type="http://schemas.openxmlformats.org/officeDocument/2006/relationships/slideLayout"/><Relationship Id="rId7" Target="../slideLayouts/slideLayout121.xml" Type="http://schemas.openxmlformats.org/officeDocument/2006/relationships/slideLayout"/><Relationship Id="rId8" Target="../slideLayouts/slideLayout122.xml" Type="http://schemas.openxmlformats.org/officeDocument/2006/relationships/slideLayout"/><Relationship Id="rId9" Target="../slideLayouts/slideLayout123.xml" Type="http://schemas.openxmlformats.org/officeDocument/2006/relationships/slideLayout"/></Relationships>
</file>

<file path=ppt/slideMasters/_rels/slideMaster12.xml.rels><?xml version="1.0" encoding="UTF-8" standalone="yes"?><Relationships xmlns="http://schemas.openxmlformats.org/package/2006/relationships"><Relationship Id="rId1" Target="../slideLayouts/slideLayout127.xml" Type="http://schemas.openxmlformats.org/officeDocument/2006/relationships/slideLayout"/><Relationship Id="rId10" Target="../slideLayouts/slideLayout136.xml" Type="http://schemas.openxmlformats.org/officeDocument/2006/relationships/slideLayout"/><Relationship Id="rId11" Target="../slideLayouts/slideLayout137.xml" Type="http://schemas.openxmlformats.org/officeDocument/2006/relationships/slideLayout"/><Relationship Id="rId12" Target="../theme/theme12.xml" Type="http://schemas.openxmlformats.org/officeDocument/2006/relationships/theme"/><Relationship Id="rId2" Target="../slideLayouts/slideLayout128.xml" Type="http://schemas.openxmlformats.org/officeDocument/2006/relationships/slideLayout"/><Relationship Id="rId3" Target="../slideLayouts/slideLayout129.xml" Type="http://schemas.openxmlformats.org/officeDocument/2006/relationships/slideLayout"/><Relationship Id="rId4" Target="../slideLayouts/slideLayout130.xml" Type="http://schemas.openxmlformats.org/officeDocument/2006/relationships/slideLayout"/><Relationship Id="rId5" Target="../slideLayouts/slideLayout131.xml" Type="http://schemas.openxmlformats.org/officeDocument/2006/relationships/slideLayout"/><Relationship Id="rId6" Target="../slideLayouts/slideLayout132.xml" Type="http://schemas.openxmlformats.org/officeDocument/2006/relationships/slideLayout"/><Relationship Id="rId7" Target="../slideLayouts/slideLayout133.xml" Type="http://schemas.openxmlformats.org/officeDocument/2006/relationships/slideLayout"/><Relationship Id="rId8" Target="../slideLayouts/slideLayout134.xml" Type="http://schemas.openxmlformats.org/officeDocument/2006/relationships/slideLayout"/><Relationship Id="rId9" Target="../slideLayouts/slideLayout135.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3.xml" Type="http://schemas.openxmlformats.org/officeDocument/2006/relationships/slideLayout"/><Relationship Id="rId10" Target="../slideLayouts/slideLayout32.xml" Type="http://schemas.openxmlformats.org/officeDocument/2006/relationships/slideLayout"/><Relationship Id="rId11" Target="../slideLayouts/slideLayout33.xml" Type="http://schemas.openxmlformats.org/officeDocument/2006/relationships/slideLayout"/><Relationship Id="rId12" Target="../theme/theme3.xml" Type="http://schemas.openxmlformats.org/officeDocument/2006/relationships/theme"/><Relationship Id="rId2" Target="../slideLayouts/slideLayout24.xml" Type="http://schemas.openxmlformats.org/officeDocument/2006/relationships/slideLayout"/><Relationship Id="rId3" Target="../slideLayouts/slideLayout25.xml" Type="http://schemas.openxmlformats.org/officeDocument/2006/relationships/slideLayout"/><Relationship Id="rId4" Target="../slideLayouts/slideLayout26.xml" Type="http://schemas.openxmlformats.org/officeDocument/2006/relationships/slideLayout"/><Relationship Id="rId5" Target="../slideLayouts/slideLayout27.xml" Type="http://schemas.openxmlformats.org/officeDocument/2006/relationships/slideLayout"/><Relationship Id="rId6" Target="../slideLayouts/slideLayout28.xml" Type="http://schemas.openxmlformats.org/officeDocument/2006/relationships/slideLayout"/><Relationship Id="rId7" Target="../slideLayouts/slideLayout29.xml" Type="http://schemas.openxmlformats.org/officeDocument/2006/relationships/slideLayout"/><Relationship Id="rId8" Target="../slideLayouts/slideLayout30.xml" Type="http://schemas.openxmlformats.org/officeDocument/2006/relationships/slideLayout"/><Relationship Id="rId9" Target="../slideLayouts/slideLayout31.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34.xml" Type="http://schemas.openxmlformats.org/officeDocument/2006/relationships/slideLayout"/><Relationship Id="rId10" Target="../slideLayouts/slideLayout43.xml" Type="http://schemas.openxmlformats.org/officeDocument/2006/relationships/slideLayout"/><Relationship Id="rId11" Target="../slideLayouts/slideLayout44.xml" Type="http://schemas.openxmlformats.org/officeDocument/2006/relationships/slideLayout"/><Relationship Id="rId12" Target="../slideLayouts/slideLayout45.xml" Type="http://schemas.openxmlformats.org/officeDocument/2006/relationships/slideLayout"/><Relationship Id="rId13" Target="../theme/theme4.xml" Type="http://schemas.openxmlformats.org/officeDocument/2006/relationships/theme"/><Relationship Id="rId2" Target="../slideLayouts/slideLayout35.xml" Type="http://schemas.openxmlformats.org/officeDocument/2006/relationships/slideLayout"/><Relationship Id="rId3" Target="../slideLayouts/slideLayout36.xml" Type="http://schemas.openxmlformats.org/officeDocument/2006/relationships/slideLayout"/><Relationship Id="rId4" Target="../slideLayouts/slideLayout37.xml" Type="http://schemas.openxmlformats.org/officeDocument/2006/relationships/slideLayout"/><Relationship Id="rId5" Target="../slideLayouts/slideLayout38.xml" Type="http://schemas.openxmlformats.org/officeDocument/2006/relationships/slideLayout"/><Relationship Id="rId6" Target="../slideLayouts/slideLayout39.xml" Type="http://schemas.openxmlformats.org/officeDocument/2006/relationships/slideLayout"/><Relationship Id="rId7" Target="../slideLayouts/slideLayout40.xml" Type="http://schemas.openxmlformats.org/officeDocument/2006/relationships/slideLayout"/><Relationship Id="rId8" Target="../slideLayouts/slideLayout41.xml" Type="http://schemas.openxmlformats.org/officeDocument/2006/relationships/slideLayout"/><Relationship Id="rId9" Target="../slideLayouts/slideLayout42.xml" Type="http://schemas.openxmlformats.org/officeDocument/2006/relationships/slideLayout"/></Relationships>
</file>

<file path=ppt/slideMasters/_rels/slideMaster5.xml.rels><?xml version="1.0" encoding="UTF-8" standalone="yes"?><Relationships xmlns="http://schemas.openxmlformats.org/package/2006/relationships"><Relationship Id="rId1" Target="../slideLayouts/slideLayout46.xml" Type="http://schemas.openxmlformats.org/officeDocument/2006/relationships/slideLayout"/><Relationship Id="rId10" Target="../slideLayouts/slideLayout55.xml" Type="http://schemas.openxmlformats.org/officeDocument/2006/relationships/slideLayout"/><Relationship Id="rId11" Target="../slideLayouts/slideLayout56.xml" Type="http://schemas.openxmlformats.org/officeDocument/2006/relationships/slideLayout"/><Relationship Id="rId12" Target="../theme/theme5.xml" Type="http://schemas.openxmlformats.org/officeDocument/2006/relationships/theme"/><Relationship Id="rId2" Target="../slideLayouts/slideLayout47.xml" Type="http://schemas.openxmlformats.org/officeDocument/2006/relationships/slideLayout"/><Relationship Id="rId3" Target="../slideLayouts/slideLayout48.xml" Type="http://schemas.openxmlformats.org/officeDocument/2006/relationships/slideLayout"/><Relationship Id="rId4" Target="../slideLayouts/slideLayout49.xml" Type="http://schemas.openxmlformats.org/officeDocument/2006/relationships/slideLayout"/><Relationship Id="rId5" Target="../slideLayouts/slideLayout50.xml" Type="http://schemas.openxmlformats.org/officeDocument/2006/relationships/slideLayout"/><Relationship Id="rId6" Target="../slideLayouts/slideLayout51.xml" Type="http://schemas.openxmlformats.org/officeDocument/2006/relationships/slideLayout"/><Relationship Id="rId7" Target="../slideLayouts/slideLayout52.xml" Type="http://schemas.openxmlformats.org/officeDocument/2006/relationships/slideLayout"/><Relationship Id="rId8" Target="../slideLayouts/slideLayout53.xml" Type="http://schemas.openxmlformats.org/officeDocument/2006/relationships/slideLayout"/><Relationship Id="rId9" Target="../slideLayouts/slideLayout54.xml" Type="http://schemas.openxmlformats.org/officeDocument/2006/relationships/slideLayout"/></Relationships>
</file>

<file path=ppt/slideMasters/_rels/slideMaster6.xml.rels><?xml version="1.0" encoding="UTF-8" standalone="yes"?><Relationships xmlns="http://schemas.openxmlformats.org/package/2006/relationships"><Relationship Id="rId1" Target="../slideLayouts/slideLayout57.xml" Type="http://schemas.openxmlformats.org/officeDocument/2006/relationships/slideLayout"/><Relationship Id="rId10" Target="../slideLayouts/slideLayout66.xml" Type="http://schemas.openxmlformats.org/officeDocument/2006/relationships/slideLayout"/><Relationship Id="rId11" Target="../slideLayouts/slideLayout67.xml" Type="http://schemas.openxmlformats.org/officeDocument/2006/relationships/slideLayout"/><Relationship Id="rId12" Target="../slideLayouts/slideLayout68.xml" Type="http://schemas.openxmlformats.org/officeDocument/2006/relationships/slideLayout"/><Relationship Id="rId13" Target="../theme/theme6.xml" Type="http://schemas.openxmlformats.org/officeDocument/2006/relationships/theme"/><Relationship Id="rId2" Target="../slideLayouts/slideLayout58.xml" Type="http://schemas.openxmlformats.org/officeDocument/2006/relationships/slideLayout"/><Relationship Id="rId3" Target="../slideLayouts/slideLayout59.xml" Type="http://schemas.openxmlformats.org/officeDocument/2006/relationships/slideLayout"/><Relationship Id="rId4" Target="../slideLayouts/slideLayout60.xml" Type="http://schemas.openxmlformats.org/officeDocument/2006/relationships/slideLayout"/><Relationship Id="rId5" Target="../slideLayouts/slideLayout61.xml" Type="http://schemas.openxmlformats.org/officeDocument/2006/relationships/slideLayout"/><Relationship Id="rId6" Target="../slideLayouts/slideLayout62.xml" Type="http://schemas.openxmlformats.org/officeDocument/2006/relationships/slideLayout"/><Relationship Id="rId7" Target="../slideLayouts/slideLayout63.xml" Type="http://schemas.openxmlformats.org/officeDocument/2006/relationships/slideLayout"/><Relationship Id="rId8" Target="../slideLayouts/slideLayout64.xml" Type="http://schemas.openxmlformats.org/officeDocument/2006/relationships/slideLayout"/><Relationship Id="rId9" Target="../slideLayouts/slideLayout65.xml" Type="http://schemas.openxmlformats.org/officeDocument/2006/relationships/slideLayout"/></Relationships>
</file>

<file path=ppt/slideMasters/_rels/slideMaster7.xml.rels><?xml version="1.0" encoding="UTF-8" standalone="yes"?><Relationships xmlns="http://schemas.openxmlformats.org/package/2006/relationships"><Relationship Id="rId1" Target="../slideLayouts/slideLayout69.xml" Type="http://schemas.openxmlformats.org/officeDocument/2006/relationships/slideLayout"/><Relationship Id="rId10" Target="../slideLayouts/slideLayout78.xml" Type="http://schemas.openxmlformats.org/officeDocument/2006/relationships/slideLayout"/><Relationship Id="rId11" Target="../slideLayouts/slideLayout79.xml" Type="http://schemas.openxmlformats.org/officeDocument/2006/relationships/slideLayout"/><Relationship Id="rId12" Target="../slideLayouts/slideLayout80.xml" Type="http://schemas.openxmlformats.org/officeDocument/2006/relationships/slideLayout"/><Relationship Id="rId13" Target="../theme/theme7.xml" Type="http://schemas.openxmlformats.org/officeDocument/2006/relationships/theme"/><Relationship Id="rId2" Target="../slideLayouts/slideLayout70.xml" Type="http://schemas.openxmlformats.org/officeDocument/2006/relationships/slideLayout"/><Relationship Id="rId3" Target="../slideLayouts/slideLayout71.xml" Type="http://schemas.openxmlformats.org/officeDocument/2006/relationships/slideLayout"/><Relationship Id="rId4" Target="../slideLayouts/slideLayout72.xml" Type="http://schemas.openxmlformats.org/officeDocument/2006/relationships/slideLayout"/><Relationship Id="rId5" Target="../slideLayouts/slideLayout73.xml" Type="http://schemas.openxmlformats.org/officeDocument/2006/relationships/slideLayout"/><Relationship Id="rId6" Target="../slideLayouts/slideLayout74.xml" Type="http://schemas.openxmlformats.org/officeDocument/2006/relationships/slideLayout"/><Relationship Id="rId7" Target="../slideLayouts/slideLayout75.xml" Type="http://schemas.openxmlformats.org/officeDocument/2006/relationships/slideLayout"/><Relationship Id="rId8" Target="../slideLayouts/slideLayout76.xml" Type="http://schemas.openxmlformats.org/officeDocument/2006/relationships/slideLayout"/><Relationship Id="rId9" Target="../slideLayouts/slideLayout77.xml" Type="http://schemas.openxmlformats.org/officeDocument/2006/relationships/slideLayout"/></Relationships>
</file>

<file path=ppt/slideMasters/_rels/slideMaster8.xml.rels><?xml version="1.0" encoding="UTF-8" standalone="yes"?><Relationships xmlns="http://schemas.openxmlformats.org/package/2006/relationships"><Relationship Id="rId1" Target="../slideLayouts/slideLayout81.xml" Type="http://schemas.openxmlformats.org/officeDocument/2006/relationships/slideLayout"/><Relationship Id="rId10" Target="../slideLayouts/slideLayout90.xml" Type="http://schemas.openxmlformats.org/officeDocument/2006/relationships/slideLayout"/><Relationship Id="rId11" Target="../slideLayouts/slideLayout91.xml" Type="http://schemas.openxmlformats.org/officeDocument/2006/relationships/slideLayout"/><Relationship Id="rId12" Target="../slideLayouts/slideLayout92.xml" Type="http://schemas.openxmlformats.org/officeDocument/2006/relationships/slideLayout"/><Relationship Id="rId13" Target="../theme/theme8.xml" Type="http://schemas.openxmlformats.org/officeDocument/2006/relationships/theme"/><Relationship Id="rId2" Target="../slideLayouts/slideLayout82.xml" Type="http://schemas.openxmlformats.org/officeDocument/2006/relationships/slideLayout"/><Relationship Id="rId3" Target="../slideLayouts/slideLayout83.xml" Type="http://schemas.openxmlformats.org/officeDocument/2006/relationships/slideLayout"/><Relationship Id="rId4" Target="../slideLayouts/slideLayout84.xml" Type="http://schemas.openxmlformats.org/officeDocument/2006/relationships/slideLayout"/><Relationship Id="rId5" Target="../slideLayouts/slideLayout85.xml" Type="http://schemas.openxmlformats.org/officeDocument/2006/relationships/slideLayout"/><Relationship Id="rId6" Target="../slideLayouts/slideLayout86.xml" Type="http://schemas.openxmlformats.org/officeDocument/2006/relationships/slideLayout"/><Relationship Id="rId7" Target="../slideLayouts/slideLayout87.xml" Type="http://schemas.openxmlformats.org/officeDocument/2006/relationships/slideLayout"/><Relationship Id="rId8" Target="../slideLayouts/slideLayout88.xml" Type="http://schemas.openxmlformats.org/officeDocument/2006/relationships/slideLayout"/><Relationship Id="rId9" Target="../slideLayouts/slideLayout89.xml" Type="http://schemas.openxmlformats.org/officeDocument/2006/relationships/slideLayout"/></Relationships>
</file>

<file path=ppt/slideMasters/_rels/slideMaster9.xml.rels><?xml version="1.0" encoding="UTF-8" standalone="yes"?><Relationships xmlns="http://schemas.openxmlformats.org/package/2006/relationships"><Relationship Id="rId1" Target="../slideLayouts/slideLayout93.xml" Type="http://schemas.openxmlformats.org/officeDocument/2006/relationships/slideLayout"/><Relationship Id="rId10" Target="../slideLayouts/slideLayout102.xml" Type="http://schemas.openxmlformats.org/officeDocument/2006/relationships/slideLayout"/><Relationship Id="rId11" Target="../slideLayouts/slideLayout103.xml" Type="http://schemas.openxmlformats.org/officeDocument/2006/relationships/slideLayout"/><Relationship Id="rId12" Target="../theme/theme9.xml" Type="http://schemas.openxmlformats.org/officeDocument/2006/relationships/theme"/><Relationship Id="rId2" Target="../slideLayouts/slideLayout94.xml" Type="http://schemas.openxmlformats.org/officeDocument/2006/relationships/slideLayout"/><Relationship Id="rId3" Target="../slideLayouts/slideLayout95.xml" Type="http://schemas.openxmlformats.org/officeDocument/2006/relationships/slideLayout"/><Relationship Id="rId4" Target="../slideLayouts/slideLayout96.xml" Type="http://schemas.openxmlformats.org/officeDocument/2006/relationships/slideLayout"/><Relationship Id="rId5" Target="../slideLayouts/slideLayout97.xml" Type="http://schemas.openxmlformats.org/officeDocument/2006/relationships/slideLayout"/><Relationship Id="rId6" Target="../slideLayouts/slideLayout98.xml" Type="http://schemas.openxmlformats.org/officeDocument/2006/relationships/slideLayout"/><Relationship Id="rId7" Target="../slideLayouts/slideLayout99.xml" Type="http://schemas.openxmlformats.org/officeDocument/2006/relationships/slideLayout"/><Relationship Id="rId8" Target="../slideLayouts/slideLayout100.xml" Type="http://schemas.openxmlformats.org/officeDocument/2006/relationships/slideLayout"/><Relationship Id="rId9" Target="../slideLayouts/slideLayout101.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1027"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eaLnBrk="1" fontAlgn="auto" hangingPunct="1">
              <a:spcBef>
                <a:spcPts val="0"/>
              </a:spcBef>
              <a:spcAft>
                <a:spcPts val="0"/>
              </a:spcAft>
              <a:defRPr sz="1323">
                <a:solidFill>
                  <a:schemeClr val="tx1">
                    <a:tint val="75000"/>
                  </a:schemeClr>
                </a:solidFill>
                <a:latin typeface="+mn-lt"/>
                <a:ea typeface="+mn-ea"/>
              </a:defRPr>
            </a:lvl1pPr>
          </a:lstStyle>
          <a:p>
            <a:pPr>
              <a:defRPr/>
            </a:pPr>
            <a:fld id="{6AB5F9C1-BDF0-48AE-9443-C25618EDD386}" type="datetimeFigureOut">
              <a:rPr lang="ja-JP" altLang="en-US"/>
              <a:pPr>
                <a:defRPr/>
              </a:pPr>
              <a:t>2019/1/9</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eaLnBrk="1" fontAlgn="auto" hangingPunct="1">
              <a:spcBef>
                <a:spcPts val="0"/>
              </a:spcBef>
              <a:spcAft>
                <a:spcPts val="0"/>
              </a:spcAft>
              <a:defRPr sz="1323">
                <a:solidFill>
                  <a:schemeClr val="tx1">
                    <a:tint val="75000"/>
                  </a:schemeClr>
                </a:solidFill>
                <a:latin typeface="+mn-lt"/>
                <a:ea typeface="+mn-ea"/>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323">
                <a:solidFill>
                  <a:srgbClr val="898989"/>
                </a:solidFill>
              </a:defRPr>
            </a:lvl1pPr>
          </a:lstStyle>
          <a:p>
            <a:pPr>
              <a:defRPr/>
            </a:pPr>
            <a:fld id="{DAB6FE60-A71F-4974-8D32-0BDAF328C9F4}"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73228786"/>
      </p:ext>
    </p:extLst>
  </p:cSld>
  <p:clrMap bg1="lt1" tx1="dk1" bg2="lt2" tx2="dk2" accent1="accent1" accent2="accent2" accent3="accent3" accent4="accent4" accent5="accent5" accent6="accent6" hlink="hlink" folHlink="folHlink"/>
  <p:sldLayoutIdLst>
    <p:sldLayoutId id="2147484275" r:id="rId1"/>
    <p:sldLayoutId id="2147484276" r:id="rId2"/>
    <p:sldLayoutId id="2147484277" r:id="rId3"/>
    <p:sldLayoutId id="2147484278" r:id="rId4"/>
    <p:sldLayoutId id="2147484279" r:id="rId5"/>
    <p:sldLayoutId id="2147484280" r:id="rId6"/>
    <p:sldLayoutId id="2147484281" r:id="rId7"/>
    <p:sldLayoutId id="2147484282" r:id="rId8"/>
    <p:sldLayoutId id="2147484283" r:id="rId9"/>
    <p:sldLayoutId id="2147484284" r:id="rId10"/>
    <p:sldLayoutId id="2147484285" r:id="rId11"/>
  </p:sldLayoutIdLst>
  <p:txStyles>
    <p:titleStyle>
      <a:lvl1pPr algn="ctr" rtl="0" eaLnBrk="0" fontAlgn="base" hangingPunct="0">
        <a:spcBef>
          <a:spcPct val="0"/>
        </a:spcBef>
        <a:spcAft>
          <a:spcPct val="0"/>
        </a:spcAft>
        <a:defRPr kumimoji="1" sz="4850" kern="1200">
          <a:solidFill>
            <a:schemeClr val="tx1"/>
          </a:solidFill>
          <a:latin typeface="+mj-lt"/>
          <a:ea typeface="+mj-ea"/>
          <a:cs typeface="+mj-cs"/>
        </a:defRPr>
      </a:lvl1pPr>
      <a:lvl2pPr algn="ctr" rtl="0" eaLnBrk="0" fontAlgn="base" hangingPunct="0">
        <a:spcBef>
          <a:spcPct val="0"/>
        </a:spcBef>
        <a:spcAft>
          <a:spcPct val="0"/>
        </a:spcAft>
        <a:defRPr kumimoji="1" sz="4850">
          <a:solidFill>
            <a:schemeClr val="tx1"/>
          </a:solidFill>
          <a:latin typeface="Calibri" pitchFamily="34" charset="0"/>
          <a:ea typeface="ＭＳ Ｐゴシック" charset="-128"/>
        </a:defRPr>
      </a:lvl2pPr>
      <a:lvl3pPr algn="ctr" rtl="0" eaLnBrk="0" fontAlgn="base" hangingPunct="0">
        <a:spcBef>
          <a:spcPct val="0"/>
        </a:spcBef>
        <a:spcAft>
          <a:spcPct val="0"/>
        </a:spcAft>
        <a:defRPr kumimoji="1" sz="4850">
          <a:solidFill>
            <a:schemeClr val="tx1"/>
          </a:solidFill>
          <a:latin typeface="Calibri" pitchFamily="34" charset="0"/>
          <a:ea typeface="ＭＳ Ｐゴシック" charset="-128"/>
        </a:defRPr>
      </a:lvl3pPr>
      <a:lvl4pPr algn="ctr" rtl="0" eaLnBrk="0" fontAlgn="base" hangingPunct="0">
        <a:spcBef>
          <a:spcPct val="0"/>
        </a:spcBef>
        <a:spcAft>
          <a:spcPct val="0"/>
        </a:spcAft>
        <a:defRPr kumimoji="1" sz="4850">
          <a:solidFill>
            <a:schemeClr val="tx1"/>
          </a:solidFill>
          <a:latin typeface="Calibri" pitchFamily="34" charset="0"/>
          <a:ea typeface="ＭＳ Ｐゴシック" charset="-128"/>
        </a:defRPr>
      </a:lvl4pPr>
      <a:lvl5pPr algn="ctr" rtl="0" eaLnBrk="0" fontAlgn="base" hangingPunct="0">
        <a:spcBef>
          <a:spcPct val="0"/>
        </a:spcBef>
        <a:spcAft>
          <a:spcPct val="0"/>
        </a:spcAft>
        <a:defRPr kumimoji="1" sz="4850">
          <a:solidFill>
            <a:schemeClr val="tx1"/>
          </a:solidFill>
          <a:latin typeface="Calibri" pitchFamily="34" charset="0"/>
          <a:ea typeface="ＭＳ Ｐゴシック" charset="-128"/>
        </a:defRPr>
      </a:lvl5pPr>
      <a:lvl6pPr marL="503972" algn="ctr" rtl="0" fontAlgn="base">
        <a:spcBef>
          <a:spcPct val="0"/>
        </a:spcBef>
        <a:spcAft>
          <a:spcPct val="0"/>
        </a:spcAft>
        <a:defRPr kumimoji="1" sz="4850">
          <a:solidFill>
            <a:schemeClr val="tx1"/>
          </a:solidFill>
          <a:latin typeface="Calibri" pitchFamily="34" charset="0"/>
          <a:ea typeface="ＭＳ Ｐゴシック" charset="-128"/>
        </a:defRPr>
      </a:lvl6pPr>
      <a:lvl7pPr marL="1007943" algn="ctr" rtl="0" fontAlgn="base">
        <a:spcBef>
          <a:spcPct val="0"/>
        </a:spcBef>
        <a:spcAft>
          <a:spcPct val="0"/>
        </a:spcAft>
        <a:defRPr kumimoji="1" sz="4850">
          <a:solidFill>
            <a:schemeClr val="tx1"/>
          </a:solidFill>
          <a:latin typeface="Calibri" pitchFamily="34" charset="0"/>
          <a:ea typeface="ＭＳ Ｐゴシック" charset="-128"/>
        </a:defRPr>
      </a:lvl7pPr>
      <a:lvl8pPr marL="1511915" algn="ctr" rtl="0" fontAlgn="base">
        <a:spcBef>
          <a:spcPct val="0"/>
        </a:spcBef>
        <a:spcAft>
          <a:spcPct val="0"/>
        </a:spcAft>
        <a:defRPr kumimoji="1" sz="4850">
          <a:solidFill>
            <a:schemeClr val="tx1"/>
          </a:solidFill>
          <a:latin typeface="Calibri" pitchFamily="34" charset="0"/>
          <a:ea typeface="ＭＳ Ｐゴシック" charset="-128"/>
        </a:defRPr>
      </a:lvl8pPr>
      <a:lvl9pPr marL="2015886" algn="ctr" rtl="0" fontAlgn="base">
        <a:spcBef>
          <a:spcPct val="0"/>
        </a:spcBef>
        <a:spcAft>
          <a:spcPct val="0"/>
        </a:spcAft>
        <a:defRPr kumimoji="1" sz="4850">
          <a:solidFill>
            <a:schemeClr val="tx1"/>
          </a:solidFill>
          <a:latin typeface="Calibri" pitchFamily="34" charset="0"/>
          <a:ea typeface="ＭＳ Ｐゴシック" charset="-128"/>
        </a:defRPr>
      </a:lvl9pPr>
    </p:titleStyle>
    <p:bodyStyle>
      <a:lvl1pPr marL="377979" indent="-377979" algn="l" rtl="0" eaLnBrk="0" fontAlgn="base" hangingPunct="0">
        <a:spcBef>
          <a:spcPct val="20000"/>
        </a:spcBef>
        <a:spcAft>
          <a:spcPct val="0"/>
        </a:spcAft>
        <a:buFont typeface="Arial" panose="020B0604020202020204" pitchFamily="34" charset="0"/>
        <a:buChar char="•"/>
        <a:defRPr kumimoji="1" sz="3527" kern="1200">
          <a:solidFill>
            <a:schemeClr val="tx1"/>
          </a:solidFill>
          <a:latin typeface="+mn-lt"/>
          <a:ea typeface="+mn-ea"/>
          <a:cs typeface="+mn-cs"/>
        </a:defRPr>
      </a:lvl1pPr>
      <a:lvl2pPr marL="818954" indent="-314982" algn="l" rtl="0" eaLnBrk="0" fontAlgn="base" hangingPunct="0">
        <a:spcBef>
          <a:spcPct val="20000"/>
        </a:spcBef>
        <a:spcAft>
          <a:spcPct val="0"/>
        </a:spcAft>
        <a:buFont typeface="Arial" panose="020B0604020202020204" pitchFamily="34" charset="0"/>
        <a:buChar char="–"/>
        <a:defRPr kumimoji="1" sz="3086" kern="1200">
          <a:solidFill>
            <a:schemeClr val="tx1"/>
          </a:solidFill>
          <a:latin typeface="+mn-lt"/>
          <a:ea typeface="+mn-ea"/>
          <a:cs typeface="+mn-cs"/>
        </a:defRPr>
      </a:lvl2pPr>
      <a:lvl3pPr marL="1259929" indent="-251986" algn="l" rtl="0" eaLnBrk="0" fontAlgn="base" hangingPunct="0">
        <a:spcBef>
          <a:spcPct val="20000"/>
        </a:spcBef>
        <a:spcAft>
          <a:spcPct val="0"/>
        </a:spcAft>
        <a:buFont typeface="Arial" panose="020B0604020202020204" pitchFamily="34" charset="0"/>
        <a:buChar char="•"/>
        <a:defRPr kumimoji="1" sz="2646" kern="1200">
          <a:solidFill>
            <a:schemeClr val="tx1"/>
          </a:solidFill>
          <a:latin typeface="+mn-lt"/>
          <a:ea typeface="+mn-ea"/>
          <a:cs typeface="+mn-cs"/>
        </a:defRPr>
      </a:lvl3pPr>
      <a:lvl4pPr marL="1763900" indent="-251986" algn="l" rtl="0" eaLnBrk="0" fontAlgn="base" hangingPunct="0">
        <a:spcBef>
          <a:spcPct val="20000"/>
        </a:spcBef>
        <a:spcAft>
          <a:spcPct val="0"/>
        </a:spcAft>
        <a:buFont typeface="Arial" panose="020B0604020202020204" pitchFamily="34" charset="0"/>
        <a:buChar char="–"/>
        <a:defRPr kumimoji="1" sz="2205" kern="1200">
          <a:solidFill>
            <a:schemeClr val="tx1"/>
          </a:solidFill>
          <a:latin typeface="+mn-lt"/>
          <a:ea typeface="+mn-ea"/>
          <a:cs typeface="+mn-cs"/>
        </a:defRPr>
      </a:lvl4pPr>
      <a:lvl5pPr marL="2267872" indent="-251986" algn="l" rtl="0" eaLnBrk="0" fontAlgn="base" hangingPunct="0">
        <a:spcBef>
          <a:spcPct val="20000"/>
        </a:spcBef>
        <a:spcAft>
          <a:spcPct val="0"/>
        </a:spcAft>
        <a:buFont typeface="Arial" panose="020B0604020202020204" pitchFamily="34" charset="0"/>
        <a:buChar char="»"/>
        <a:defRPr kumimoji="1" sz="2205" kern="1200">
          <a:solidFill>
            <a:schemeClr val="tx1"/>
          </a:solidFill>
          <a:latin typeface="+mn-lt"/>
          <a:ea typeface="+mn-ea"/>
          <a:cs typeface="+mn-cs"/>
        </a:defRPr>
      </a:lvl5pPr>
      <a:lvl6pPr marL="2771844" indent="-251986" algn="l" defTabSz="1007943" rtl="0" eaLnBrk="1" latinLnBrk="0" hangingPunct="1">
        <a:spcBef>
          <a:spcPct val="20000"/>
        </a:spcBef>
        <a:buFont typeface="Arial" panose="020B0604020202020204" pitchFamily="34" charset="0"/>
        <a:buChar char="•"/>
        <a:defRPr kumimoji="1" sz="2205" kern="1200">
          <a:solidFill>
            <a:schemeClr val="tx1"/>
          </a:solidFill>
          <a:latin typeface="+mn-lt"/>
          <a:ea typeface="+mn-ea"/>
          <a:cs typeface="+mn-cs"/>
        </a:defRPr>
      </a:lvl6pPr>
      <a:lvl7pPr marL="3275815" indent="-251986" algn="l" defTabSz="1007943" rtl="0" eaLnBrk="1" latinLnBrk="0" hangingPunct="1">
        <a:spcBef>
          <a:spcPct val="20000"/>
        </a:spcBef>
        <a:buFont typeface="Arial" panose="020B0604020202020204" pitchFamily="34" charset="0"/>
        <a:buChar char="•"/>
        <a:defRPr kumimoji="1" sz="2205" kern="1200">
          <a:solidFill>
            <a:schemeClr val="tx1"/>
          </a:solidFill>
          <a:latin typeface="+mn-lt"/>
          <a:ea typeface="+mn-ea"/>
          <a:cs typeface="+mn-cs"/>
        </a:defRPr>
      </a:lvl7pPr>
      <a:lvl8pPr marL="3779787" indent="-251986" algn="l" defTabSz="1007943" rtl="0" eaLnBrk="1" latinLnBrk="0" hangingPunct="1">
        <a:spcBef>
          <a:spcPct val="20000"/>
        </a:spcBef>
        <a:buFont typeface="Arial" panose="020B0604020202020204" pitchFamily="34" charset="0"/>
        <a:buChar char="•"/>
        <a:defRPr kumimoji="1" sz="2205" kern="1200">
          <a:solidFill>
            <a:schemeClr val="tx1"/>
          </a:solidFill>
          <a:latin typeface="+mn-lt"/>
          <a:ea typeface="+mn-ea"/>
          <a:cs typeface="+mn-cs"/>
        </a:defRPr>
      </a:lvl8pPr>
      <a:lvl9pPr marL="4283758" indent="-251986" algn="l" defTabSz="1007943" rtl="0" eaLnBrk="1" latinLnBrk="0" hangingPunct="1">
        <a:spcBef>
          <a:spcPct val="20000"/>
        </a:spcBef>
        <a:buFont typeface="Arial" panose="020B0604020202020204" pitchFamily="34" charset="0"/>
        <a:buChar char="•"/>
        <a:defRPr kumimoji="1" sz="2205"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27.xml" Type="http://schemas.openxmlformats.org/officeDocument/2006/relationships/slideLayout"/><Relationship Id="rId10" Target="../media/image13.jpeg" Type="http://schemas.openxmlformats.org/officeDocument/2006/relationships/image"/><Relationship Id="rId11" Target="../media/image14.png" Type="http://schemas.openxmlformats.org/officeDocument/2006/relationships/image"/><Relationship Id="rId12" Target="../media/image15.wmf" Type="http://schemas.openxmlformats.org/officeDocument/2006/relationships/image"/><Relationship Id="rId13" Target="../media/image16.png" Type="http://schemas.openxmlformats.org/officeDocument/2006/relationships/image"/><Relationship Id="rId14" Target="../media/image17.png" Type="http://schemas.openxmlformats.org/officeDocument/2006/relationships/image"/><Relationship Id="rId15" Target="../media/image18.png" Type="http://schemas.openxmlformats.org/officeDocument/2006/relationships/image"/><Relationship Id="rId16" Target="../media/image19.png" Type="http://schemas.openxmlformats.org/officeDocument/2006/relationships/image"/><Relationship Id="rId17" Target="../media/image20.jpeg" Type="http://schemas.openxmlformats.org/officeDocument/2006/relationships/image"/><Relationship Id="rId2" Target="../media/image5.png" Type="http://schemas.openxmlformats.org/officeDocument/2006/relationships/image"/><Relationship Id="rId3" Target="../media/image6.png" Type="http://schemas.openxmlformats.org/officeDocument/2006/relationships/image"/><Relationship Id="rId4" Target="../media/image7.png" Type="http://schemas.openxmlformats.org/officeDocument/2006/relationships/image"/><Relationship Id="rId5" Target="../media/image8.png" Type="http://schemas.openxmlformats.org/officeDocument/2006/relationships/image"/><Relationship Id="rId6" Target="../media/image9.png" Type="http://schemas.openxmlformats.org/officeDocument/2006/relationships/image"/><Relationship Id="rId7" Target="../media/image10.png" Type="http://schemas.openxmlformats.org/officeDocument/2006/relationships/image"/><Relationship Id="rId8" Target="../media/image11.png" Type="http://schemas.openxmlformats.org/officeDocument/2006/relationships/image"/><Relationship Id="rId9" Target="../media/image12.png" Type="http://schemas.openxmlformats.org/officeDocument/2006/relationships/image"/></Relationships>
</file>

<file path=ppt/slides/_rels/slide2.xml.rels><?xml version="1.0" encoding="UTF-8" standalone="yes"?><Relationships xmlns="http://schemas.openxmlformats.org/package/2006/relationships"><Relationship Id="rId1" Target="../drawings/vmlDrawing1.vml" Type="http://schemas.openxmlformats.org/officeDocument/2006/relationships/vmlDrawing"/><Relationship Id="rId10" Target="../media/image24.png" Type="http://schemas.openxmlformats.org/officeDocument/2006/relationships/image"/><Relationship Id="rId11" Target="../media/image8.svg" Type="http://schemas.openxmlformats.org/officeDocument/2006/relationships/image"/><Relationship Id="rId12" Target="../media/image25.png" Type="http://schemas.openxmlformats.org/officeDocument/2006/relationships/image"/><Relationship Id="rId13" Target="../media/image10.svg" Type="http://schemas.openxmlformats.org/officeDocument/2006/relationships/image"/><Relationship Id="rId14" Target="../media/image26.png" Type="http://schemas.openxmlformats.org/officeDocument/2006/relationships/image"/><Relationship Id="rId15" Target="../media/image17.svg" Type="http://schemas.openxmlformats.org/officeDocument/2006/relationships/image"/><Relationship Id="rId16" Target="../media/image27.png" Type="http://schemas.openxmlformats.org/officeDocument/2006/relationships/image"/><Relationship Id="rId2" Target="../tags/tag2.xml" Type="http://schemas.openxmlformats.org/officeDocument/2006/relationships/tags"/><Relationship Id="rId25" Target="../media/image22.svg" Type="http://schemas.openxmlformats.org/officeDocument/2006/relationships/image"/><Relationship Id="rId26" Target="../media/image6.png" Type="http://schemas.openxmlformats.org/officeDocument/2006/relationships/image"/><Relationship Id="rId27" Target="../media/image7.png" Type="http://schemas.openxmlformats.org/officeDocument/2006/relationships/image"/><Relationship Id="rId28" Target="../media/image8.png" Type="http://schemas.openxmlformats.org/officeDocument/2006/relationships/image"/><Relationship Id="rId29" Target="../media/image9.png" Type="http://schemas.openxmlformats.org/officeDocument/2006/relationships/image"/><Relationship Id="rId3" Target="../slideLayouts/slideLayout133.xml" Type="http://schemas.openxmlformats.org/officeDocument/2006/relationships/slideLayout"/><Relationship Id="rId30" Target="../media/image10.png" Type="http://schemas.openxmlformats.org/officeDocument/2006/relationships/image"/><Relationship Id="rId31" Target="../media/image11.png" Type="http://schemas.openxmlformats.org/officeDocument/2006/relationships/image"/><Relationship Id="rId32" Target="../media/image12.png" Type="http://schemas.openxmlformats.org/officeDocument/2006/relationships/image"/><Relationship Id="rId33" Target="../media/image13.jpeg" Type="http://schemas.openxmlformats.org/officeDocument/2006/relationships/image"/><Relationship Id="rId34" Target="../media/image14.png" Type="http://schemas.openxmlformats.org/officeDocument/2006/relationships/image"/><Relationship Id="rId35" Target="../media/image15.wmf" Type="http://schemas.openxmlformats.org/officeDocument/2006/relationships/image"/><Relationship Id="rId36" Target="../media/image16.png" Type="http://schemas.openxmlformats.org/officeDocument/2006/relationships/image"/><Relationship Id="rId37" Target="../media/image17.png" Type="http://schemas.openxmlformats.org/officeDocument/2006/relationships/image"/><Relationship Id="rId38" Target="../media/image18.png" Type="http://schemas.openxmlformats.org/officeDocument/2006/relationships/image"/><Relationship Id="rId39" Target="../media/image19.png" Type="http://schemas.openxmlformats.org/officeDocument/2006/relationships/image"/><Relationship Id="rId4" Target="../embeddings/oleObject1.bin" Type="http://schemas.openxmlformats.org/officeDocument/2006/relationships/oleObject"/><Relationship Id="rId40" Target="../media/image20.jpeg" Type="http://schemas.openxmlformats.org/officeDocument/2006/relationships/image"/><Relationship Id="rId41" Target="../media/image28.png" Type="http://schemas.openxmlformats.org/officeDocument/2006/relationships/image"/><Relationship Id="rId5" Target="../media/image21.emf" Type="http://schemas.openxmlformats.org/officeDocument/2006/relationships/image"/><Relationship Id="rId6" Target="../media/image22.png" Type="http://schemas.openxmlformats.org/officeDocument/2006/relationships/image"/><Relationship Id="rId7" Target="../media/image19.svg" Type="http://schemas.openxmlformats.org/officeDocument/2006/relationships/image"/><Relationship Id="rId8" Target="../media/image23.png" Type="http://schemas.openxmlformats.org/officeDocument/2006/relationships/image"/><Relationship Id="rId9" Target="../media/image97.sv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 name="正方形/長方形 354"/>
          <p:cNvSpPr/>
          <p:nvPr/>
        </p:nvSpPr>
        <p:spPr>
          <a:xfrm>
            <a:off x="5309158" y="829464"/>
            <a:ext cx="5059032" cy="6674213"/>
          </a:xfrm>
          <a:prstGeom prst="rect">
            <a:avLst/>
          </a:prstGeom>
          <a:noFill/>
          <a:ln w="25400" cap="flat" cmpd="sng" algn="ctr">
            <a:solidFill>
              <a:srgbClr val="438086"/>
            </a:solidFill>
            <a:prstDash val="solid"/>
          </a:ln>
          <a:effectLst/>
        </p:spPr>
        <p:txBody>
          <a:bodyPr anchor="ctr"/>
          <a:lstStyle/>
          <a:p>
            <a:pPr algn="ctr" defTabSz="1007943">
              <a:defRPr/>
            </a:pPr>
            <a:endParaRPr kumimoji="0" lang="ja-JP" altLang="en-US" sz="992" kern="0" dirty="0">
              <a:solidFill>
                <a:sysClr val="windowText" lastClr="000000"/>
              </a:solidFill>
              <a:latin typeface="Cambria"/>
              <a:ea typeface="メイリオ"/>
            </a:endParaRPr>
          </a:p>
        </p:txBody>
      </p:sp>
      <p:sp>
        <p:nvSpPr>
          <p:cNvPr id="29" name="正方形/長方形 28"/>
          <p:cNvSpPr/>
          <p:nvPr/>
        </p:nvSpPr>
        <p:spPr>
          <a:xfrm>
            <a:off x="320122" y="843464"/>
            <a:ext cx="4999536" cy="6667213"/>
          </a:xfrm>
          <a:prstGeom prst="rect">
            <a:avLst/>
          </a:prstGeom>
          <a:solidFill>
            <a:sysClr val="window" lastClr="FFFFFF"/>
          </a:solidFill>
          <a:ln w="25400" cap="flat" cmpd="sng" algn="ctr">
            <a:solidFill>
              <a:srgbClr val="438086"/>
            </a:solidFill>
            <a:prstDash val="solid"/>
          </a:ln>
          <a:effectLst/>
        </p:spPr>
        <p:txBody>
          <a:bodyPr anchor="ctr">
            <a:normAutofit/>
          </a:bodyPr>
          <a:lstStyle/>
          <a:p>
            <a:pPr algn="ctr" defTabSz="1007943">
              <a:defRPr/>
            </a:pPr>
            <a:endParaRPr kumimoji="0" lang="ja-JP" altLang="en-US" sz="1984" kern="0" dirty="0">
              <a:solidFill>
                <a:sysClr val="windowText" lastClr="000000"/>
              </a:solidFill>
              <a:latin typeface="Cambria"/>
              <a:ea typeface="メイリオ"/>
            </a:endParaRPr>
          </a:p>
        </p:txBody>
      </p:sp>
      <p:sp>
        <p:nvSpPr>
          <p:cNvPr id="31" name="正方形/長方形 30"/>
          <p:cNvSpPr/>
          <p:nvPr/>
        </p:nvSpPr>
        <p:spPr>
          <a:xfrm>
            <a:off x="345806" y="830135"/>
            <a:ext cx="1762021" cy="329770"/>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spAutoFit/>
          </a:bodyPr>
          <a:lstStyle/>
          <a:p>
            <a:pPr defTabSz="1007943">
              <a:defRPr/>
            </a:pPr>
            <a:r>
              <a:rPr kumimoji="0" lang="ja-JP" altLang="en-US" sz="1543" b="1" kern="0" dirty="0">
                <a:solidFill>
                  <a:sysClr val="window" lastClr="FFFFFF"/>
                </a:solidFill>
                <a:latin typeface="Cambria"/>
                <a:ea typeface="メイリオ"/>
              </a:rPr>
              <a:t>事業目的・概要等</a:t>
            </a:r>
          </a:p>
        </p:txBody>
      </p:sp>
      <p:sp>
        <p:nvSpPr>
          <p:cNvPr id="33" name="テキスト ボックス 32"/>
          <p:cNvSpPr txBox="1"/>
          <p:nvPr/>
        </p:nvSpPr>
        <p:spPr>
          <a:xfrm>
            <a:off x="367371" y="1189949"/>
            <a:ext cx="1106393" cy="312843"/>
          </a:xfrm>
          <a:prstGeom prst="rect">
            <a:avLst/>
          </a:prstGeom>
          <a:solidFill>
            <a:sysClr val="window" lastClr="FFFFFF"/>
          </a:solidFill>
          <a:ln w="25400" cap="flat" cmpd="sng" algn="ctr">
            <a:solidFill>
              <a:srgbClr val="5C92B5"/>
            </a:solidFill>
            <a:prstDash val="solid"/>
          </a:ln>
          <a:effectLst/>
        </p:spPr>
        <p:txBody>
          <a:bodyPr wrap="none">
            <a:spAutoFit/>
          </a:bodyPr>
          <a:lstStyle/>
          <a:p>
            <a:pPr defTabSz="1007943">
              <a:defRPr/>
            </a:pPr>
            <a:r>
              <a:rPr kumimoji="0" lang="ja-JP" altLang="en-US" sz="1433" kern="0" dirty="0">
                <a:solidFill>
                  <a:sysClr val="windowText" lastClr="000000"/>
                </a:solidFill>
                <a:latin typeface="Cambria"/>
                <a:ea typeface="メイリオ"/>
              </a:rPr>
              <a:t>背景・目的</a:t>
            </a:r>
          </a:p>
        </p:txBody>
      </p:sp>
      <p:sp>
        <p:nvSpPr>
          <p:cNvPr id="34" name="テキスト ボックス 33"/>
          <p:cNvSpPr txBox="1"/>
          <p:nvPr/>
        </p:nvSpPr>
        <p:spPr>
          <a:xfrm>
            <a:off x="379620" y="3251361"/>
            <a:ext cx="922047" cy="312843"/>
          </a:xfrm>
          <a:prstGeom prst="rect">
            <a:avLst/>
          </a:prstGeom>
          <a:solidFill>
            <a:sysClr val="window" lastClr="FFFFFF"/>
          </a:solidFill>
          <a:ln w="25400" cap="flat" cmpd="sng" algn="ctr">
            <a:solidFill>
              <a:srgbClr val="5C92B5"/>
            </a:solidFill>
            <a:prstDash val="solid"/>
          </a:ln>
          <a:effectLst/>
        </p:spPr>
        <p:txBody>
          <a:bodyPr wrap="none">
            <a:spAutoFit/>
          </a:bodyPr>
          <a:lstStyle/>
          <a:p>
            <a:pPr defTabSz="1007943">
              <a:defRPr/>
            </a:pPr>
            <a:r>
              <a:rPr kumimoji="0" lang="ja-JP" altLang="en-US" sz="1433" kern="0" dirty="0">
                <a:solidFill>
                  <a:sysClr val="windowText" lastClr="000000"/>
                </a:solidFill>
                <a:latin typeface="Cambria"/>
                <a:ea typeface="メイリオ"/>
              </a:rPr>
              <a:t>事業概要</a:t>
            </a:r>
          </a:p>
        </p:txBody>
      </p:sp>
      <p:sp>
        <p:nvSpPr>
          <p:cNvPr id="35" name="テキスト ボックス 34"/>
          <p:cNvSpPr txBox="1"/>
          <p:nvPr/>
        </p:nvSpPr>
        <p:spPr>
          <a:xfrm>
            <a:off x="390119" y="5480087"/>
            <a:ext cx="1294944" cy="312843"/>
          </a:xfrm>
          <a:prstGeom prst="rect">
            <a:avLst/>
          </a:prstGeom>
          <a:solidFill>
            <a:sysClr val="window" lastClr="FFFFFF"/>
          </a:solidFill>
          <a:ln w="25400" cap="flat" cmpd="sng" algn="ctr">
            <a:solidFill>
              <a:srgbClr val="5C92B5"/>
            </a:solidFill>
            <a:prstDash val="solid"/>
          </a:ln>
          <a:effectLst/>
        </p:spPr>
        <p:txBody>
          <a:bodyPr anchor="ctr">
            <a:spAutoFit/>
          </a:bodyPr>
          <a:lstStyle/>
          <a:p>
            <a:pPr defTabSz="1007943">
              <a:defRPr/>
            </a:pPr>
            <a:r>
              <a:rPr kumimoji="0" lang="ja-JP" altLang="en-US" sz="1433" kern="0" dirty="0">
                <a:solidFill>
                  <a:sysClr val="windowText" lastClr="000000"/>
                </a:solidFill>
                <a:latin typeface="Cambria"/>
                <a:ea typeface="メイリオ"/>
              </a:rPr>
              <a:t>事業スキーム</a:t>
            </a:r>
          </a:p>
        </p:txBody>
      </p:sp>
      <p:pic>
        <p:nvPicPr>
          <p:cNvPr id="20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873" y="62997"/>
            <a:ext cx="768216" cy="509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テキスト ボックス 39"/>
          <p:cNvSpPr txBox="1"/>
          <p:nvPr/>
        </p:nvSpPr>
        <p:spPr>
          <a:xfrm>
            <a:off x="397170" y="6762782"/>
            <a:ext cx="1475084" cy="312843"/>
          </a:xfrm>
          <a:prstGeom prst="rect">
            <a:avLst/>
          </a:prstGeom>
          <a:solidFill>
            <a:sysClr val="window" lastClr="FFFFFF"/>
          </a:solidFill>
          <a:ln w="25400" cap="flat" cmpd="sng" algn="ctr">
            <a:solidFill>
              <a:srgbClr val="5C92B5"/>
            </a:solidFill>
            <a:prstDash val="solid"/>
          </a:ln>
          <a:effectLst/>
        </p:spPr>
        <p:txBody>
          <a:bodyPr wrap="none" anchor="ctr">
            <a:spAutoFit/>
          </a:bodyPr>
          <a:lstStyle/>
          <a:p>
            <a:pPr algn="ctr" defTabSz="1007943">
              <a:defRPr/>
            </a:pPr>
            <a:r>
              <a:rPr kumimoji="0" lang="ja-JP" altLang="en-US" sz="1433" kern="0" dirty="0">
                <a:solidFill>
                  <a:sysClr val="windowText" lastClr="000000"/>
                </a:solidFill>
                <a:latin typeface="Cambria"/>
                <a:ea typeface="メイリオ"/>
              </a:rPr>
              <a:t>期待される効果</a:t>
            </a:r>
          </a:p>
        </p:txBody>
      </p:sp>
      <p:sp>
        <p:nvSpPr>
          <p:cNvPr id="42" name="テキスト ボックス 41"/>
          <p:cNvSpPr txBox="1"/>
          <p:nvPr/>
        </p:nvSpPr>
        <p:spPr>
          <a:xfrm>
            <a:off x="8747760" y="31498"/>
            <a:ext cx="1393330" cy="499496"/>
          </a:xfrm>
          <a:prstGeom prst="rect">
            <a:avLst/>
          </a:prstGeom>
          <a:noFill/>
          <a:ln w="9525" cap="flat" cmpd="sng" algn="ctr">
            <a:solidFill>
              <a:sysClr val="window" lastClr="FFFFFF"/>
            </a:solidFill>
            <a:prstDash val="solid"/>
          </a:ln>
          <a:effectLst/>
        </p:spPr>
        <p:txBody>
          <a:bodyPr wrap="none">
            <a:spAutoFit/>
          </a:bodyPr>
          <a:lstStyle/>
          <a:p>
            <a:pPr defTabSz="1007943">
              <a:defRPr/>
            </a:pPr>
            <a:r>
              <a:rPr kumimoji="0" lang="ja-JP" altLang="en-US" sz="1323" kern="0" dirty="0">
                <a:solidFill>
                  <a:sysClr val="window" lastClr="FFFFFF"/>
                </a:solidFill>
                <a:latin typeface="Cambria"/>
                <a:ea typeface="メイリオ"/>
              </a:rPr>
              <a:t>平成</a:t>
            </a:r>
            <a:r>
              <a:rPr kumimoji="0" lang="en-US" altLang="ja-JP" sz="1323" kern="0" dirty="0">
                <a:solidFill>
                  <a:sysClr val="window" lastClr="FFFFFF"/>
                </a:solidFill>
                <a:latin typeface="Cambria"/>
                <a:ea typeface="メイリオ"/>
              </a:rPr>
              <a:t>25</a:t>
            </a:r>
            <a:r>
              <a:rPr kumimoji="0" lang="ja-JP" altLang="en-US" sz="1323" kern="0" dirty="0">
                <a:solidFill>
                  <a:sysClr val="window" lastClr="FFFFFF"/>
                </a:solidFill>
                <a:latin typeface="Cambria"/>
                <a:ea typeface="メイリオ"/>
              </a:rPr>
              <a:t>年度予算</a:t>
            </a:r>
            <a:endParaRPr kumimoji="0" lang="en-US" altLang="ja-JP" sz="1323" kern="0" dirty="0">
              <a:solidFill>
                <a:sysClr val="window" lastClr="FFFFFF"/>
              </a:solidFill>
              <a:latin typeface="Cambria"/>
              <a:ea typeface="メイリオ"/>
            </a:endParaRPr>
          </a:p>
          <a:p>
            <a:pPr defTabSz="1007943">
              <a:defRPr/>
            </a:pPr>
            <a:r>
              <a:rPr kumimoji="0" lang="ja-JP" altLang="en-US" sz="1323" kern="0" dirty="0">
                <a:solidFill>
                  <a:sysClr val="window" lastClr="FFFFFF"/>
                </a:solidFill>
                <a:latin typeface="Cambria"/>
                <a:ea typeface="メイリオ"/>
              </a:rPr>
              <a:t>○○百万円</a:t>
            </a:r>
          </a:p>
        </p:txBody>
      </p:sp>
      <p:sp>
        <p:nvSpPr>
          <p:cNvPr id="43" name="Rectangle 3"/>
          <p:cNvSpPr/>
          <p:nvPr/>
        </p:nvSpPr>
        <p:spPr>
          <a:xfrm>
            <a:off x="1100589" y="0"/>
            <a:ext cx="9285101" cy="829464"/>
          </a:xfrm>
          <a:prstGeom prst="rect">
            <a:avLst/>
          </a:prstGeom>
          <a:gradFill rotWithShape="1">
            <a:gsLst>
              <a:gs pos="0">
                <a:srgbClr val="5C92B5">
                  <a:shade val="51000"/>
                  <a:satMod val="130000"/>
                </a:srgbClr>
              </a:gs>
              <a:gs pos="80000">
                <a:srgbClr val="5C92B5">
                  <a:shade val="93000"/>
                  <a:satMod val="130000"/>
                </a:srgbClr>
              </a:gs>
              <a:gs pos="100000">
                <a:srgbClr val="5C92B5">
                  <a:shade val="94000"/>
                  <a:satMod val="135000"/>
                </a:srgbClr>
              </a:gs>
            </a:gsLst>
            <a:lin ang="16200000" scaled="0"/>
          </a:gradFill>
          <a:ln w="9525" cap="flat" cmpd="sng" algn="ctr">
            <a:solidFill>
              <a:srgbClr val="5C92B5">
                <a:shade val="95000"/>
                <a:satMod val="105000"/>
              </a:srgbClr>
            </a:solidFill>
            <a:prstDash val="solid"/>
          </a:ln>
          <a:effectLst>
            <a:outerShdw blurRad="40000" dist="23000" dir="5400000" rotWithShape="0">
              <a:srgbClr val="000000">
                <a:alpha val="35000"/>
              </a:srgbClr>
            </a:outerShdw>
          </a:effectLst>
        </p:spPr>
        <p:txBody>
          <a:bodyPr/>
          <a:lstStyle/>
          <a:p>
            <a:pPr defTabSz="1007943">
              <a:defRPr/>
            </a:pPr>
            <a:r>
              <a:rPr lang="ja-JP" altLang="en-US" sz="2535" b="1" dirty="0">
                <a:solidFill>
                  <a:prstClr val="white"/>
                </a:solidFill>
                <a:latin typeface="Calibri" panose="020F0502020204030204" pitchFamily="34" charset="0"/>
                <a:ea typeface="ＭＳ Ｐゴシック" panose="020B0600070205080204" pitchFamily="50" charset="-128"/>
              </a:rPr>
              <a:t>　廃棄物処理施設を核とした</a:t>
            </a:r>
            <a:endParaRPr lang="en-US" altLang="ja-JP" sz="2535" b="1" dirty="0">
              <a:solidFill>
                <a:prstClr val="white"/>
              </a:solidFill>
              <a:latin typeface="Calibri" panose="020F0502020204030204" pitchFamily="34" charset="0"/>
              <a:ea typeface="ＭＳ Ｐゴシック" panose="020B0600070205080204" pitchFamily="50" charset="-128"/>
            </a:endParaRPr>
          </a:p>
          <a:p>
            <a:pPr defTabSz="1007943">
              <a:defRPr/>
            </a:pPr>
            <a:r>
              <a:rPr lang="ja-JP" altLang="en-US" sz="2535" b="1" dirty="0">
                <a:solidFill>
                  <a:prstClr val="white"/>
                </a:solidFill>
                <a:latin typeface="Calibri" panose="020F0502020204030204" pitchFamily="34" charset="0"/>
                <a:ea typeface="ＭＳ Ｐゴシック" panose="020B0600070205080204" pitchFamily="50" charset="-128"/>
              </a:rPr>
              <a:t>　地域循環共生圏構築促進事業</a:t>
            </a:r>
            <a:endParaRPr lang="en-US" altLang="ja-JP" sz="2535" b="1" dirty="0">
              <a:solidFill>
                <a:prstClr val="white"/>
              </a:solidFill>
              <a:latin typeface="Calibri" panose="020F0502020204030204" pitchFamily="34" charset="0"/>
              <a:ea typeface="ＭＳ Ｐゴシック" panose="020B0600070205080204" pitchFamily="50" charset="-128"/>
            </a:endParaRPr>
          </a:p>
        </p:txBody>
      </p:sp>
      <p:sp>
        <p:nvSpPr>
          <p:cNvPr id="115" name="正方形/長方形 45"/>
          <p:cNvSpPr/>
          <p:nvPr/>
        </p:nvSpPr>
        <p:spPr>
          <a:xfrm>
            <a:off x="8487022" y="2932873"/>
            <a:ext cx="185492" cy="48998"/>
          </a:xfrm>
          <a:custGeom>
            <a:avLst/>
            <a:gdLst>
              <a:gd name="connsiteX0" fmla="*/ 0 w 239489"/>
              <a:gd name="connsiteY0" fmla="*/ 0 h 45719"/>
              <a:gd name="connsiteX1" fmla="*/ 239489 w 239489"/>
              <a:gd name="connsiteY1" fmla="*/ 0 h 45719"/>
              <a:gd name="connsiteX2" fmla="*/ 239489 w 239489"/>
              <a:gd name="connsiteY2" fmla="*/ 45719 h 45719"/>
              <a:gd name="connsiteX3" fmla="*/ 0 w 239489"/>
              <a:gd name="connsiteY3" fmla="*/ 45719 h 45719"/>
              <a:gd name="connsiteX4" fmla="*/ 0 w 239489"/>
              <a:gd name="connsiteY4" fmla="*/ 0 h 45719"/>
              <a:gd name="connsiteX0" fmla="*/ 0 w 239489"/>
              <a:gd name="connsiteY0" fmla="*/ 0 h 53339"/>
              <a:gd name="connsiteX1" fmla="*/ 239489 w 239489"/>
              <a:gd name="connsiteY1" fmla="*/ 0 h 53339"/>
              <a:gd name="connsiteX2" fmla="*/ 239489 w 239489"/>
              <a:gd name="connsiteY2" fmla="*/ 45719 h 53339"/>
              <a:gd name="connsiteX3" fmla="*/ 11430 w 239489"/>
              <a:gd name="connsiteY3" fmla="*/ 53339 h 53339"/>
              <a:gd name="connsiteX4" fmla="*/ 0 w 239489"/>
              <a:gd name="connsiteY4" fmla="*/ 0 h 53339"/>
              <a:gd name="connsiteX0" fmla="*/ 0 w 239489"/>
              <a:gd name="connsiteY0" fmla="*/ 0 h 57149"/>
              <a:gd name="connsiteX1" fmla="*/ 239489 w 239489"/>
              <a:gd name="connsiteY1" fmla="*/ 0 h 57149"/>
              <a:gd name="connsiteX2" fmla="*/ 212819 w 239489"/>
              <a:gd name="connsiteY2" fmla="*/ 57149 h 57149"/>
              <a:gd name="connsiteX3" fmla="*/ 11430 w 239489"/>
              <a:gd name="connsiteY3" fmla="*/ 53339 h 57149"/>
              <a:gd name="connsiteX4" fmla="*/ 0 w 239489"/>
              <a:gd name="connsiteY4" fmla="*/ 0 h 57149"/>
              <a:gd name="connsiteX0" fmla="*/ 0 w 239489"/>
              <a:gd name="connsiteY0" fmla="*/ 0 h 64769"/>
              <a:gd name="connsiteX1" fmla="*/ 239489 w 239489"/>
              <a:gd name="connsiteY1" fmla="*/ 0 h 64769"/>
              <a:gd name="connsiteX2" fmla="*/ 212819 w 239489"/>
              <a:gd name="connsiteY2" fmla="*/ 57149 h 64769"/>
              <a:gd name="connsiteX3" fmla="*/ 11430 w 239489"/>
              <a:gd name="connsiteY3" fmla="*/ 64769 h 64769"/>
              <a:gd name="connsiteX4" fmla="*/ 0 w 239489"/>
              <a:gd name="connsiteY4" fmla="*/ 0 h 64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9" h="64769">
                <a:moveTo>
                  <a:pt x="0" y="0"/>
                </a:moveTo>
                <a:lnTo>
                  <a:pt x="239489" y="0"/>
                </a:lnTo>
                <a:lnTo>
                  <a:pt x="212819" y="57149"/>
                </a:lnTo>
                <a:lnTo>
                  <a:pt x="11430" y="64769"/>
                </a:lnTo>
                <a:lnTo>
                  <a:pt x="0" y="0"/>
                </a:lnTo>
                <a:close/>
              </a:path>
            </a:pathLst>
          </a:custGeom>
          <a:ln>
            <a:noFill/>
          </a:ln>
        </p:spPr>
        <p:style>
          <a:lnRef idx="2">
            <a:schemeClr val="dk1"/>
          </a:lnRef>
          <a:fillRef idx="1">
            <a:schemeClr val="lt1"/>
          </a:fillRef>
          <a:effectRef idx="0">
            <a:schemeClr val="dk1"/>
          </a:effectRef>
          <a:fontRef idx="minor">
            <a:schemeClr val="dk1"/>
          </a:fontRef>
        </p:style>
        <p:txBody>
          <a:bodyPr anchor="ctr"/>
          <a:lstStyle/>
          <a:p>
            <a:pPr algn="ctr" defTabSz="1007943" fontAlgn="base">
              <a:spcBef>
                <a:spcPct val="0"/>
              </a:spcBef>
              <a:spcAft>
                <a:spcPct val="0"/>
              </a:spcAft>
              <a:defRPr/>
            </a:pPr>
            <a:endParaRPr lang="ja-JP" altLang="en-US" sz="882">
              <a:solidFill>
                <a:prstClr val="black"/>
              </a:solidFill>
              <a:latin typeface="Calibri"/>
              <a:ea typeface="ＭＳ Ｐゴシック" panose="020B0600070205080204" pitchFamily="50" charset="-128"/>
            </a:endParaRPr>
          </a:p>
        </p:txBody>
      </p:sp>
      <p:sp>
        <p:nvSpPr>
          <p:cNvPr id="125" name="正方形/長方形 124"/>
          <p:cNvSpPr/>
          <p:nvPr/>
        </p:nvSpPr>
        <p:spPr>
          <a:xfrm>
            <a:off x="741855" y="5842999"/>
            <a:ext cx="764717" cy="736718"/>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defTabSz="1007943" fontAlgn="base">
              <a:spcBef>
                <a:spcPct val="0"/>
              </a:spcBef>
              <a:spcAft>
                <a:spcPct val="0"/>
              </a:spcAft>
              <a:defRPr/>
            </a:pPr>
            <a:r>
              <a:rPr lang="ja-JP" altLang="en-US" sz="992"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環境省</a:t>
            </a:r>
            <a:endParaRPr lang="en-US" altLang="ja-JP" sz="992"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95" name="楕円 394"/>
          <p:cNvSpPr/>
          <p:nvPr/>
        </p:nvSpPr>
        <p:spPr bwMode="auto">
          <a:xfrm>
            <a:off x="5851635" y="4688049"/>
            <a:ext cx="1798923" cy="1800672"/>
          </a:xfrm>
          <a:prstGeom prst="ellipse">
            <a:avLst/>
          </a:prstGeom>
          <a:solidFill>
            <a:srgbClr val="C6E6A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407" name="右矢印 406"/>
          <p:cNvSpPr/>
          <p:nvPr/>
        </p:nvSpPr>
        <p:spPr bwMode="auto">
          <a:xfrm rot="16200000">
            <a:off x="5701141" y="5613759"/>
            <a:ext cx="397233" cy="222240"/>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413" name="屈折矢印 412"/>
          <p:cNvSpPr/>
          <p:nvPr/>
        </p:nvSpPr>
        <p:spPr bwMode="auto">
          <a:xfrm rot="16200000" flipH="1">
            <a:off x="6159621" y="6003992"/>
            <a:ext cx="628224" cy="358735"/>
          </a:xfrm>
          <a:prstGeom prst="bentUpArrow">
            <a:avLst>
              <a:gd name="adj1" fmla="val 23117"/>
              <a:gd name="adj2" fmla="val 28116"/>
              <a:gd name="adj3" fmla="val 25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067" name="テキスト ボックス 146"/>
          <p:cNvSpPr txBox="1">
            <a:spLocks noChangeArrowheads="1"/>
          </p:cNvSpPr>
          <p:nvPr/>
        </p:nvSpPr>
        <p:spPr bwMode="auto">
          <a:xfrm>
            <a:off x="5403655" y="6399475"/>
            <a:ext cx="639919" cy="22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882">
                <a:solidFill>
                  <a:prstClr val="black"/>
                </a:solidFill>
                <a:latin typeface="HGｺﾞｼｯｸE" panose="020B0909000000000000" pitchFamily="49" charset="-128"/>
                <a:ea typeface="HGｺﾞｼｯｸE" panose="020B0909000000000000" pitchFamily="49" charset="-128"/>
              </a:rPr>
              <a:t>ごみ収集</a:t>
            </a:r>
          </a:p>
        </p:txBody>
      </p:sp>
      <p:pic>
        <p:nvPicPr>
          <p:cNvPr id="2068" name="図 15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45398" y="5822000"/>
            <a:ext cx="874962" cy="58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2" name="楕円 421"/>
          <p:cNvSpPr/>
          <p:nvPr/>
        </p:nvSpPr>
        <p:spPr bwMode="auto">
          <a:xfrm>
            <a:off x="6640850" y="5989993"/>
            <a:ext cx="785717" cy="25723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423" name="二等辺三角形 422"/>
          <p:cNvSpPr/>
          <p:nvPr/>
        </p:nvSpPr>
        <p:spPr bwMode="auto">
          <a:xfrm rot="19366061">
            <a:off x="6752846" y="5849999"/>
            <a:ext cx="110246" cy="267738"/>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071" name="テキスト ボックス 201"/>
          <p:cNvSpPr txBox="1">
            <a:spLocks noChangeArrowheads="1"/>
          </p:cNvSpPr>
          <p:nvPr/>
        </p:nvSpPr>
        <p:spPr bwMode="auto">
          <a:xfrm>
            <a:off x="6672349" y="6021492"/>
            <a:ext cx="692818" cy="194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en-US" altLang="ja-JP" sz="661">
                <a:solidFill>
                  <a:prstClr val="black"/>
                </a:solidFill>
                <a:latin typeface="HGｺﾞｼｯｸE" panose="020B0909000000000000" pitchFamily="49" charset="-128"/>
                <a:ea typeface="HGｺﾞｼｯｸE" panose="020B0909000000000000" pitchFamily="49" charset="-128"/>
              </a:rPr>
              <a:t>EV</a:t>
            </a:r>
            <a:r>
              <a:rPr lang="ja-JP" altLang="en-US" sz="661">
                <a:solidFill>
                  <a:prstClr val="black"/>
                </a:solidFill>
                <a:latin typeface="HGｺﾞｼｯｸE" panose="020B0909000000000000" pitchFamily="49" charset="-128"/>
                <a:ea typeface="HGｺﾞｼｯｸE" panose="020B0909000000000000" pitchFamily="49" charset="-128"/>
              </a:rPr>
              <a:t>パッカー車</a:t>
            </a:r>
          </a:p>
        </p:txBody>
      </p:sp>
      <p:sp>
        <p:nvSpPr>
          <p:cNvPr id="488" name="L 字 487"/>
          <p:cNvSpPr/>
          <p:nvPr/>
        </p:nvSpPr>
        <p:spPr bwMode="auto">
          <a:xfrm rot="10800000">
            <a:off x="6891595" y="5020487"/>
            <a:ext cx="647295" cy="462994"/>
          </a:xfrm>
          <a:prstGeom prst="corner">
            <a:avLst>
              <a:gd name="adj1" fmla="val 36324"/>
              <a:gd name="adj2" fmla="val 32981"/>
            </a:avLst>
          </a:prstGeom>
          <a:gradFill flip="none" rotWithShape="1">
            <a:gsLst>
              <a:gs pos="86000">
                <a:schemeClr val="accent6">
                  <a:lumMod val="0"/>
                  <a:lumOff val="100000"/>
                </a:schemeClr>
              </a:gs>
              <a:gs pos="38000">
                <a:srgbClr val="FFC000"/>
              </a:gs>
            </a:gsLst>
            <a:path path="circle">
              <a:fillToRect r="100000" b="100000"/>
            </a:path>
            <a:tileRect l="-100000" t="-100000"/>
          </a:gra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489" name="直方体 488"/>
          <p:cNvSpPr/>
          <p:nvPr/>
        </p:nvSpPr>
        <p:spPr bwMode="auto">
          <a:xfrm>
            <a:off x="7076582" y="5400268"/>
            <a:ext cx="755968" cy="421732"/>
          </a:xfrm>
          <a:prstGeom prst="cube">
            <a:avLst>
              <a:gd name="adj" fmla="val 28815"/>
            </a:avLst>
          </a:prstGeom>
          <a:solidFill>
            <a:srgbClr val="CEC49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dirty="0">
              <a:solidFill>
                <a:prstClr val="white"/>
              </a:solidFill>
              <a:latin typeface="Calibri"/>
              <a:ea typeface="ＭＳ Ｐゴシック" panose="020B0600070205080204" pitchFamily="50" charset="-128"/>
            </a:endParaRPr>
          </a:p>
        </p:txBody>
      </p:sp>
      <p:sp>
        <p:nvSpPr>
          <p:cNvPr id="490" name="正方形/長方形 489"/>
          <p:cNvSpPr/>
          <p:nvPr/>
        </p:nvSpPr>
        <p:spPr bwMode="auto">
          <a:xfrm>
            <a:off x="7102831" y="5584010"/>
            <a:ext cx="591475" cy="27999"/>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491" name="正方形/長方形 490"/>
          <p:cNvSpPr/>
          <p:nvPr/>
        </p:nvSpPr>
        <p:spPr bwMode="auto">
          <a:xfrm>
            <a:off x="7307572" y="5584010"/>
            <a:ext cx="13999" cy="3499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492" name="正方形/長方形 491"/>
          <p:cNvSpPr/>
          <p:nvPr/>
        </p:nvSpPr>
        <p:spPr bwMode="auto">
          <a:xfrm>
            <a:off x="7489565" y="5584010"/>
            <a:ext cx="15749" cy="3499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493" name="正方形/長方形 492"/>
          <p:cNvSpPr/>
          <p:nvPr/>
        </p:nvSpPr>
        <p:spPr bwMode="auto">
          <a:xfrm>
            <a:off x="7102830" y="5685506"/>
            <a:ext cx="204742" cy="27999"/>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497" name="正方形/長方形 496"/>
          <p:cNvSpPr/>
          <p:nvPr/>
        </p:nvSpPr>
        <p:spPr bwMode="auto">
          <a:xfrm>
            <a:off x="5505150" y="4654799"/>
            <a:ext cx="750717" cy="307987"/>
          </a:xfrm>
          <a:prstGeom prst="rect">
            <a:avLst/>
          </a:prstGeom>
          <a:solidFill>
            <a:srgbClr val="92D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081" name="グループ化 3"/>
          <p:cNvGrpSpPr>
            <a:grpSpLocks/>
          </p:cNvGrpSpPr>
          <p:nvPr/>
        </p:nvGrpSpPr>
        <p:grpSpPr bwMode="auto">
          <a:xfrm>
            <a:off x="6098374" y="4595303"/>
            <a:ext cx="820715" cy="829464"/>
            <a:chOff x="9092262" y="4587994"/>
            <a:chExt cx="579326" cy="586114"/>
          </a:xfrm>
        </p:grpSpPr>
        <p:sp>
          <p:nvSpPr>
            <p:cNvPr id="499" name="直方体 498"/>
            <p:cNvSpPr/>
            <p:nvPr/>
          </p:nvSpPr>
          <p:spPr bwMode="auto">
            <a:xfrm>
              <a:off x="9092262" y="4778419"/>
              <a:ext cx="579326" cy="323970"/>
            </a:xfrm>
            <a:prstGeom prst="cube">
              <a:avLst>
                <a:gd name="adj" fmla="val 28815"/>
              </a:avLst>
            </a:prstGeom>
            <a:solidFill>
              <a:srgbClr val="CEC49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410" name="グループ化 2"/>
            <p:cNvGrpSpPr>
              <a:grpSpLocks/>
            </p:cNvGrpSpPr>
            <p:nvPr/>
          </p:nvGrpSpPr>
          <p:grpSpPr bwMode="auto">
            <a:xfrm>
              <a:off x="9113127" y="4587994"/>
              <a:ext cx="535140" cy="586114"/>
              <a:chOff x="9113127" y="4587994"/>
              <a:chExt cx="535140" cy="586114"/>
            </a:xfrm>
          </p:grpSpPr>
          <p:sp>
            <p:nvSpPr>
              <p:cNvPr id="501" name="円柱 500"/>
              <p:cNvSpPr/>
              <p:nvPr/>
            </p:nvSpPr>
            <p:spPr bwMode="auto">
              <a:xfrm>
                <a:off x="9491302" y="4587994"/>
                <a:ext cx="70265" cy="224447"/>
              </a:xfrm>
              <a:prstGeom prst="can">
                <a:avLst/>
              </a:prstGeom>
              <a:solidFill>
                <a:schemeClr val="accent6">
                  <a:lumMod val="60000"/>
                  <a:lumOff val="40000"/>
                </a:schemeClr>
              </a:solidFill>
              <a:ln>
                <a:no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02" name="フローチャート : 記憶データ 178"/>
              <p:cNvSpPr/>
              <p:nvPr/>
            </p:nvSpPr>
            <p:spPr bwMode="auto">
              <a:xfrm rot="16200000">
                <a:off x="9501100" y="4617706"/>
                <a:ext cx="49461" cy="66703"/>
              </a:xfrm>
              <a:prstGeom prst="flowChartOnlineStorag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03" name="フローチャート : 記憶データ 181"/>
              <p:cNvSpPr/>
              <p:nvPr/>
            </p:nvSpPr>
            <p:spPr bwMode="auto">
              <a:xfrm rot="16200000">
                <a:off x="9501100" y="4690660"/>
                <a:ext cx="49461" cy="66703"/>
              </a:xfrm>
              <a:prstGeom prst="flowChartOnlineStorag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04" name="円/楕円 185"/>
              <p:cNvSpPr/>
              <p:nvPr/>
            </p:nvSpPr>
            <p:spPr bwMode="auto">
              <a:xfrm>
                <a:off x="9492479" y="4587994"/>
                <a:ext cx="62997" cy="11129"/>
              </a:xfrm>
              <a:prstGeom prst="ellipse">
                <a:avLst/>
              </a:prstGeom>
              <a:solidFill>
                <a:srgbClr val="4C44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05" name="正方形/長方形 504"/>
              <p:cNvSpPr/>
              <p:nvPr/>
            </p:nvSpPr>
            <p:spPr bwMode="auto">
              <a:xfrm>
                <a:off x="9113262" y="4919383"/>
                <a:ext cx="450861" cy="21021"/>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06" name="直方体 505"/>
              <p:cNvSpPr/>
              <p:nvPr/>
            </p:nvSpPr>
            <p:spPr bwMode="auto">
              <a:xfrm>
                <a:off x="9287429" y="4957716"/>
                <a:ext cx="291516" cy="216392"/>
              </a:xfrm>
              <a:prstGeom prst="cube">
                <a:avLst>
                  <a:gd name="adj" fmla="val 33831"/>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07" name="正方形/長方形 506"/>
              <p:cNvSpPr/>
              <p:nvPr/>
            </p:nvSpPr>
            <p:spPr bwMode="auto">
              <a:xfrm>
                <a:off x="9268901" y="4919383"/>
                <a:ext cx="11117" cy="27204"/>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08" name="正方形/長方形 507"/>
              <p:cNvSpPr/>
              <p:nvPr/>
            </p:nvSpPr>
            <p:spPr bwMode="auto">
              <a:xfrm>
                <a:off x="9408483" y="4919383"/>
                <a:ext cx="11118" cy="27204"/>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09" name="正方形/長方形 508"/>
              <p:cNvSpPr/>
              <p:nvPr/>
            </p:nvSpPr>
            <p:spPr bwMode="auto">
              <a:xfrm>
                <a:off x="9303488" y="5077659"/>
                <a:ext cx="16058"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10" name="正方形/長方形 509"/>
              <p:cNvSpPr/>
              <p:nvPr/>
            </p:nvSpPr>
            <p:spPr bwMode="auto">
              <a:xfrm>
                <a:off x="9336839" y="5077659"/>
                <a:ext cx="16058"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11" name="正方形/長方形 510"/>
              <p:cNvSpPr/>
              <p:nvPr/>
            </p:nvSpPr>
            <p:spPr bwMode="auto">
              <a:xfrm>
                <a:off x="9371426" y="5077659"/>
                <a:ext cx="16058"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12" name="正方形/長方形 511"/>
              <p:cNvSpPr/>
              <p:nvPr/>
            </p:nvSpPr>
            <p:spPr bwMode="auto">
              <a:xfrm>
                <a:off x="9406012" y="5077659"/>
                <a:ext cx="16058"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13" name="正方形/長方形 512"/>
              <p:cNvSpPr/>
              <p:nvPr/>
            </p:nvSpPr>
            <p:spPr bwMode="auto">
              <a:xfrm>
                <a:off x="9435658" y="5077659"/>
                <a:ext cx="14823"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14" name="正方形/長方形 513"/>
              <p:cNvSpPr/>
              <p:nvPr/>
            </p:nvSpPr>
            <p:spPr bwMode="auto">
              <a:xfrm>
                <a:off x="9467774" y="5077659"/>
                <a:ext cx="18529"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15" name="正方形/長方形 514"/>
              <p:cNvSpPr/>
              <p:nvPr/>
            </p:nvSpPr>
            <p:spPr bwMode="auto">
              <a:xfrm>
                <a:off x="9113262" y="4997285"/>
                <a:ext cx="155640" cy="2225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16" name="平行四辺形 515"/>
              <p:cNvSpPr/>
              <p:nvPr/>
            </p:nvSpPr>
            <p:spPr bwMode="auto">
              <a:xfrm rot="19735899">
                <a:off x="9623414" y="4857557"/>
                <a:ext cx="24705" cy="27204"/>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17" name="平行四辺形 516"/>
              <p:cNvSpPr/>
              <p:nvPr/>
            </p:nvSpPr>
            <p:spPr bwMode="auto">
              <a:xfrm rot="19735899">
                <a:off x="9623414" y="4926803"/>
                <a:ext cx="24705" cy="28441"/>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18" name="平行四辺形 517"/>
              <p:cNvSpPr/>
              <p:nvPr/>
            </p:nvSpPr>
            <p:spPr bwMode="auto">
              <a:xfrm rot="19735899">
                <a:off x="9623414" y="4986156"/>
                <a:ext cx="24705" cy="29677"/>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grpSp>
        <p:nvGrpSpPr>
          <p:cNvPr id="2082" name="グループ化 139"/>
          <p:cNvGrpSpPr>
            <a:grpSpLocks/>
          </p:cNvGrpSpPr>
          <p:nvPr/>
        </p:nvGrpSpPr>
        <p:grpSpPr bwMode="auto">
          <a:xfrm>
            <a:off x="5594396" y="5015284"/>
            <a:ext cx="654472" cy="521478"/>
            <a:chOff x="9522443" y="4509120"/>
            <a:chExt cx="885383" cy="703879"/>
          </a:xfrm>
        </p:grpSpPr>
        <p:pic>
          <p:nvPicPr>
            <p:cNvPr id="2407" name="図 14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1" name="正方形/長方形 520"/>
            <p:cNvSpPr/>
            <p:nvPr/>
          </p:nvSpPr>
          <p:spPr>
            <a:xfrm>
              <a:off x="9617136" y="4922473"/>
              <a:ext cx="222529" cy="1511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sp>
        <p:nvSpPr>
          <p:cNvPr id="549" name="テキスト ボックス 358"/>
          <p:cNvSpPr txBox="1">
            <a:spLocks noChangeArrowheads="1"/>
          </p:cNvSpPr>
          <p:nvPr/>
        </p:nvSpPr>
        <p:spPr bwMode="auto">
          <a:xfrm>
            <a:off x="6940088" y="5003035"/>
            <a:ext cx="396262" cy="194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defRPr/>
            </a:pPr>
            <a:r>
              <a:rPr lang="ja-JP" altLang="en-US" sz="661" dirty="0">
                <a:solidFill>
                  <a:srgbClr val="FF0000"/>
                </a:solidFill>
                <a:effectLst>
                  <a:outerShdw blurRad="38100" dist="38100" dir="2700000" sx="89000" sy="89000" algn="tl">
                    <a:prstClr val="white">
                      <a:alpha val="43000"/>
                    </a:prstClr>
                  </a:outerShdw>
                </a:effectLst>
                <a:latin typeface="HGｺﾞｼｯｸE" panose="020B0909000000000000" pitchFamily="49" charset="-128"/>
                <a:ea typeface="HGｺﾞｼｯｸE" panose="020B0909000000000000" pitchFamily="49" charset="-128"/>
              </a:rPr>
              <a:t>送 電</a:t>
            </a:r>
          </a:p>
        </p:txBody>
      </p:sp>
      <p:sp>
        <p:nvSpPr>
          <p:cNvPr id="2084" name="テキスト ボックス 360"/>
          <p:cNvSpPr txBox="1">
            <a:spLocks noChangeArrowheads="1"/>
          </p:cNvSpPr>
          <p:nvPr/>
        </p:nvSpPr>
        <p:spPr bwMode="auto">
          <a:xfrm>
            <a:off x="6689849" y="4499057"/>
            <a:ext cx="639919" cy="36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882">
                <a:solidFill>
                  <a:prstClr val="black"/>
                </a:solidFill>
                <a:latin typeface="HGｺﾞｼｯｸE" panose="020B0909000000000000" pitchFamily="49" charset="-128"/>
                <a:ea typeface="HGｺﾞｼｯｸE" panose="020B0909000000000000" pitchFamily="49" charset="-128"/>
              </a:rPr>
              <a:t>ごみ</a:t>
            </a:r>
            <a:endParaRPr lang="en-US" altLang="ja-JP" sz="882">
              <a:solidFill>
                <a:prstClr val="black"/>
              </a:solidFill>
              <a:latin typeface="HGｺﾞｼｯｸE" panose="020B0909000000000000" pitchFamily="49" charset="-128"/>
              <a:ea typeface="HGｺﾞｼｯｸE" panose="020B0909000000000000" pitchFamily="49" charset="-128"/>
            </a:endParaRPr>
          </a:p>
          <a:p>
            <a:pPr defTabSz="1007943" eaLnBrk="0" fontAlgn="base" hangingPunct="0">
              <a:spcBef>
                <a:spcPct val="0"/>
              </a:spcBef>
              <a:spcAft>
                <a:spcPct val="0"/>
              </a:spcAft>
              <a:buNone/>
            </a:pPr>
            <a:r>
              <a:rPr lang="ja-JP" altLang="en-US" sz="882">
                <a:solidFill>
                  <a:prstClr val="black"/>
                </a:solidFill>
                <a:latin typeface="HGｺﾞｼｯｸE" panose="020B0909000000000000" pitchFamily="49" charset="-128"/>
                <a:ea typeface="HGｺﾞｼｯｸE" panose="020B0909000000000000" pitchFamily="49" charset="-128"/>
              </a:rPr>
              <a:t>焼却施設</a:t>
            </a:r>
          </a:p>
        </p:txBody>
      </p:sp>
      <p:sp>
        <p:nvSpPr>
          <p:cNvPr id="2085" name="テキスト ボックス 363"/>
          <p:cNvSpPr txBox="1">
            <a:spLocks noChangeArrowheads="1"/>
          </p:cNvSpPr>
          <p:nvPr/>
        </p:nvSpPr>
        <p:spPr bwMode="auto">
          <a:xfrm>
            <a:off x="7081832" y="5318021"/>
            <a:ext cx="582211" cy="211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772">
                <a:solidFill>
                  <a:prstClr val="black"/>
                </a:solidFill>
                <a:latin typeface="HGｺﾞｼｯｸE" panose="020B0909000000000000" pitchFamily="49" charset="-128"/>
                <a:ea typeface="HGｺﾞｼｯｸE" panose="020B0909000000000000" pitchFamily="49" charset="-128"/>
              </a:rPr>
              <a:t>充電設備</a:t>
            </a:r>
          </a:p>
        </p:txBody>
      </p:sp>
      <p:grpSp>
        <p:nvGrpSpPr>
          <p:cNvPr id="2086" name="グループ化 1"/>
          <p:cNvGrpSpPr>
            <a:grpSpLocks/>
          </p:cNvGrpSpPr>
          <p:nvPr/>
        </p:nvGrpSpPr>
        <p:grpSpPr bwMode="auto">
          <a:xfrm>
            <a:off x="6299616" y="5493014"/>
            <a:ext cx="605474" cy="477729"/>
            <a:chOff x="5573892" y="6001116"/>
            <a:chExt cx="419126" cy="332478"/>
          </a:xfrm>
        </p:grpSpPr>
        <p:grpSp>
          <p:nvGrpSpPr>
            <p:cNvPr id="2398" name="グループ化 276"/>
            <p:cNvGrpSpPr>
              <a:grpSpLocks/>
            </p:cNvGrpSpPr>
            <p:nvPr/>
          </p:nvGrpSpPr>
          <p:grpSpPr bwMode="auto">
            <a:xfrm>
              <a:off x="5573892" y="6001116"/>
              <a:ext cx="419126" cy="332478"/>
              <a:chOff x="9522443" y="4509120"/>
              <a:chExt cx="885383" cy="703879"/>
            </a:xfrm>
          </p:grpSpPr>
          <p:pic>
            <p:nvPicPr>
              <p:cNvPr id="2405" name="図 28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 name="正方形/長方形 562"/>
              <p:cNvSpPr/>
              <p:nvPr/>
            </p:nvSpPr>
            <p:spPr>
              <a:xfrm>
                <a:off x="9617122" y="4921650"/>
                <a:ext cx="225184" cy="149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nvGrpSpPr>
            <p:cNvPr id="2399" name="グループ化 382"/>
            <p:cNvGrpSpPr>
              <a:grpSpLocks/>
            </p:cNvGrpSpPr>
            <p:nvPr/>
          </p:nvGrpSpPr>
          <p:grpSpPr bwMode="auto">
            <a:xfrm flipV="1">
              <a:off x="5615167" y="6214531"/>
              <a:ext cx="100013" cy="19050"/>
              <a:chOff x="9284458" y="6066181"/>
              <a:chExt cx="1029302" cy="201952"/>
            </a:xfrm>
          </p:grpSpPr>
          <p:sp>
            <p:nvSpPr>
              <p:cNvPr id="557" name="正方形/長方形 556"/>
              <p:cNvSpPr/>
              <p:nvPr/>
            </p:nvSpPr>
            <p:spPr>
              <a:xfrm>
                <a:off x="9271069" y="6064620"/>
                <a:ext cx="1047207" cy="20657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58" name="正方形/長方形 557"/>
              <p:cNvSpPr/>
              <p:nvPr/>
            </p:nvSpPr>
            <p:spPr>
              <a:xfrm>
                <a:off x="9246135" y="6064620"/>
                <a:ext cx="299202" cy="206571"/>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59" name="正方形/長方形 558"/>
              <p:cNvSpPr/>
              <p:nvPr/>
            </p:nvSpPr>
            <p:spPr>
              <a:xfrm>
                <a:off x="9246135" y="6064620"/>
                <a:ext cx="211939" cy="20657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60" name="正方形/長方形 559"/>
              <p:cNvSpPr/>
              <p:nvPr/>
            </p:nvSpPr>
            <p:spPr>
              <a:xfrm rot="10800000">
                <a:off x="10044007" y="6064620"/>
                <a:ext cx="261806" cy="206571"/>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61" name="正方形/長方形 560"/>
              <p:cNvSpPr/>
              <p:nvPr/>
            </p:nvSpPr>
            <p:spPr>
              <a:xfrm rot="10800000">
                <a:off x="10143741" y="6064620"/>
                <a:ext cx="174535" cy="20657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grpSp>
        <p:nvGrpSpPr>
          <p:cNvPr id="2087" name="グループ化 374"/>
          <p:cNvGrpSpPr>
            <a:grpSpLocks/>
          </p:cNvGrpSpPr>
          <p:nvPr/>
        </p:nvGrpSpPr>
        <p:grpSpPr bwMode="auto">
          <a:xfrm flipV="1">
            <a:off x="5657393" y="5354769"/>
            <a:ext cx="139994" cy="27999"/>
            <a:chOff x="9284458" y="6066181"/>
            <a:chExt cx="1029302" cy="201952"/>
          </a:xfrm>
        </p:grpSpPr>
        <p:sp>
          <p:nvSpPr>
            <p:cNvPr id="565" name="正方形/長方形 564"/>
            <p:cNvSpPr/>
            <p:nvPr/>
          </p:nvSpPr>
          <p:spPr>
            <a:xfrm>
              <a:off x="9297328" y="6066181"/>
              <a:ext cx="1016432" cy="2019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66" name="正方形/長方形 565"/>
            <p:cNvSpPr/>
            <p:nvPr/>
          </p:nvSpPr>
          <p:spPr>
            <a:xfrm>
              <a:off x="9284458" y="6066181"/>
              <a:ext cx="270196"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67" name="正方形/長方形 566"/>
            <p:cNvSpPr/>
            <p:nvPr/>
          </p:nvSpPr>
          <p:spPr>
            <a:xfrm>
              <a:off x="9284458" y="6066181"/>
              <a:ext cx="180128"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68" name="正方形/長方形 567"/>
            <p:cNvSpPr/>
            <p:nvPr/>
          </p:nvSpPr>
          <p:spPr>
            <a:xfrm rot="10800000">
              <a:off x="10043572" y="6066181"/>
              <a:ext cx="257326"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69" name="正方形/長方形 568"/>
            <p:cNvSpPr/>
            <p:nvPr/>
          </p:nvSpPr>
          <p:spPr>
            <a:xfrm rot="10800000">
              <a:off x="10133632" y="6066181"/>
              <a:ext cx="180128"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sp>
        <p:nvSpPr>
          <p:cNvPr id="588" name="左矢印 587"/>
          <p:cNvSpPr/>
          <p:nvPr/>
        </p:nvSpPr>
        <p:spPr bwMode="auto">
          <a:xfrm>
            <a:off x="6664591" y="5663285"/>
            <a:ext cx="757427" cy="278695"/>
          </a:xfrm>
          <a:prstGeom prst="leftArrow">
            <a:avLst>
              <a:gd name="adj1" fmla="val 60704"/>
              <a:gd name="adj2" fmla="val 39297"/>
            </a:avLst>
          </a:prstGeom>
          <a:gradFill>
            <a:gsLst>
              <a:gs pos="86000">
                <a:schemeClr val="accent6">
                  <a:lumMod val="0"/>
                  <a:lumOff val="100000"/>
                </a:schemeClr>
              </a:gs>
              <a:gs pos="38000">
                <a:srgbClr val="FFC000"/>
              </a:gs>
            </a:gsLst>
            <a:path path="circle">
              <a:fillToRect r="100000" b="100000"/>
            </a:path>
          </a:gra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89" name="直方体 588"/>
          <p:cNvSpPr/>
          <p:nvPr/>
        </p:nvSpPr>
        <p:spPr bwMode="auto">
          <a:xfrm rot="5400000">
            <a:off x="6761921" y="5716716"/>
            <a:ext cx="102764" cy="157960"/>
          </a:xfrm>
          <a:prstGeom prst="cube">
            <a:avLst>
              <a:gd name="adj" fmla="val 26536"/>
            </a:avLst>
          </a:prstGeom>
          <a:solidFill>
            <a:schemeClr val="tx1">
              <a:lumMod val="85000"/>
              <a:lumOff val="15000"/>
            </a:schemeClr>
          </a:solidFill>
          <a:ln>
            <a:noFill/>
          </a:ln>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092" name="テキスト ボックス 363"/>
          <p:cNvSpPr txBox="1">
            <a:spLocks noChangeArrowheads="1"/>
          </p:cNvSpPr>
          <p:nvPr/>
        </p:nvSpPr>
        <p:spPr bwMode="auto">
          <a:xfrm>
            <a:off x="6822843" y="5711754"/>
            <a:ext cx="537327" cy="17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551">
                <a:solidFill>
                  <a:srgbClr val="FF0000"/>
                </a:solidFill>
                <a:latin typeface="HGｺﾞｼｯｸE" panose="020B0909000000000000" pitchFamily="49" charset="-128"/>
                <a:ea typeface="HGｺﾞｼｯｸE" panose="020B0909000000000000" pitchFamily="49" charset="-128"/>
              </a:rPr>
              <a:t>充電済電池</a:t>
            </a:r>
          </a:p>
        </p:txBody>
      </p:sp>
      <p:sp>
        <p:nvSpPr>
          <p:cNvPr id="591" name="直方体 590"/>
          <p:cNvSpPr/>
          <p:nvPr/>
        </p:nvSpPr>
        <p:spPr bwMode="auto">
          <a:xfrm>
            <a:off x="7393318" y="5634757"/>
            <a:ext cx="272988" cy="309737"/>
          </a:xfrm>
          <a:prstGeom prst="cube">
            <a:avLst>
              <a:gd name="adj" fmla="val 21566"/>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616" name="グループ化 615"/>
          <p:cNvGrpSpPr/>
          <p:nvPr/>
        </p:nvGrpSpPr>
        <p:grpSpPr bwMode="auto">
          <a:xfrm rot="19954016">
            <a:off x="6627496" y="5464897"/>
            <a:ext cx="84899" cy="203485"/>
            <a:chOff x="12471802" y="3668802"/>
            <a:chExt cx="434170" cy="598160"/>
          </a:xfrm>
          <a:solidFill>
            <a:srgbClr val="D2BE1B"/>
          </a:solidFill>
        </p:grpSpPr>
        <p:sp>
          <p:nvSpPr>
            <p:cNvPr id="617" name="二等辺三角形 616"/>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618" name="二等辺三角形 617"/>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nvGrpSpPr>
          <p:cNvPr id="619" name="グループ化 618"/>
          <p:cNvGrpSpPr/>
          <p:nvPr/>
        </p:nvGrpSpPr>
        <p:grpSpPr bwMode="auto">
          <a:xfrm rot="854517">
            <a:off x="6810542" y="5513141"/>
            <a:ext cx="70281" cy="145319"/>
            <a:chOff x="12471802" y="3668802"/>
            <a:chExt cx="434170" cy="598160"/>
          </a:xfrm>
          <a:solidFill>
            <a:srgbClr val="C2AD17"/>
          </a:solidFill>
        </p:grpSpPr>
        <p:sp>
          <p:nvSpPr>
            <p:cNvPr id="620" name="二等辺三角形 619"/>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621" name="二等辺三角形 620"/>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sp>
        <p:nvSpPr>
          <p:cNvPr id="2096" name="テキスト ボックス 147"/>
          <p:cNvSpPr txBox="1">
            <a:spLocks noChangeArrowheads="1"/>
          </p:cNvSpPr>
          <p:nvPr/>
        </p:nvSpPr>
        <p:spPr bwMode="auto">
          <a:xfrm>
            <a:off x="5548897" y="4684549"/>
            <a:ext cx="612668" cy="261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1102" b="1">
                <a:solidFill>
                  <a:prstClr val="black"/>
                </a:solidFill>
              </a:rPr>
              <a:t>平常時</a:t>
            </a:r>
          </a:p>
        </p:txBody>
      </p:sp>
      <p:sp>
        <p:nvSpPr>
          <p:cNvPr id="2097" name="テキスト ボックス 150"/>
          <p:cNvSpPr txBox="1">
            <a:spLocks noChangeArrowheads="1"/>
          </p:cNvSpPr>
          <p:nvPr/>
        </p:nvSpPr>
        <p:spPr bwMode="auto">
          <a:xfrm>
            <a:off x="8093288" y="5080032"/>
            <a:ext cx="664971" cy="261931"/>
          </a:xfrm>
          <a:prstGeom prst="rect">
            <a:avLst/>
          </a:prstGeom>
          <a:solidFill>
            <a:srgbClr val="FF97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1102" b="1">
                <a:solidFill>
                  <a:prstClr val="black"/>
                </a:solidFill>
              </a:rPr>
              <a:t>災害時</a:t>
            </a:r>
          </a:p>
        </p:txBody>
      </p:sp>
      <p:sp>
        <p:nvSpPr>
          <p:cNvPr id="201" name="正方形/長方形 200"/>
          <p:cNvSpPr/>
          <p:nvPr/>
        </p:nvSpPr>
        <p:spPr bwMode="auto">
          <a:xfrm>
            <a:off x="7596310" y="5610258"/>
            <a:ext cx="110246" cy="50748"/>
          </a:xfrm>
          <a:prstGeom prst="rect">
            <a:avLst/>
          </a:prstGeom>
          <a:ln>
            <a:noFill/>
          </a:ln>
        </p:spPr>
        <p:style>
          <a:lnRef idx="2">
            <a:schemeClr val="dk1"/>
          </a:lnRef>
          <a:fillRef idx="1">
            <a:schemeClr val="lt1"/>
          </a:fillRef>
          <a:effectRef idx="0">
            <a:schemeClr val="dk1"/>
          </a:effectRef>
          <a:fontRef idx="minor">
            <a:schemeClr val="dk1"/>
          </a:fontRef>
        </p:style>
        <p:txBody>
          <a:bodyPr anchor="ctr"/>
          <a:lstStyle/>
          <a:p>
            <a:pPr algn="ctr" defTabSz="1007943" fontAlgn="base">
              <a:spcBef>
                <a:spcPct val="0"/>
              </a:spcBef>
              <a:spcAft>
                <a:spcPct val="0"/>
              </a:spcAft>
              <a:defRPr/>
            </a:pPr>
            <a:endParaRPr lang="ja-JP" altLang="en-US" sz="882">
              <a:solidFill>
                <a:prstClr val="black"/>
              </a:solidFill>
              <a:latin typeface="Calibri"/>
              <a:ea typeface="ＭＳ Ｐゴシック" panose="020B0600070205080204" pitchFamily="50" charset="-128"/>
            </a:endParaRPr>
          </a:p>
        </p:txBody>
      </p:sp>
      <p:sp>
        <p:nvSpPr>
          <p:cNvPr id="202" name="楕円 201"/>
          <p:cNvSpPr/>
          <p:nvPr/>
        </p:nvSpPr>
        <p:spPr bwMode="auto">
          <a:xfrm>
            <a:off x="8271781" y="5503514"/>
            <a:ext cx="1489187" cy="1492685"/>
          </a:xfrm>
          <a:prstGeom prst="ellipse">
            <a:avLst/>
          </a:prstGeom>
          <a:solidFill>
            <a:srgbClr val="FFE9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03" name="右矢印 202"/>
          <p:cNvSpPr/>
          <p:nvPr/>
        </p:nvSpPr>
        <p:spPr bwMode="auto">
          <a:xfrm rot="16200000">
            <a:off x="7776552" y="6264730"/>
            <a:ext cx="330736" cy="183742"/>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04" name="屈折矢印 203"/>
          <p:cNvSpPr/>
          <p:nvPr/>
        </p:nvSpPr>
        <p:spPr bwMode="auto">
          <a:xfrm rot="16200000" flipH="1">
            <a:off x="8158036" y="6569218"/>
            <a:ext cx="479479" cy="269488"/>
          </a:xfrm>
          <a:prstGeom prst="bentUpArrow">
            <a:avLst>
              <a:gd name="adj1" fmla="val 23117"/>
              <a:gd name="adj2" fmla="val 29514"/>
              <a:gd name="adj3" fmla="val 25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pic>
        <p:nvPicPr>
          <p:cNvPr id="2102" name="図 16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678557" y="6492221"/>
            <a:ext cx="612474" cy="41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03" name="テキスト ボックス 172"/>
          <p:cNvSpPr txBox="1">
            <a:spLocks noChangeArrowheads="1"/>
          </p:cNvSpPr>
          <p:nvPr/>
        </p:nvSpPr>
        <p:spPr bwMode="auto">
          <a:xfrm>
            <a:off x="7680306" y="6833456"/>
            <a:ext cx="696470" cy="22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882">
                <a:solidFill>
                  <a:prstClr val="black"/>
                </a:solidFill>
                <a:latin typeface="HGｺﾞｼｯｸE" panose="020B0909000000000000" pitchFamily="49" charset="-128"/>
                <a:ea typeface="HGｺﾞｼｯｸE" panose="020B0909000000000000" pitchFamily="49" charset="-128"/>
              </a:rPr>
              <a:t>ごみ収集</a:t>
            </a:r>
          </a:p>
        </p:txBody>
      </p:sp>
      <p:sp>
        <p:nvSpPr>
          <p:cNvPr id="207" name="右矢印 206"/>
          <p:cNvSpPr/>
          <p:nvPr/>
        </p:nvSpPr>
        <p:spPr bwMode="auto">
          <a:xfrm>
            <a:off x="9423231" y="6129987"/>
            <a:ext cx="292238" cy="257238"/>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105" name="グループ化 202"/>
          <p:cNvGrpSpPr>
            <a:grpSpLocks/>
          </p:cNvGrpSpPr>
          <p:nvPr/>
        </p:nvGrpSpPr>
        <p:grpSpPr bwMode="auto">
          <a:xfrm>
            <a:off x="9144993" y="6409974"/>
            <a:ext cx="1139200" cy="663221"/>
            <a:chOff x="9311650" y="5458775"/>
            <a:chExt cx="1092998" cy="635164"/>
          </a:xfrm>
        </p:grpSpPr>
        <p:sp>
          <p:nvSpPr>
            <p:cNvPr id="209" name="平行四辺形 208"/>
            <p:cNvSpPr/>
            <p:nvPr/>
          </p:nvSpPr>
          <p:spPr>
            <a:xfrm>
              <a:off x="9353623" y="5711835"/>
              <a:ext cx="1051025" cy="224570"/>
            </a:xfrm>
            <a:prstGeom prst="parallelogram">
              <a:avLst>
                <a:gd name="adj" fmla="val 143491"/>
              </a:avLst>
            </a:prstGeom>
            <a:solidFill>
              <a:srgbClr val="FFFF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363" name="グループ化 204"/>
            <p:cNvGrpSpPr>
              <a:grpSpLocks/>
            </p:cNvGrpSpPr>
            <p:nvPr/>
          </p:nvGrpSpPr>
          <p:grpSpPr bwMode="auto">
            <a:xfrm>
              <a:off x="9624569" y="5458775"/>
              <a:ext cx="114866" cy="282311"/>
              <a:chOff x="9691388" y="5286253"/>
              <a:chExt cx="185059" cy="454829"/>
            </a:xfrm>
          </p:grpSpPr>
          <p:sp>
            <p:nvSpPr>
              <p:cNvPr id="238" name="円柱 237"/>
              <p:cNvSpPr/>
              <p:nvPr/>
            </p:nvSpPr>
            <p:spPr>
              <a:xfrm>
                <a:off x="9766106" y="5453655"/>
                <a:ext cx="48689" cy="286203"/>
              </a:xfrm>
              <a:prstGeom prst="can">
                <a:avLst/>
              </a:prstGeom>
              <a:solidFill>
                <a:srgbClr val="9A43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39" name="雲 238"/>
              <p:cNvSpPr/>
              <p:nvPr/>
            </p:nvSpPr>
            <p:spPr>
              <a:xfrm rot="21169776">
                <a:off x="9503725" y="5286253"/>
                <a:ext cx="373282" cy="310502"/>
              </a:xfrm>
              <a:prstGeom prst="cloud">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nvGrpSpPr>
            <p:cNvPr id="2364" name="グループ化 205"/>
            <p:cNvGrpSpPr>
              <a:grpSpLocks/>
            </p:cNvGrpSpPr>
            <p:nvPr/>
          </p:nvGrpSpPr>
          <p:grpSpPr bwMode="auto">
            <a:xfrm>
              <a:off x="9703798" y="5458775"/>
              <a:ext cx="114866" cy="282311"/>
              <a:chOff x="9691388" y="5286253"/>
              <a:chExt cx="185059" cy="454829"/>
            </a:xfrm>
          </p:grpSpPr>
          <p:sp>
            <p:nvSpPr>
              <p:cNvPr id="236" name="円柱 235"/>
              <p:cNvSpPr/>
              <p:nvPr/>
            </p:nvSpPr>
            <p:spPr>
              <a:xfrm>
                <a:off x="9771001" y="5453655"/>
                <a:ext cx="40575" cy="286203"/>
              </a:xfrm>
              <a:prstGeom prst="can">
                <a:avLst/>
              </a:prstGeom>
              <a:solidFill>
                <a:srgbClr val="9A43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37" name="雲 236"/>
              <p:cNvSpPr/>
              <p:nvPr/>
            </p:nvSpPr>
            <p:spPr>
              <a:xfrm rot="21169776">
                <a:off x="9692559" y="5286253"/>
                <a:ext cx="183936" cy="310502"/>
              </a:xfrm>
              <a:prstGeom prst="cloud">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nvGrpSpPr>
            <p:cNvPr id="2365" name="グループ化 206"/>
            <p:cNvGrpSpPr>
              <a:grpSpLocks/>
            </p:cNvGrpSpPr>
            <p:nvPr/>
          </p:nvGrpSpPr>
          <p:grpSpPr bwMode="auto">
            <a:xfrm>
              <a:off x="9997593" y="5623409"/>
              <a:ext cx="266026" cy="140063"/>
              <a:chOff x="9784485" y="4919609"/>
              <a:chExt cx="404139" cy="212779"/>
            </a:xfrm>
          </p:grpSpPr>
          <p:cxnSp>
            <p:nvCxnSpPr>
              <p:cNvPr id="231" name="直線コネクタ 230"/>
              <p:cNvCxnSpPr/>
              <p:nvPr/>
            </p:nvCxnSpPr>
            <p:spPr>
              <a:xfrm>
                <a:off x="9785623" y="4939375"/>
                <a:ext cx="20405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直線コネクタ 231"/>
              <p:cNvCxnSpPr/>
              <p:nvPr/>
            </p:nvCxnSpPr>
            <p:spPr>
              <a:xfrm>
                <a:off x="9989672" y="4919008"/>
                <a:ext cx="0" cy="20877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3" name="直線コネクタ 232"/>
              <p:cNvCxnSpPr/>
              <p:nvPr/>
            </p:nvCxnSpPr>
            <p:spPr>
              <a:xfrm>
                <a:off x="9785623" y="4919008"/>
                <a:ext cx="0" cy="20877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4" name="直線コネクタ 233"/>
              <p:cNvCxnSpPr/>
              <p:nvPr/>
            </p:nvCxnSpPr>
            <p:spPr>
              <a:xfrm>
                <a:off x="9989672" y="4992840"/>
                <a:ext cx="198949"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5" name="直線コネクタ 234"/>
              <p:cNvCxnSpPr/>
              <p:nvPr/>
            </p:nvCxnSpPr>
            <p:spPr>
              <a:xfrm>
                <a:off x="10188621" y="4969927"/>
                <a:ext cx="0" cy="162942"/>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213" name="直方体 212"/>
            <p:cNvSpPr/>
            <p:nvPr/>
          </p:nvSpPr>
          <p:spPr bwMode="auto">
            <a:xfrm>
              <a:off x="9889210" y="5731945"/>
              <a:ext cx="340827" cy="286579"/>
            </a:xfrm>
            <a:prstGeom prst="cube">
              <a:avLst>
                <a:gd name="adj" fmla="val 26113"/>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367" name="グループ化 208"/>
            <p:cNvGrpSpPr>
              <a:grpSpLocks/>
            </p:cNvGrpSpPr>
            <p:nvPr/>
          </p:nvGrpSpPr>
          <p:grpSpPr bwMode="auto">
            <a:xfrm>
              <a:off x="9311650" y="5760827"/>
              <a:ext cx="419009" cy="333112"/>
              <a:chOff x="9522443" y="4509120"/>
              <a:chExt cx="885383" cy="703879"/>
            </a:xfrm>
          </p:grpSpPr>
          <p:pic>
            <p:nvPicPr>
              <p:cNvPr id="2382" name="図 223"/>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0" name="正方形/長方形 229"/>
              <p:cNvSpPr/>
              <p:nvPr/>
            </p:nvSpPr>
            <p:spPr>
              <a:xfrm>
                <a:off x="9618230" y="4922618"/>
                <a:ext cx="219957" cy="152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sp>
          <p:nvSpPr>
            <p:cNvPr id="215" name="フリーフォーム 214"/>
            <p:cNvSpPr/>
            <p:nvPr/>
          </p:nvSpPr>
          <p:spPr>
            <a:xfrm>
              <a:off x="9709561" y="5933053"/>
              <a:ext cx="193080" cy="93850"/>
            </a:xfrm>
            <a:custGeom>
              <a:avLst/>
              <a:gdLst>
                <a:gd name="connsiteX0" fmla="*/ 0 w 217583"/>
                <a:gd name="connsiteY0" fmla="*/ 0 h 148727"/>
                <a:gd name="connsiteX1" fmla="*/ 22034 w 217583"/>
                <a:gd name="connsiteY1" fmla="*/ 8262 h 148727"/>
                <a:gd name="connsiteX2" fmla="*/ 24788 w 217583"/>
                <a:gd name="connsiteY2" fmla="*/ 19279 h 148727"/>
                <a:gd name="connsiteX3" fmla="*/ 38559 w 217583"/>
                <a:gd name="connsiteY3" fmla="*/ 44067 h 148727"/>
                <a:gd name="connsiteX4" fmla="*/ 44067 w 217583"/>
                <a:gd name="connsiteY4" fmla="*/ 60592 h 148727"/>
                <a:gd name="connsiteX5" fmla="*/ 49576 w 217583"/>
                <a:gd name="connsiteY5" fmla="*/ 74364 h 148727"/>
                <a:gd name="connsiteX6" fmla="*/ 52330 w 217583"/>
                <a:gd name="connsiteY6" fmla="*/ 90889 h 148727"/>
                <a:gd name="connsiteX7" fmla="*/ 57838 w 217583"/>
                <a:gd name="connsiteY7" fmla="*/ 107414 h 148727"/>
                <a:gd name="connsiteX8" fmla="*/ 63347 w 217583"/>
                <a:gd name="connsiteY8" fmla="*/ 129448 h 148727"/>
                <a:gd name="connsiteX9" fmla="*/ 77118 w 217583"/>
                <a:gd name="connsiteY9" fmla="*/ 148727 h 148727"/>
                <a:gd name="connsiteX10" fmla="*/ 134957 w 217583"/>
                <a:gd name="connsiteY10" fmla="*/ 145973 h 148727"/>
                <a:gd name="connsiteX11" fmla="*/ 151482 w 217583"/>
                <a:gd name="connsiteY11" fmla="*/ 129448 h 148727"/>
                <a:gd name="connsiteX12" fmla="*/ 168007 w 217583"/>
                <a:gd name="connsiteY12" fmla="*/ 107414 h 148727"/>
                <a:gd name="connsiteX13" fmla="*/ 176270 w 217583"/>
                <a:gd name="connsiteY13" fmla="*/ 85380 h 148727"/>
                <a:gd name="connsiteX14" fmla="*/ 179024 w 217583"/>
                <a:gd name="connsiteY14" fmla="*/ 74364 h 148727"/>
                <a:gd name="connsiteX15" fmla="*/ 184532 w 217583"/>
                <a:gd name="connsiteY15" fmla="*/ 63347 h 148727"/>
                <a:gd name="connsiteX16" fmla="*/ 190041 w 217583"/>
                <a:gd name="connsiteY16" fmla="*/ 38559 h 148727"/>
                <a:gd name="connsiteX17" fmla="*/ 195549 w 217583"/>
                <a:gd name="connsiteY17" fmla="*/ 30296 h 148727"/>
                <a:gd name="connsiteX18" fmla="*/ 203812 w 217583"/>
                <a:gd name="connsiteY18" fmla="*/ 13771 h 148727"/>
                <a:gd name="connsiteX19" fmla="*/ 212075 w 217583"/>
                <a:gd name="connsiteY19" fmla="*/ 11017 h 148727"/>
                <a:gd name="connsiteX20" fmla="*/ 217583 w 217583"/>
                <a:gd name="connsiteY20" fmla="*/ 8262 h 14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7583" h="148727">
                  <a:moveTo>
                    <a:pt x="0" y="0"/>
                  </a:moveTo>
                  <a:cubicBezTo>
                    <a:pt x="5994" y="1199"/>
                    <a:pt x="17670" y="1716"/>
                    <a:pt x="22034" y="8262"/>
                  </a:cubicBezTo>
                  <a:cubicBezTo>
                    <a:pt x="24134" y="11412"/>
                    <a:pt x="23251" y="15820"/>
                    <a:pt x="24788" y="19279"/>
                  </a:cubicBezTo>
                  <a:cubicBezTo>
                    <a:pt x="38766" y="50730"/>
                    <a:pt x="27894" y="17402"/>
                    <a:pt x="38559" y="44067"/>
                  </a:cubicBezTo>
                  <a:cubicBezTo>
                    <a:pt x="40715" y="49458"/>
                    <a:pt x="41911" y="55201"/>
                    <a:pt x="44067" y="60592"/>
                  </a:cubicBezTo>
                  <a:lnTo>
                    <a:pt x="49576" y="74364"/>
                  </a:lnTo>
                  <a:cubicBezTo>
                    <a:pt x="50494" y="79872"/>
                    <a:pt x="50976" y="85471"/>
                    <a:pt x="52330" y="90889"/>
                  </a:cubicBezTo>
                  <a:cubicBezTo>
                    <a:pt x="53738" y="96522"/>
                    <a:pt x="56699" y="101721"/>
                    <a:pt x="57838" y="107414"/>
                  </a:cubicBezTo>
                  <a:cubicBezTo>
                    <a:pt x="58885" y="112649"/>
                    <a:pt x="60525" y="123804"/>
                    <a:pt x="63347" y="129448"/>
                  </a:cubicBezTo>
                  <a:cubicBezTo>
                    <a:pt x="65363" y="133481"/>
                    <a:pt x="75241" y="146225"/>
                    <a:pt x="77118" y="148727"/>
                  </a:cubicBezTo>
                  <a:cubicBezTo>
                    <a:pt x="96398" y="147809"/>
                    <a:pt x="115898" y="149022"/>
                    <a:pt x="134957" y="145973"/>
                  </a:cubicBezTo>
                  <a:cubicBezTo>
                    <a:pt x="143785" y="144561"/>
                    <a:pt x="146915" y="135158"/>
                    <a:pt x="151482" y="129448"/>
                  </a:cubicBezTo>
                  <a:cubicBezTo>
                    <a:pt x="159799" y="119051"/>
                    <a:pt x="160322" y="126625"/>
                    <a:pt x="168007" y="107414"/>
                  </a:cubicBezTo>
                  <a:cubicBezTo>
                    <a:pt x="170921" y="100129"/>
                    <a:pt x="174110" y="92942"/>
                    <a:pt x="176270" y="85380"/>
                  </a:cubicBezTo>
                  <a:cubicBezTo>
                    <a:pt x="177310" y="81741"/>
                    <a:pt x="177695" y="77908"/>
                    <a:pt x="179024" y="74364"/>
                  </a:cubicBezTo>
                  <a:cubicBezTo>
                    <a:pt x="180466" y="70520"/>
                    <a:pt x="182696" y="67019"/>
                    <a:pt x="184532" y="63347"/>
                  </a:cubicBezTo>
                  <a:cubicBezTo>
                    <a:pt x="185590" y="57001"/>
                    <a:pt x="186651" y="45339"/>
                    <a:pt x="190041" y="38559"/>
                  </a:cubicBezTo>
                  <a:cubicBezTo>
                    <a:pt x="191521" y="35598"/>
                    <a:pt x="194069" y="33257"/>
                    <a:pt x="195549" y="30296"/>
                  </a:cubicBezTo>
                  <a:cubicBezTo>
                    <a:pt x="198874" y="23646"/>
                    <a:pt x="197237" y="19031"/>
                    <a:pt x="203812" y="13771"/>
                  </a:cubicBezTo>
                  <a:cubicBezTo>
                    <a:pt x="206079" y="11957"/>
                    <a:pt x="209379" y="12095"/>
                    <a:pt x="212075" y="11017"/>
                  </a:cubicBezTo>
                  <a:cubicBezTo>
                    <a:pt x="213981" y="10255"/>
                    <a:pt x="215747" y="9180"/>
                    <a:pt x="217583" y="8262"/>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black"/>
                </a:solidFill>
                <a:latin typeface="Calibri"/>
                <a:ea typeface="ＭＳ Ｐゴシック" panose="020B0600070205080204" pitchFamily="50" charset="-128"/>
              </a:endParaRPr>
            </a:p>
          </p:txBody>
        </p:sp>
        <p:grpSp>
          <p:nvGrpSpPr>
            <p:cNvPr id="2369" name="グループ化 210"/>
            <p:cNvGrpSpPr>
              <a:grpSpLocks/>
            </p:cNvGrpSpPr>
            <p:nvPr/>
          </p:nvGrpSpPr>
          <p:grpSpPr bwMode="auto">
            <a:xfrm>
              <a:off x="9584968" y="5878639"/>
              <a:ext cx="81746" cy="90291"/>
              <a:chOff x="12536806" y="4182643"/>
              <a:chExt cx="100432" cy="110930"/>
            </a:xfrm>
          </p:grpSpPr>
          <p:sp>
            <p:nvSpPr>
              <p:cNvPr id="225" name="楕円 224"/>
              <p:cNvSpPr/>
              <p:nvPr/>
            </p:nvSpPr>
            <p:spPr>
              <a:xfrm>
                <a:off x="12537237" y="4185668"/>
                <a:ext cx="94886" cy="96771"/>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379" name="グループ化 220"/>
              <p:cNvGrpSpPr>
                <a:grpSpLocks/>
              </p:cNvGrpSpPr>
              <p:nvPr/>
            </p:nvGrpSpPr>
            <p:grpSpPr bwMode="auto">
              <a:xfrm rot="731207">
                <a:off x="12564163" y="4183991"/>
                <a:ext cx="45719" cy="109582"/>
                <a:chOff x="12471802" y="3668802"/>
                <a:chExt cx="434170" cy="598160"/>
              </a:xfrm>
            </p:grpSpPr>
            <p:sp>
              <p:nvSpPr>
                <p:cNvPr id="227" name="二等辺三角形 226"/>
                <p:cNvSpPr/>
                <p:nvPr/>
              </p:nvSpPr>
              <p:spPr>
                <a:xfrm>
                  <a:off x="12057220" y="3750402"/>
                  <a:ext cx="19582" cy="179823"/>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28" name="二等辺三角形 227"/>
                <p:cNvSpPr/>
                <p:nvPr/>
              </p:nvSpPr>
              <p:spPr>
                <a:xfrm rot="10800000">
                  <a:off x="12445173" y="3870025"/>
                  <a:ext cx="117532" cy="292213"/>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sp>
          <p:nvSpPr>
            <p:cNvPr id="217" name="正方形/長方形 216"/>
            <p:cNvSpPr/>
            <p:nvPr/>
          </p:nvSpPr>
          <p:spPr bwMode="auto">
            <a:xfrm>
              <a:off x="10040316" y="5869369"/>
              <a:ext cx="94021" cy="147479"/>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371" name="グループ化 212"/>
            <p:cNvGrpSpPr>
              <a:grpSpLocks/>
            </p:cNvGrpSpPr>
            <p:nvPr/>
          </p:nvGrpSpPr>
          <p:grpSpPr bwMode="auto">
            <a:xfrm>
              <a:off x="9917510" y="5840191"/>
              <a:ext cx="52990" cy="59435"/>
              <a:chOff x="9951726" y="6073970"/>
              <a:chExt cx="370741" cy="415828"/>
            </a:xfrm>
          </p:grpSpPr>
          <p:sp>
            <p:nvSpPr>
              <p:cNvPr id="219" name="正方形/長方形 218"/>
              <p:cNvSpPr/>
              <p:nvPr/>
            </p:nvSpPr>
            <p:spPr>
              <a:xfrm>
                <a:off x="9953413" y="6078786"/>
                <a:ext cx="364148" cy="4103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373" name="グループ化 214"/>
              <p:cNvGrpSpPr>
                <a:grpSpLocks/>
              </p:cNvGrpSpPr>
              <p:nvPr/>
            </p:nvGrpSpPr>
            <p:grpSpPr bwMode="auto">
              <a:xfrm>
                <a:off x="9976611" y="6126471"/>
                <a:ext cx="315161" cy="303150"/>
                <a:chOff x="9976611" y="6126471"/>
                <a:chExt cx="315161" cy="303150"/>
              </a:xfrm>
            </p:grpSpPr>
            <p:sp>
              <p:nvSpPr>
                <p:cNvPr id="221" name="フローチャート: 抜出し 220"/>
                <p:cNvSpPr/>
                <p:nvPr/>
              </p:nvSpPr>
              <p:spPr>
                <a:xfrm>
                  <a:off x="10164851" y="6266391"/>
                  <a:ext cx="129215" cy="164153"/>
                </a:xfrm>
                <a:prstGeom prst="flowChartExtra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22" name="フローチャート: 結合子 221"/>
                <p:cNvSpPr/>
                <p:nvPr/>
              </p:nvSpPr>
              <p:spPr>
                <a:xfrm>
                  <a:off x="10164851" y="6125688"/>
                  <a:ext cx="105722" cy="12897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23" name="フローチャート: 抜出し 222"/>
                <p:cNvSpPr/>
                <p:nvPr/>
              </p:nvSpPr>
              <p:spPr>
                <a:xfrm rot="10800000">
                  <a:off x="9976907" y="6266391"/>
                  <a:ext cx="187944" cy="164153"/>
                </a:xfrm>
                <a:prstGeom prst="flowChartExtra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24" name="フローチャート: 結合子 223"/>
                <p:cNvSpPr/>
                <p:nvPr/>
              </p:nvSpPr>
              <p:spPr>
                <a:xfrm rot="10800000">
                  <a:off x="10000400" y="6125688"/>
                  <a:ext cx="164451" cy="128974"/>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grpSp>
      <p:grpSp>
        <p:nvGrpSpPr>
          <p:cNvPr id="240" name="グループ化 239"/>
          <p:cNvGrpSpPr/>
          <p:nvPr/>
        </p:nvGrpSpPr>
        <p:grpSpPr bwMode="auto">
          <a:xfrm rot="19954016">
            <a:off x="9247896" y="6617905"/>
            <a:ext cx="70136" cy="168816"/>
            <a:chOff x="12471802" y="3668802"/>
            <a:chExt cx="434170" cy="598160"/>
          </a:xfrm>
          <a:solidFill>
            <a:srgbClr val="E9CF11"/>
          </a:solidFill>
        </p:grpSpPr>
        <p:sp>
          <p:nvSpPr>
            <p:cNvPr id="241" name="二等辺三角形 240"/>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42" name="二等辺三角形 241"/>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nvGrpSpPr>
          <p:cNvPr id="2107" name="グループ化 237"/>
          <p:cNvGrpSpPr>
            <a:grpSpLocks/>
          </p:cNvGrpSpPr>
          <p:nvPr/>
        </p:nvGrpSpPr>
        <p:grpSpPr bwMode="auto">
          <a:xfrm>
            <a:off x="9521227" y="5503514"/>
            <a:ext cx="708720" cy="402483"/>
            <a:chOff x="9595961" y="6335332"/>
            <a:chExt cx="534955" cy="302255"/>
          </a:xfrm>
        </p:grpSpPr>
        <p:sp>
          <p:nvSpPr>
            <p:cNvPr id="244" name="直方体 243"/>
            <p:cNvSpPr/>
            <p:nvPr/>
          </p:nvSpPr>
          <p:spPr bwMode="auto">
            <a:xfrm>
              <a:off x="9595961" y="6335332"/>
              <a:ext cx="534955" cy="299627"/>
            </a:xfrm>
            <a:prstGeom prst="cube">
              <a:avLst>
                <a:gd name="adj" fmla="val 28815"/>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dirty="0">
                <a:solidFill>
                  <a:prstClr val="white"/>
                </a:solidFill>
                <a:latin typeface="Calibri"/>
                <a:ea typeface="ＭＳ Ｐゴシック" panose="020B0600070205080204" pitchFamily="50" charset="-128"/>
              </a:endParaRPr>
            </a:p>
          </p:txBody>
        </p:sp>
        <p:sp>
          <p:nvSpPr>
            <p:cNvPr id="245" name="正方形/長方形 244"/>
            <p:cNvSpPr/>
            <p:nvPr/>
          </p:nvSpPr>
          <p:spPr bwMode="auto">
            <a:xfrm>
              <a:off x="9614453" y="6465433"/>
              <a:ext cx="418718" cy="19713"/>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46" name="平行四辺形 245"/>
            <p:cNvSpPr/>
            <p:nvPr/>
          </p:nvSpPr>
          <p:spPr bwMode="auto">
            <a:xfrm rot="19735899">
              <a:off x="10087327" y="6407610"/>
              <a:ext cx="22455" cy="26283"/>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47" name="平行四辺形 246"/>
            <p:cNvSpPr/>
            <p:nvPr/>
          </p:nvSpPr>
          <p:spPr bwMode="auto">
            <a:xfrm rot="19735899">
              <a:off x="10087327" y="6470689"/>
              <a:ext cx="22455" cy="24969"/>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48" name="平行四辺形 247"/>
            <p:cNvSpPr/>
            <p:nvPr/>
          </p:nvSpPr>
          <p:spPr bwMode="auto">
            <a:xfrm rot="19735899">
              <a:off x="10087327" y="6527198"/>
              <a:ext cx="22455" cy="24968"/>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49" name="正方形/長方形 248"/>
            <p:cNvSpPr/>
            <p:nvPr/>
          </p:nvSpPr>
          <p:spPr bwMode="auto">
            <a:xfrm>
              <a:off x="9614453" y="6520627"/>
              <a:ext cx="418718" cy="18398"/>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cxnSp>
          <p:nvCxnSpPr>
            <p:cNvPr id="250" name="直線コネクタ 249"/>
            <p:cNvCxnSpPr/>
            <p:nvPr/>
          </p:nvCxnSpPr>
          <p:spPr>
            <a:xfrm>
              <a:off x="9693706" y="6458862"/>
              <a:ext cx="7925" cy="17872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1" name="直線コネクタ 250"/>
            <p:cNvCxnSpPr/>
            <p:nvPr/>
          </p:nvCxnSpPr>
          <p:spPr>
            <a:xfrm>
              <a:off x="9803339" y="6458862"/>
              <a:ext cx="6604" cy="17872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2" name="直線コネクタ 251"/>
            <p:cNvCxnSpPr/>
            <p:nvPr/>
          </p:nvCxnSpPr>
          <p:spPr>
            <a:xfrm>
              <a:off x="9918255" y="6458862"/>
              <a:ext cx="6605" cy="17872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53" name="グループ化 252"/>
          <p:cNvGrpSpPr/>
          <p:nvPr/>
        </p:nvGrpSpPr>
        <p:grpSpPr bwMode="auto">
          <a:xfrm rot="731207">
            <a:off x="9984229" y="5809282"/>
            <a:ext cx="57498" cy="138397"/>
            <a:chOff x="12471802" y="3668802"/>
            <a:chExt cx="434170" cy="598160"/>
          </a:xfrm>
          <a:solidFill>
            <a:srgbClr val="E9CF11"/>
          </a:solidFill>
        </p:grpSpPr>
        <p:sp>
          <p:nvSpPr>
            <p:cNvPr id="254" name="二等辺三角形 253"/>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55" name="二等辺三角形 254"/>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nvGrpSpPr>
          <p:cNvPr id="256" name="グループ化 255"/>
          <p:cNvGrpSpPr/>
          <p:nvPr/>
        </p:nvGrpSpPr>
        <p:grpSpPr bwMode="auto">
          <a:xfrm rot="19954016">
            <a:off x="9852943" y="5532234"/>
            <a:ext cx="64569" cy="155419"/>
            <a:chOff x="12471802" y="3668802"/>
            <a:chExt cx="434170" cy="598160"/>
          </a:xfrm>
          <a:solidFill>
            <a:srgbClr val="E9CF11"/>
          </a:solidFill>
        </p:grpSpPr>
        <p:sp>
          <p:nvSpPr>
            <p:cNvPr id="257" name="二等辺三角形 256"/>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58" name="二等辺三角形 257"/>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sp>
        <p:nvSpPr>
          <p:cNvPr id="259" name="円弧 258"/>
          <p:cNvSpPr/>
          <p:nvPr/>
        </p:nvSpPr>
        <p:spPr bwMode="auto">
          <a:xfrm rot="5068458">
            <a:off x="9910585" y="5866623"/>
            <a:ext cx="262489" cy="418233"/>
          </a:xfrm>
          <a:prstGeom prst="arc">
            <a:avLst>
              <a:gd name="adj1" fmla="val 11390515"/>
              <a:gd name="adj2" fmla="val 21506441"/>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defTabSz="1007943" eaLnBrk="0" fontAlgn="base" hangingPunct="0">
              <a:spcBef>
                <a:spcPct val="0"/>
              </a:spcBef>
              <a:spcAft>
                <a:spcPct val="0"/>
              </a:spcAft>
              <a:defRPr/>
            </a:pPr>
            <a:endParaRPr lang="ja-JP" altLang="en-US" sz="1984">
              <a:solidFill>
                <a:prstClr val="black"/>
              </a:solidFill>
              <a:latin typeface="Calibri"/>
              <a:ea typeface="ＭＳ Ｐゴシック" panose="020B0600070205080204" pitchFamily="50" charset="-128"/>
            </a:endParaRPr>
          </a:p>
        </p:txBody>
      </p:sp>
      <p:grpSp>
        <p:nvGrpSpPr>
          <p:cNvPr id="2111" name="グループ化 254"/>
          <p:cNvGrpSpPr>
            <a:grpSpLocks/>
          </p:cNvGrpSpPr>
          <p:nvPr/>
        </p:nvGrpSpPr>
        <p:grpSpPr bwMode="auto">
          <a:xfrm>
            <a:off x="9727718" y="5988242"/>
            <a:ext cx="451481" cy="360485"/>
            <a:chOff x="9522443" y="4509120"/>
            <a:chExt cx="885383" cy="703879"/>
          </a:xfrm>
        </p:grpSpPr>
        <p:pic>
          <p:nvPicPr>
            <p:cNvPr id="2351" name="図 255"/>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2" name="正方形/長方形 261"/>
            <p:cNvSpPr/>
            <p:nvPr/>
          </p:nvSpPr>
          <p:spPr>
            <a:xfrm>
              <a:off x="9618531" y="4922565"/>
              <a:ext cx="219630" cy="146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nvGrpSpPr>
          <p:cNvPr id="2112" name="グループ化 257"/>
          <p:cNvGrpSpPr>
            <a:grpSpLocks/>
          </p:cNvGrpSpPr>
          <p:nvPr/>
        </p:nvGrpSpPr>
        <p:grpSpPr bwMode="auto">
          <a:xfrm>
            <a:off x="10007706" y="6103737"/>
            <a:ext cx="87496" cy="97996"/>
            <a:chOff x="12536806" y="4182643"/>
            <a:chExt cx="100432" cy="110930"/>
          </a:xfrm>
        </p:grpSpPr>
        <p:sp>
          <p:nvSpPr>
            <p:cNvPr id="264" name="楕円 263"/>
            <p:cNvSpPr/>
            <p:nvPr/>
          </p:nvSpPr>
          <p:spPr>
            <a:xfrm>
              <a:off x="12536806" y="4182643"/>
              <a:ext cx="100432" cy="10102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348" name="グループ化 259"/>
            <p:cNvGrpSpPr>
              <a:grpSpLocks/>
            </p:cNvGrpSpPr>
            <p:nvPr/>
          </p:nvGrpSpPr>
          <p:grpSpPr bwMode="auto">
            <a:xfrm rot="731207">
              <a:off x="12564163" y="4183991"/>
              <a:ext cx="45719" cy="109582"/>
              <a:chOff x="12471802" y="3668802"/>
              <a:chExt cx="434170" cy="598160"/>
            </a:xfrm>
          </p:grpSpPr>
          <p:sp>
            <p:nvSpPr>
              <p:cNvPr id="266" name="二等辺三角形 265"/>
              <p:cNvSpPr/>
              <p:nvPr/>
            </p:nvSpPr>
            <p:spPr>
              <a:xfrm>
                <a:off x="12311829" y="3676488"/>
                <a:ext cx="76301" cy="237881"/>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67" name="二等辺三角形 266"/>
              <p:cNvSpPr/>
              <p:nvPr/>
            </p:nvSpPr>
            <p:spPr>
              <a:xfrm rot="10800000">
                <a:off x="12472342" y="3874951"/>
                <a:ext cx="133521" cy="270323"/>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sp>
        <p:nvSpPr>
          <p:cNvPr id="2113" name="テキスト ボックス 262"/>
          <p:cNvSpPr txBox="1">
            <a:spLocks noChangeArrowheads="1"/>
          </p:cNvSpPr>
          <p:nvPr/>
        </p:nvSpPr>
        <p:spPr bwMode="auto">
          <a:xfrm>
            <a:off x="9778467" y="5347769"/>
            <a:ext cx="577475" cy="22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882">
                <a:solidFill>
                  <a:prstClr val="black"/>
                </a:solidFill>
                <a:latin typeface="HGｺﾞｼｯｸE" panose="020B0909000000000000" pitchFamily="49" charset="-128"/>
                <a:ea typeface="HGｺﾞｼｯｸE" panose="020B0909000000000000" pitchFamily="49" charset="-128"/>
              </a:rPr>
              <a:t>市役所</a:t>
            </a:r>
          </a:p>
        </p:txBody>
      </p:sp>
      <p:sp>
        <p:nvSpPr>
          <p:cNvPr id="2114" name="テキスト ボックス 263"/>
          <p:cNvSpPr txBox="1">
            <a:spLocks noChangeArrowheads="1"/>
          </p:cNvSpPr>
          <p:nvPr/>
        </p:nvSpPr>
        <p:spPr bwMode="auto">
          <a:xfrm>
            <a:off x="9893961" y="6392476"/>
            <a:ext cx="454980" cy="228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882">
                <a:solidFill>
                  <a:prstClr val="black"/>
                </a:solidFill>
                <a:latin typeface="HGｺﾞｼｯｸE" panose="020B0909000000000000" pitchFamily="49" charset="-128"/>
                <a:ea typeface="HGｺﾞｼｯｸE" panose="020B0909000000000000" pitchFamily="49" charset="-128"/>
              </a:rPr>
              <a:t>公園</a:t>
            </a:r>
          </a:p>
        </p:txBody>
      </p:sp>
      <p:pic>
        <p:nvPicPr>
          <p:cNvPr id="2115" name="図 264"/>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9844963" y="5813250"/>
            <a:ext cx="290488" cy="23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 name="L 字 275"/>
          <p:cNvSpPr/>
          <p:nvPr/>
        </p:nvSpPr>
        <p:spPr bwMode="auto">
          <a:xfrm rot="10800000">
            <a:off x="8566679" y="5761307"/>
            <a:ext cx="725990" cy="399030"/>
          </a:xfrm>
          <a:prstGeom prst="corner">
            <a:avLst>
              <a:gd name="adj1" fmla="val 35737"/>
              <a:gd name="adj2" fmla="val 32981"/>
            </a:avLst>
          </a:prstGeom>
          <a:gradFill flip="none" rotWithShape="1">
            <a:gsLst>
              <a:gs pos="80000">
                <a:schemeClr val="accent6">
                  <a:lumMod val="0"/>
                  <a:lumOff val="100000"/>
                </a:schemeClr>
              </a:gs>
              <a:gs pos="22000">
                <a:srgbClr val="FFC000"/>
              </a:gs>
            </a:gsLst>
            <a:path path="circle">
              <a:fillToRect r="100000" b="100000"/>
            </a:path>
            <a:tileRect l="-100000" t="-100000"/>
          </a:gra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119" name="グループ化 336"/>
          <p:cNvGrpSpPr>
            <a:grpSpLocks/>
          </p:cNvGrpSpPr>
          <p:nvPr/>
        </p:nvGrpSpPr>
        <p:grpSpPr bwMode="auto">
          <a:xfrm>
            <a:off x="8053040" y="5426517"/>
            <a:ext cx="678971" cy="689470"/>
            <a:chOff x="9092262" y="4587994"/>
            <a:chExt cx="579326" cy="586114"/>
          </a:xfrm>
        </p:grpSpPr>
        <p:sp>
          <p:nvSpPr>
            <p:cNvPr id="278" name="直方体 277"/>
            <p:cNvSpPr/>
            <p:nvPr/>
          </p:nvSpPr>
          <p:spPr bwMode="auto">
            <a:xfrm>
              <a:off x="9092262" y="4778407"/>
              <a:ext cx="579326" cy="324297"/>
            </a:xfrm>
            <a:prstGeom prst="cube">
              <a:avLst>
                <a:gd name="adj" fmla="val 28815"/>
              </a:avLst>
            </a:prstGeom>
            <a:solidFill>
              <a:srgbClr val="CEC49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326" name="グループ化 338"/>
            <p:cNvGrpSpPr>
              <a:grpSpLocks/>
            </p:cNvGrpSpPr>
            <p:nvPr/>
          </p:nvGrpSpPr>
          <p:grpSpPr bwMode="auto">
            <a:xfrm>
              <a:off x="9113127" y="4587994"/>
              <a:ext cx="535140" cy="586114"/>
              <a:chOff x="9113127" y="4587994"/>
              <a:chExt cx="535140" cy="586114"/>
            </a:xfrm>
          </p:grpSpPr>
          <p:sp>
            <p:nvSpPr>
              <p:cNvPr id="280" name="円柱 279"/>
              <p:cNvSpPr/>
              <p:nvPr/>
            </p:nvSpPr>
            <p:spPr bwMode="auto">
              <a:xfrm>
                <a:off x="9491302" y="4587994"/>
                <a:ext cx="70265" cy="224447"/>
              </a:xfrm>
              <a:prstGeom prst="can">
                <a:avLst/>
              </a:prstGeom>
              <a:solidFill>
                <a:schemeClr val="accent6">
                  <a:lumMod val="60000"/>
                  <a:lumOff val="40000"/>
                </a:schemeClr>
              </a:solidFill>
              <a:ln>
                <a:no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81" name="フローチャート : 記憶データ 178"/>
              <p:cNvSpPr/>
              <p:nvPr/>
            </p:nvSpPr>
            <p:spPr bwMode="auto">
              <a:xfrm rot="16200000">
                <a:off x="9500718" y="4618369"/>
                <a:ext cx="49090" cy="65697"/>
              </a:xfrm>
              <a:prstGeom prst="flowChartOnlineStorag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82" name="フローチャート : 記憶データ 181"/>
              <p:cNvSpPr/>
              <p:nvPr/>
            </p:nvSpPr>
            <p:spPr bwMode="auto">
              <a:xfrm rot="16200000">
                <a:off x="9500718" y="4691261"/>
                <a:ext cx="49091" cy="65697"/>
              </a:xfrm>
              <a:prstGeom prst="flowChartOnlineStorag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83" name="円/楕円 185"/>
              <p:cNvSpPr/>
              <p:nvPr/>
            </p:nvSpPr>
            <p:spPr bwMode="auto">
              <a:xfrm>
                <a:off x="9492415" y="4587994"/>
                <a:ext cx="62711" cy="10413"/>
              </a:xfrm>
              <a:prstGeom prst="ellipse">
                <a:avLst/>
              </a:prstGeom>
              <a:solidFill>
                <a:srgbClr val="4C44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84" name="正方形/長方形 283"/>
              <p:cNvSpPr/>
              <p:nvPr/>
            </p:nvSpPr>
            <p:spPr bwMode="auto">
              <a:xfrm>
                <a:off x="9113166" y="4919728"/>
                <a:ext cx="449425" cy="20826"/>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85" name="直方体 284"/>
              <p:cNvSpPr/>
              <p:nvPr/>
            </p:nvSpPr>
            <p:spPr bwMode="auto">
              <a:xfrm>
                <a:off x="9287859" y="4958406"/>
                <a:ext cx="291156" cy="215702"/>
              </a:xfrm>
              <a:prstGeom prst="cube">
                <a:avLst>
                  <a:gd name="adj" fmla="val 33831"/>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86" name="正方形/長方形 285"/>
              <p:cNvSpPr/>
              <p:nvPr/>
            </p:nvSpPr>
            <p:spPr bwMode="auto">
              <a:xfrm>
                <a:off x="9268449" y="4919728"/>
                <a:ext cx="10451" cy="2677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87" name="正方形/長方形 286"/>
              <p:cNvSpPr/>
              <p:nvPr/>
            </p:nvSpPr>
            <p:spPr bwMode="auto">
              <a:xfrm>
                <a:off x="9407307" y="4919728"/>
                <a:ext cx="11945" cy="2677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88" name="正方形/長方形 287"/>
              <p:cNvSpPr/>
              <p:nvPr/>
            </p:nvSpPr>
            <p:spPr bwMode="auto">
              <a:xfrm>
                <a:off x="9302790" y="5077414"/>
                <a:ext cx="16425"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89" name="正方形/長方形 288"/>
              <p:cNvSpPr/>
              <p:nvPr/>
            </p:nvSpPr>
            <p:spPr bwMode="auto">
              <a:xfrm>
                <a:off x="9337132" y="5077414"/>
                <a:ext cx="14931"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90" name="正方形/長方形 289"/>
              <p:cNvSpPr/>
              <p:nvPr/>
            </p:nvSpPr>
            <p:spPr bwMode="auto">
              <a:xfrm>
                <a:off x="9371473" y="5077414"/>
                <a:ext cx="16425"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91" name="正方形/長方形 290"/>
              <p:cNvSpPr/>
              <p:nvPr/>
            </p:nvSpPr>
            <p:spPr bwMode="auto">
              <a:xfrm>
                <a:off x="9405815" y="5077414"/>
                <a:ext cx="16424"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92" name="正方形/長方形 291"/>
              <p:cNvSpPr/>
              <p:nvPr/>
            </p:nvSpPr>
            <p:spPr bwMode="auto">
              <a:xfrm>
                <a:off x="9434183" y="5077414"/>
                <a:ext cx="16425"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93" name="正方形/長方形 292"/>
              <p:cNvSpPr/>
              <p:nvPr/>
            </p:nvSpPr>
            <p:spPr bwMode="auto">
              <a:xfrm>
                <a:off x="9468525" y="5077414"/>
                <a:ext cx="16424"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94" name="正方形/長方形 293"/>
              <p:cNvSpPr/>
              <p:nvPr/>
            </p:nvSpPr>
            <p:spPr bwMode="auto">
              <a:xfrm>
                <a:off x="9113166" y="4997083"/>
                <a:ext cx="155283" cy="22314"/>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95" name="平行四辺形 294"/>
              <p:cNvSpPr/>
              <p:nvPr/>
            </p:nvSpPr>
            <p:spPr bwMode="auto">
              <a:xfrm rot="19735899">
                <a:off x="9623808" y="4858737"/>
                <a:ext cx="23890" cy="26777"/>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96" name="平行四辺形 295"/>
              <p:cNvSpPr/>
              <p:nvPr/>
            </p:nvSpPr>
            <p:spPr bwMode="auto">
              <a:xfrm rot="19735899">
                <a:off x="9623808" y="4925679"/>
                <a:ext cx="23890" cy="29752"/>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97" name="平行四辺形 296"/>
              <p:cNvSpPr/>
              <p:nvPr/>
            </p:nvSpPr>
            <p:spPr bwMode="auto">
              <a:xfrm rot="19735899">
                <a:off x="9623808" y="4986671"/>
                <a:ext cx="23890" cy="28264"/>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grpSp>
        <p:nvGrpSpPr>
          <p:cNvPr id="2120" name="グループ化 163"/>
          <p:cNvGrpSpPr>
            <a:grpSpLocks/>
          </p:cNvGrpSpPr>
          <p:nvPr/>
        </p:nvGrpSpPr>
        <p:grpSpPr bwMode="auto">
          <a:xfrm>
            <a:off x="7685556" y="5773002"/>
            <a:ext cx="542477" cy="432231"/>
            <a:chOff x="9522443" y="4509120"/>
            <a:chExt cx="885383" cy="703879"/>
          </a:xfrm>
        </p:grpSpPr>
        <p:pic>
          <p:nvPicPr>
            <p:cNvPr id="2323" name="図 16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0" name="正方形/長方形 299"/>
            <p:cNvSpPr/>
            <p:nvPr/>
          </p:nvSpPr>
          <p:spPr>
            <a:xfrm>
              <a:off x="9616693" y="4922328"/>
              <a:ext cx="222774" cy="151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sp>
        <p:nvSpPr>
          <p:cNvPr id="2121" name="テキスト ボックス 359"/>
          <p:cNvSpPr txBox="1">
            <a:spLocks noChangeArrowheads="1"/>
          </p:cNvSpPr>
          <p:nvPr/>
        </p:nvSpPr>
        <p:spPr bwMode="auto">
          <a:xfrm>
            <a:off x="8740760" y="5720504"/>
            <a:ext cx="439232" cy="194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661">
                <a:solidFill>
                  <a:srgbClr val="FF0000"/>
                </a:solidFill>
                <a:latin typeface="HGｺﾞｼｯｸE" panose="020B0909000000000000" pitchFamily="49" charset="-128"/>
                <a:ea typeface="HGｺﾞｼｯｸE" panose="020B0909000000000000" pitchFamily="49" charset="-128"/>
              </a:rPr>
              <a:t>送 電</a:t>
            </a:r>
          </a:p>
        </p:txBody>
      </p:sp>
      <p:sp>
        <p:nvSpPr>
          <p:cNvPr id="2122" name="テキスト ボックス 171"/>
          <p:cNvSpPr txBox="1">
            <a:spLocks noChangeArrowheads="1"/>
          </p:cNvSpPr>
          <p:nvPr/>
        </p:nvSpPr>
        <p:spPr bwMode="auto">
          <a:xfrm>
            <a:off x="8527270" y="5347770"/>
            <a:ext cx="696470" cy="36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882">
                <a:solidFill>
                  <a:prstClr val="black"/>
                </a:solidFill>
                <a:latin typeface="HGｺﾞｼｯｸE" panose="020B0909000000000000" pitchFamily="49" charset="-128"/>
                <a:ea typeface="HGｺﾞｼｯｸE" panose="020B0909000000000000" pitchFamily="49" charset="-128"/>
              </a:rPr>
              <a:t>ごみ</a:t>
            </a:r>
            <a:endParaRPr lang="en-US" altLang="ja-JP" sz="882">
              <a:solidFill>
                <a:prstClr val="black"/>
              </a:solidFill>
              <a:latin typeface="HGｺﾞｼｯｸE" panose="020B0909000000000000" pitchFamily="49" charset="-128"/>
              <a:ea typeface="HGｺﾞｼｯｸE" panose="020B0909000000000000" pitchFamily="49" charset="-128"/>
            </a:endParaRPr>
          </a:p>
          <a:p>
            <a:pPr defTabSz="1007943" eaLnBrk="0" fontAlgn="base" hangingPunct="0">
              <a:spcBef>
                <a:spcPct val="0"/>
              </a:spcBef>
              <a:spcAft>
                <a:spcPct val="0"/>
              </a:spcAft>
              <a:buNone/>
            </a:pPr>
            <a:r>
              <a:rPr lang="ja-JP" altLang="en-US" sz="882">
                <a:solidFill>
                  <a:prstClr val="black"/>
                </a:solidFill>
                <a:latin typeface="HGｺﾞｼｯｸE" panose="020B0909000000000000" pitchFamily="49" charset="-128"/>
                <a:ea typeface="HGｺﾞｼｯｸE" panose="020B0909000000000000" pitchFamily="49" charset="-128"/>
              </a:rPr>
              <a:t>焼却施設</a:t>
            </a:r>
          </a:p>
        </p:txBody>
      </p:sp>
      <p:grpSp>
        <p:nvGrpSpPr>
          <p:cNvPr id="2123" name="グループ化 388"/>
          <p:cNvGrpSpPr>
            <a:grpSpLocks/>
          </p:cNvGrpSpPr>
          <p:nvPr/>
        </p:nvGrpSpPr>
        <p:grpSpPr bwMode="auto">
          <a:xfrm flipV="1">
            <a:off x="7750303" y="6030241"/>
            <a:ext cx="117246" cy="52498"/>
            <a:chOff x="9284458" y="6066181"/>
            <a:chExt cx="1029302" cy="201952"/>
          </a:xfrm>
        </p:grpSpPr>
        <p:sp>
          <p:nvSpPr>
            <p:cNvPr id="304" name="正方形/長方形 303"/>
            <p:cNvSpPr/>
            <p:nvPr/>
          </p:nvSpPr>
          <p:spPr>
            <a:xfrm>
              <a:off x="9299825" y="6066181"/>
              <a:ext cx="1013935" cy="2019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05" name="正方形/長方形 304"/>
            <p:cNvSpPr/>
            <p:nvPr/>
          </p:nvSpPr>
          <p:spPr>
            <a:xfrm>
              <a:off x="9284458" y="6066181"/>
              <a:ext cx="261170"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06" name="正方形/長方形 305"/>
            <p:cNvSpPr/>
            <p:nvPr/>
          </p:nvSpPr>
          <p:spPr>
            <a:xfrm>
              <a:off x="9284458" y="6066181"/>
              <a:ext cx="184352"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07" name="正方形/長方形 306"/>
            <p:cNvSpPr/>
            <p:nvPr/>
          </p:nvSpPr>
          <p:spPr>
            <a:xfrm rot="10800000">
              <a:off x="10052590" y="6066181"/>
              <a:ext cx="245802"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08" name="正方形/長方形 307"/>
            <p:cNvSpPr/>
            <p:nvPr/>
          </p:nvSpPr>
          <p:spPr>
            <a:xfrm rot="10800000">
              <a:off x="10129408" y="6066181"/>
              <a:ext cx="184352"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nvGrpSpPr>
          <p:cNvPr id="2124" name="グループ化 400"/>
          <p:cNvGrpSpPr>
            <a:grpSpLocks/>
          </p:cNvGrpSpPr>
          <p:nvPr/>
        </p:nvGrpSpPr>
        <p:grpSpPr bwMode="auto">
          <a:xfrm flipV="1">
            <a:off x="9186992" y="6936702"/>
            <a:ext cx="117244" cy="52498"/>
            <a:chOff x="9284458" y="6066181"/>
            <a:chExt cx="1029302" cy="201952"/>
          </a:xfrm>
        </p:grpSpPr>
        <p:sp>
          <p:nvSpPr>
            <p:cNvPr id="310" name="正方形/長方形 309"/>
            <p:cNvSpPr/>
            <p:nvPr/>
          </p:nvSpPr>
          <p:spPr>
            <a:xfrm>
              <a:off x="9299816" y="6066181"/>
              <a:ext cx="1013944" cy="2019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11" name="正方形/長方形 310"/>
            <p:cNvSpPr/>
            <p:nvPr/>
          </p:nvSpPr>
          <p:spPr>
            <a:xfrm>
              <a:off x="9284458" y="6066181"/>
              <a:ext cx="261163"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12" name="正方形/長方形 311"/>
            <p:cNvSpPr/>
            <p:nvPr/>
          </p:nvSpPr>
          <p:spPr>
            <a:xfrm>
              <a:off x="9284458" y="6066181"/>
              <a:ext cx="184353"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13" name="正方形/長方形 312"/>
            <p:cNvSpPr/>
            <p:nvPr/>
          </p:nvSpPr>
          <p:spPr>
            <a:xfrm rot="10800000">
              <a:off x="10052597" y="6066181"/>
              <a:ext cx="245805"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14" name="正方形/長方形 313"/>
            <p:cNvSpPr/>
            <p:nvPr/>
          </p:nvSpPr>
          <p:spPr>
            <a:xfrm rot="10800000">
              <a:off x="10129407" y="6066181"/>
              <a:ext cx="184353"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nvGrpSpPr>
          <p:cNvPr id="2125" name="グループ化 406"/>
          <p:cNvGrpSpPr>
            <a:grpSpLocks/>
          </p:cNvGrpSpPr>
          <p:nvPr/>
        </p:nvGrpSpPr>
        <p:grpSpPr bwMode="auto">
          <a:xfrm flipV="1">
            <a:off x="9769716" y="6217483"/>
            <a:ext cx="117246" cy="52498"/>
            <a:chOff x="9284458" y="6066181"/>
            <a:chExt cx="1029302" cy="201952"/>
          </a:xfrm>
        </p:grpSpPr>
        <p:sp>
          <p:nvSpPr>
            <p:cNvPr id="316" name="正方形/長方形 315"/>
            <p:cNvSpPr/>
            <p:nvPr/>
          </p:nvSpPr>
          <p:spPr>
            <a:xfrm>
              <a:off x="9299825" y="6066181"/>
              <a:ext cx="1013935" cy="2019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17" name="正方形/長方形 316"/>
            <p:cNvSpPr/>
            <p:nvPr/>
          </p:nvSpPr>
          <p:spPr>
            <a:xfrm>
              <a:off x="9284458" y="6066181"/>
              <a:ext cx="261170"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18" name="正方形/長方形 317"/>
            <p:cNvSpPr/>
            <p:nvPr/>
          </p:nvSpPr>
          <p:spPr>
            <a:xfrm>
              <a:off x="9284458" y="6066181"/>
              <a:ext cx="184352"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19" name="正方形/長方形 318"/>
            <p:cNvSpPr/>
            <p:nvPr/>
          </p:nvSpPr>
          <p:spPr>
            <a:xfrm rot="10800000">
              <a:off x="10052590" y="6066181"/>
              <a:ext cx="245802"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20" name="正方形/長方形 319"/>
            <p:cNvSpPr/>
            <p:nvPr/>
          </p:nvSpPr>
          <p:spPr>
            <a:xfrm rot="10800000">
              <a:off x="10129408" y="6066181"/>
              <a:ext cx="184352"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sp>
        <p:nvSpPr>
          <p:cNvPr id="321" name="直方体 320"/>
          <p:cNvSpPr/>
          <p:nvPr/>
        </p:nvSpPr>
        <p:spPr bwMode="auto">
          <a:xfrm>
            <a:off x="8872005" y="6087988"/>
            <a:ext cx="624723" cy="349985"/>
          </a:xfrm>
          <a:prstGeom prst="cube">
            <a:avLst>
              <a:gd name="adj" fmla="val 28815"/>
            </a:avLst>
          </a:prstGeom>
          <a:solidFill>
            <a:srgbClr val="CEC49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dirty="0">
              <a:solidFill>
                <a:prstClr val="white"/>
              </a:solidFill>
              <a:latin typeface="Calibri"/>
              <a:ea typeface="ＭＳ Ｐゴシック" panose="020B0600070205080204" pitchFamily="50" charset="-128"/>
            </a:endParaRPr>
          </a:p>
        </p:txBody>
      </p:sp>
      <p:sp>
        <p:nvSpPr>
          <p:cNvPr id="322" name="正方形/長方形 321"/>
          <p:cNvSpPr/>
          <p:nvPr/>
        </p:nvSpPr>
        <p:spPr bwMode="auto">
          <a:xfrm>
            <a:off x="8894754" y="6220983"/>
            <a:ext cx="488230" cy="52498"/>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23" name="正方形/長方形 322"/>
          <p:cNvSpPr/>
          <p:nvPr/>
        </p:nvSpPr>
        <p:spPr bwMode="auto">
          <a:xfrm>
            <a:off x="9024248" y="6220983"/>
            <a:ext cx="52498" cy="5249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24" name="正方形/長方形 323"/>
          <p:cNvSpPr/>
          <p:nvPr/>
        </p:nvSpPr>
        <p:spPr bwMode="auto">
          <a:xfrm>
            <a:off x="9174742" y="6481721"/>
            <a:ext cx="52498" cy="5249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25" name="正方形/長方形 324"/>
          <p:cNvSpPr/>
          <p:nvPr/>
        </p:nvSpPr>
        <p:spPr bwMode="auto">
          <a:xfrm>
            <a:off x="8896505" y="6318978"/>
            <a:ext cx="169742" cy="5424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26" name="平行四辺形 325"/>
          <p:cNvSpPr/>
          <p:nvPr/>
        </p:nvSpPr>
        <p:spPr bwMode="auto">
          <a:xfrm rot="19735899">
            <a:off x="9428481" y="6166735"/>
            <a:ext cx="52498" cy="52498"/>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27" name="平行四辺形 326"/>
          <p:cNvSpPr/>
          <p:nvPr/>
        </p:nvSpPr>
        <p:spPr bwMode="auto">
          <a:xfrm rot="19735899">
            <a:off x="9428481" y="6238482"/>
            <a:ext cx="52498" cy="52498"/>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28" name="平行四辺形 327"/>
          <p:cNvSpPr/>
          <p:nvPr/>
        </p:nvSpPr>
        <p:spPr bwMode="auto">
          <a:xfrm rot="19735899">
            <a:off x="9428481" y="6303229"/>
            <a:ext cx="52498" cy="52498"/>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134" name="グループ化 479"/>
          <p:cNvGrpSpPr>
            <a:grpSpLocks/>
          </p:cNvGrpSpPr>
          <p:nvPr/>
        </p:nvGrpSpPr>
        <p:grpSpPr bwMode="auto">
          <a:xfrm>
            <a:off x="8210534" y="6163235"/>
            <a:ext cx="500478" cy="397233"/>
            <a:chOff x="5573892" y="6001116"/>
            <a:chExt cx="419126" cy="332478"/>
          </a:xfrm>
        </p:grpSpPr>
        <p:grpSp>
          <p:nvGrpSpPr>
            <p:cNvPr id="2299" name="グループ化 276"/>
            <p:cNvGrpSpPr>
              <a:grpSpLocks/>
            </p:cNvGrpSpPr>
            <p:nvPr/>
          </p:nvGrpSpPr>
          <p:grpSpPr bwMode="auto">
            <a:xfrm>
              <a:off x="5573892" y="6001116"/>
              <a:ext cx="419126" cy="332478"/>
              <a:chOff x="9522443" y="4509120"/>
              <a:chExt cx="885383" cy="703879"/>
            </a:xfrm>
          </p:grpSpPr>
          <p:pic>
            <p:nvPicPr>
              <p:cNvPr id="2306" name="図 28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 name="正方形/長方形 337"/>
              <p:cNvSpPr/>
              <p:nvPr/>
            </p:nvSpPr>
            <p:spPr>
              <a:xfrm>
                <a:off x="9618410" y="4921525"/>
                <a:ext cx="222894" cy="148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nvGrpSpPr>
            <p:cNvPr id="2300" name="グループ化 382"/>
            <p:cNvGrpSpPr>
              <a:grpSpLocks/>
            </p:cNvGrpSpPr>
            <p:nvPr/>
          </p:nvGrpSpPr>
          <p:grpSpPr bwMode="auto">
            <a:xfrm flipV="1">
              <a:off x="5615167" y="6214531"/>
              <a:ext cx="100013" cy="19050"/>
              <a:chOff x="9284458" y="6066181"/>
              <a:chExt cx="1029302" cy="201952"/>
            </a:xfrm>
          </p:grpSpPr>
          <p:sp>
            <p:nvSpPr>
              <p:cNvPr id="332" name="正方形/長方形 331"/>
              <p:cNvSpPr/>
              <p:nvPr/>
            </p:nvSpPr>
            <p:spPr>
              <a:xfrm>
                <a:off x="9297046" y="6061770"/>
                <a:ext cx="1010510" cy="20185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33" name="正方形/長方形 332"/>
              <p:cNvSpPr/>
              <p:nvPr/>
            </p:nvSpPr>
            <p:spPr>
              <a:xfrm>
                <a:off x="9281969" y="6061770"/>
                <a:ext cx="256392" cy="201854"/>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34" name="正方形/長方形 333"/>
              <p:cNvSpPr/>
              <p:nvPr/>
            </p:nvSpPr>
            <p:spPr>
              <a:xfrm>
                <a:off x="9281969" y="6061770"/>
                <a:ext cx="180986" cy="20185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35" name="正方形/長方形 334"/>
              <p:cNvSpPr/>
              <p:nvPr/>
            </p:nvSpPr>
            <p:spPr>
              <a:xfrm rot="10800000">
                <a:off x="10051155" y="6061770"/>
                <a:ext cx="241315" cy="201854"/>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36" name="正方形/長方形 335"/>
              <p:cNvSpPr/>
              <p:nvPr/>
            </p:nvSpPr>
            <p:spPr>
              <a:xfrm rot="10800000">
                <a:off x="10126570" y="6061770"/>
                <a:ext cx="180986" cy="20185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sp>
        <p:nvSpPr>
          <p:cNvPr id="2135" name="テキスト ボックス 363"/>
          <p:cNvSpPr txBox="1">
            <a:spLocks noChangeArrowheads="1"/>
          </p:cNvSpPr>
          <p:nvPr/>
        </p:nvSpPr>
        <p:spPr bwMode="auto">
          <a:xfrm>
            <a:off x="8861505" y="6019741"/>
            <a:ext cx="635222" cy="211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772">
                <a:solidFill>
                  <a:prstClr val="black"/>
                </a:solidFill>
                <a:latin typeface="HGｺﾞｼｯｸE" panose="020B0909000000000000" pitchFamily="49" charset="-128"/>
                <a:ea typeface="HGｺﾞｼｯｸE" panose="020B0909000000000000" pitchFamily="49" charset="-128"/>
              </a:rPr>
              <a:t>充電設備</a:t>
            </a:r>
          </a:p>
        </p:txBody>
      </p:sp>
      <p:sp>
        <p:nvSpPr>
          <p:cNvPr id="341" name="左矢印 340"/>
          <p:cNvSpPr/>
          <p:nvPr/>
        </p:nvSpPr>
        <p:spPr bwMode="auto">
          <a:xfrm>
            <a:off x="8528497" y="6300425"/>
            <a:ext cx="625726" cy="231214"/>
          </a:xfrm>
          <a:prstGeom prst="leftArrow">
            <a:avLst>
              <a:gd name="adj1" fmla="val 60704"/>
              <a:gd name="adj2" fmla="val 39297"/>
            </a:avLst>
          </a:prstGeom>
          <a:gradFill>
            <a:gsLst>
              <a:gs pos="86000">
                <a:schemeClr val="accent6">
                  <a:lumMod val="0"/>
                  <a:lumOff val="100000"/>
                </a:schemeClr>
              </a:gs>
              <a:gs pos="38000">
                <a:srgbClr val="FFC000"/>
              </a:gs>
            </a:gsLst>
            <a:path path="circle">
              <a:fillToRect r="100000" b="100000"/>
            </a:path>
          </a:gra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42" name="直方体 341"/>
          <p:cNvSpPr/>
          <p:nvPr/>
        </p:nvSpPr>
        <p:spPr bwMode="auto">
          <a:xfrm rot="5400000">
            <a:off x="8611238" y="6344378"/>
            <a:ext cx="85256" cy="130494"/>
          </a:xfrm>
          <a:prstGeom prst="cube">
            <a:avLst>
              <a:gd name="adj" fmla="val 26536"/>
            </a:avLst>
          </a:prstGeom>
          <a:solidFill>
            <a:schemeClr val="tx1">
              <a:lumMod val="85000"/>
              <a:lumOff val="15000"/>
            </a:schemeClr>
          </a:solidFill>
          <a:ln>
            <a:noFill/>
          </a:ln>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140" name="テキスト ボックス 363"/>
          <p:cNvSpPr txBox="1">
            <a:spLocks noChangeArrowheads="1"/>
          </p:cNvSpPr>
          <p:nvPr/>
        </p:nvSpPr>
        <p:spPr bwMode="auto">
          <a:xfrm>
            <a:off x="8627016" y="6311979"/>
            <a:ext cx="589724" cy="17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551">
                <a:solidFill>
                  <a:srgbClr val="FF0000"/>
                </a:solidFill>
                <a:latin typeface="HGｺﾞｼｯｸE" panose="020B0909000000000000" pitchFamily="49" charset="-128"/>
                <a:ea typeface="HGｺﾞｼｯｸE" panose="020B0909000000000000" pitchFamily="49" charset="-128"/>
              </a:rPr>
              <a:t>充電済電池</a:t>
            </a:r>
          </a:p>
        </p:txBody>
      </p:sp>
      <p:grpSp>
        <p:nvGrpSpPr>
          <p:cNvPr id="344" name="グループ化 343"/>
          <p:cNvGrpSpPr/>
          <p:nvPr/>
        </p:nvGrpSpPr>
        <p:grpSpPr bwMode="auto">
          <a:xfrm rot="19954016">
            <a:off x="8500250" y="6171432"/>
            <a:ext cx="70136" cy="168816"/>
            <a:chOff x="12471802" y="3668802"/>
            <a:chExt cx="434170" cy="598160"/>
          </a:xfrm>
          <a:solidFill>
            <a:srgbClr val="D6BE10"/>
          </a:solidFill>
        </p:grpSpPr>
        <p:sp>
          <p:nvSpPr>
            <p:cNvPr id="345" name="二等辺三角形 344"/>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46" name="二等辺三角形 345"/>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nvGrpSpPr>
          <p:cNvPr id="348" name="グループ化 347"/>
          <p:cNvGrpSpPr/>
          <p:nvPr/>
        </p:nvGrpSpPr>
        <p:grpSpPr bwMode="auto">
          <a:xfrm rot="854517">
            <a:off x="8602728" y="6167918"/>
            <a:ext cx="74811" cy="155344"/>
            <a:chOff x="12471802" y="3668802"/>
            <a:chExt cx="434170" cy="598160"/>
          </a:xfrm>
          <a:solidFill>
            <a:srgbClr val="BEA90E"/>
          </a:solidFill>
        </p:grpSpPr>
        <p:sp>
          <p:nvSpPr>
            <p:cNvPr id="354" name="二等辺三角形 353"/>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57" name="二等辺三角形 356"/>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sp>
        <p:nvSpPr>
          <p:cNvPr id="387" name="直方体 386"/>
          <p:cNvSpPr/>
          <p:nvPr/>
        </p:nvSpPr>
        <p:spPr bwMode="auto">
          <a:xfrm>
            <a:off x="9116995" y="6280480"/>
            <a:ext cx="227490" cy="257238"/>
          </a:xfrm>
          <a:prstGeom prst="cube">
            <a:avLst>
              <a:gd name="adj" fmla="val 21566"/>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144" name="グループ化 257"/>
          <p:cNvGrpSpPr>
            <a:grpSpLocks/>
          </p:cNvGrpSpPr>
          <p:nvPr/>
        </p:nvGrpSpPr>
        <p:grpSpPr bwMode="auto">
          <a:xfrm>
            <a:off x="9136243" y="6373226"/>
            <a:ext cx="132994" cy="148744"/>
            <a:chOff x="12536824" y="4182647"/>
            <a:chExt cx="100432" cy="110926"/>
          </a:xfrm>
        </p:grpSpPr>
        <p:sp>
          <p:nvSpPr>
            <p:cNvPr id="393" name="楕円 392"/>
            <p:cNvSpPr/>
            <p:nvPr/>
          </p:nvSpPr>
          <p:spPr>
            <a:xfrm>
              <a:off x="12536824" y="4182647"/>
              <a:ext cx="100432" cy="99181"/>
            </a:xfrm>
            <a:prstGeom prst="ellipse">
              <a:avLst/>
            </a:prstGeom>
            <a:solidFill>
              <a:srgbClr val="FCF600"/>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296" name="グループ化 259"/>
            <p:cNvGrpSpPr>
              <a:grpSpLocks/>
            </p:cNvGrpSpPr>
            <p:nvPr/>
          </p:nvGrpSpPr>
          <p:grpSpPr bwMode="auto">
            <a:xfrm rot="731207">
              <a:off x="12564163" y="4183991"/>
              <a:ext cx="45719" cy="109582"/>
              <a:chOff x="12471802" y="3668802"/>
              <a:chExt cx="434170" cy="598160"/>
            </a:xfrm>
          </p:grpSpPr>
          <p:sp>
            <p:nvSpPr>
              <p:cNvPr id="402" name="二等辺三角形 401"/>
              <p:cNvSpPr/>
              <p:nvPr/>
            </p:nvSpPr>
            <p:spPr>
              <a:xfrm>
                <a:off x="12455831" y="3662091"/>
                <a:ext cx="163145" cy="320558"/>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403" name="二等辺三角形 402"/>
              <p:cNvSpPr/>
              <p:nvPr/>
            </p:nvSpPr>
            <p:spPr>
              <a:xfrm rot="10800000">
                <a:off x="12674283" y="3923907"/>
                <a:ext cx="213334" cy="334805"/>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sp>
        <p:nvSpPr>
          <p:cNvPr id="2145" name="テキスト ボックス 430" hidden="1"/>
          <p:cNvSpPr txBox="1">
            <a:spLocks noChangeArrowheads="1"/>
          </p:cNvSpPr>
          <p:nvPr/>
        </p:nvSpPr>
        <p:spPr bwMode="auto">
          <a:xfrm>
            <a:off x="5795638" y="3116093"/>
            <a:ext cx="4509556" cy="431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eaLnBrk="0" fontAlgn="base" hangingPunct="0">
              <a:spcBef>
                <a:spcPct val="0"/>
              </a:spcBef>
              <a:spcAft>
                <a:spcPct val="0"/>
              </a:spcAft>
              <a:buNone/>
            </a:pPr>
            <a:r>
              <a:rPr lang="ja-JP" altLang="en-US" sz="1102" u="sng">
                <a:solidFill>
                  <a:srgbClr val="002060"/>
                </a:solidFill>
                <a:latin typeface="メイリオ" panose="020B0604030504040204" pitchFamily="50" charset="-128"/>
                <a:ea typeface="メイリオ" panose="020B0604030504040204" pitchFamily="50" charset="-128"/>
              </a:rPr>
              <a:t>各メニューを組み合わせて、</a:t>
            </a:r>
            <a:r>
              <a:rPr lang="ja-JP" altLang="en-US" sz="1102" u="sng">
                <a:solidFill>
                  <a:prstClr val="black"/>
                </a:solidFill>
                <a:latin typeface="メイリオ" panose="020B0604030504040204" pitchFamily="50" charset="-128"/>
                <a:ea typeface="メイリオ" panose="020B0604030504040204" pitchFamily="50" charset="-128"/>
              </a:rPr>
              <a:t>地域特性に応じた</a:t>
            </a:r>
            <a:r>
              <a:rPr lang="ja-JP" altLang="en-US" sz="1102" u="sng">
                <a:solidFill>
                  <a:srgbClr val="002060"/>
                </a:solidFill>
                <a:latin typeface="メイリオ" panose="020B0604030504040204" pitchFamily="50" charset="-128"/>
                <a:ea typeface="メイリオ" panose="020B0604030504040204" pitchFamily="50" charset="-128"/>
              </a:rPr>
              <a:t>廃棄物処理システム</a:t>
            </a:r>
            <a:endParaRPr lang="en-US" altLang="ja-JP" sz="1102" u="sng">
              <a:solidFill>
                <a:srgbClr val="002060"/>
              </a:solidFill>
              <a:latin typeface="メイリオ" panose="020B0604030504040204" pitchFamily="50" charset="-128"/>
              <a:ea typeface="メイリオ" panose="020B0604030504040204" pitchFamily="50" charset="-128"/>
            </a:endParaRPr>
          </a:p>
          <a:p>
            <a:pPr defTabSz="1007943" eaLnBrk="0" fontAlgn="base" hangingPunct="0">
              <a:spcBef>
                <a:spcPct val="0"/>
              </a:spcBef>
              <a:spcAft>
                <a:spcPct val="0"/>
              </a:spcAft>
              <a:buNone/>
            </a:pPr>
            <a:r>
              <a:rPr lang="ja-JP" altLang="en-US" sz="1102" u="sng">
                <a:solidFill>
                  <a:srgbClr val="002060"/>
                </a:solidFill>
                <a:latin typeface="メイリオ" panose="020B0604030504040204" pitchFamily="50" charset="-128"/>
                <a:ea typeface="メイリオ" panose="020B0604030504040204" pitchFamily="50" charset="-128"/>
              </a:rPr>
              <a:t>低炭素ガイドライン</a:t>
            </a:r>
            <a:r>
              <a:rPr lang="ja-JP" altLang="en-US" sz="1102" u="sng">
                <a:solidFill>
                  <a:prstClr val="black"/>
                </a:solidFill>
                <a:latin typeface="メイリオ" panose="020B0604030504040204" pitchFamily="50" charset="-128"/>
                <a:ea typeface="メイリオ" panose="020B0604030504040204" pitchFamily="50" charset="-128"/>
              </a:rPr>
              <a:t>を作成</a:t>
            </a:r>
            <a:endParaRPr lang="ja-JP" altLang="en-US" sz="1102" u="sng">
              <a:solidFill>
                <a:prstClr val="black"/>
              </a:solidFill>
            </a:endParaRPr>
          </a:p>
        </p:txBody>
      </p:sp>
      <p:sp>
        <p:nvSpPr>
          <p:cNvPr id="32" name="正方形/長方形 31"/>
          <p:cNvSpPr/>
          <p:nvPr/>
        </p:nvSpPr>
        <p:spPr>
          <a:xfrm>
            <a:off x="5337858" y="850681"/>
            <a:ext cx="973343" cy="329770"/>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spAutoFit/>
          </a:bodyPr>
          <a:lstStyle/>
          <a:p>
            <a:pPr defTabSz="1007943">
              <a:defRPr/>
            </a:pPr>
            <a:r>
              <a:rPr kumimoji="0" lang="ja-JP" altLang="en-US" sz="1543" b="1" kern="0" dirty="0">
                <a:solidFill>
                  <a:sysClr val="window" lastClr="FFFFFF"/>
                </a:solidFill>
                <a:latin typeface="Cambria"/>
                <a:ea typeface="メイリオ"/>
              </a:rPr>
              <a:t>イメージ</a:t>
            </a:r>
          </a:p>
        </p:txBody>
      </p:sp>
      <p:grpSp>
        <p:nvGrpSpPr>
          <p:cNvPr id="2149" name="グループ化 257"/>
          <p:cNvGrpSpPr>
            <a:grpSpLocks/>
          </p:cNvGrpSpPr>
          <p:nvPr/>
        </p:nvGrpSpPr>
        <p:grpSpPr bwMode="auto">
          <a:xfrm>
            <a:off x="7424817" y="5734504"/>
            <a:ext cx="131245" cy="148743"/>
            <a:chOff x="12536824" y="4182647"/>
            <a:chExt cx="100432" cy="110926"/>
          </a:xfrm>
        </p:grpSpPr>
        <p:sp>
          <p:nvSpPr>
            <p:cNvPr id="277" name="楕円 276"/>
            <p:cNvSpPr/>
            <p:nvPr/>
          </p:nvSpPr>
          <p:spPr>
            <a:xfrm>
              <a:off x="12536824" y="4182647"/>
              <a:ext cx="100432" cy="99181"/>
            </a:xfrm>
            <a:prstGeom prst="ellipse">
              <a:avLst/>
            </a:prstGeom>
            <a:solidFill>
              <a:srgbClr val="FCF600"/>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292" name="グループ化 259"/>
            <p:cNvGrpSpPr>
              <a:grpSpLocks/>
            </p:cNvGrpSpPr>
            <p:nvPr/>
          </p:nvGrpSpPr>
          <p:grpSpPr bwMode="auto">
            <a:xfrm rot="731207">
              <a:off x="12564163" y="4183991"/>
              <a:ext cx="45719" cy="109582"/>
              <a:chOff x="12471802" y="3668802"/>
              <a:chExt cx="434170" cy="598160"/>
            </a:xfrm>
          </p:grpSpPr>
          <p:sp>
            <p:nvSpPr>
              <p:cNvPr id="298" name="二等辺三角形 297"/>
              <p:cNvSpPr/>
              <p:nvPr/>
            </p:nvSpPr>
            <p:spPr>
              <a:xfrm>
                <a:off x="11745902" y="3553547"/>
                <a:ext cx="483234" cy="327682"/>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299" name="二等辺三角形 298"/>
              <p:cNvSpPr/>
              <p:nvPr/>
            </p:nvSpPr>
            <p:spPr>
              <a:xfrm rot="10800000">
                <a:off x="12667724" y="3923909"/>
                <a:ext cx="228901" cy="334803"/>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grpSp>
      <p:sp>
        <p:nvSpPr>
          <p:cNvPr id="303" name="正方形/長方形 302"/>
          <p:cNvSpPr/>
          <p:nvPr/>
        </p:nvSpPr>
        <p:spPr>
          <a:xfrm>
            <a:off x="3923218" y="5822000"/>
            <a:ext cx="1259946" cy="876712"/>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defTabSz="1007943" fontAlgn="base">
              <a:spcBef>
                <a:spcPct val="0"/>
              </a:spcBef>
              <a:spcAft>
                <a:spcPct val="0"/>
              </a:spcAft>
              <a:defRPr/>
            </a:pPr>
            <a:r>
              <a:rPr lang="ja-JP" altLang="en-US" sz="882"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補助事業者</a:t>
            </a:r>
            <a:endParaRPr lang="en-US" altLang="ja-JP" sz="882"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algn="ctr" defTabSz="1007943" fontAlgn="base">
              <a:spcBef>
                <a:spcPct val="0"/>
              </a:spcBef>
              <a:spcAft>
                <a:spcPct val="0"/>
              </a:spcAft>
              <a:defRPr/>
            </a:pPr>
            <a:r>
              <a:rPr lang="ja-JP" altLang="en-US" sz="882"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地方公共団体等）</a:t>
            </a:r>
            <a:endParaRPr lang="en-US" altLang="ja-JP" sz="882"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09" name="右矢印 308"/>
          <p:cNvSpPr/>
          <p:nvPr/>
        </p:nvSpPr>
        <p:spPr>
          <a:xfrm>
            <a:off x="1693814" y="6352227"/>
            <a:ext cx="489979" cy="211741"/>
          </a:xfrm>
          <a:prstGeom prst="rightArrow">
            <a:avLst/>
          </a:prstGeom>
        </p:spPr>
        <p:style>
          <a:lnRef idx="1">
            <a:schemeClr val="dk1"/>
          </a:lnRef>
          <a:fillRef idx="2">
            <a:schemeClr val="dk1"/>
          </a:fillRef>
          <a:effectRef idx="1">
            <a:schemeClr val="dk1"/>
          </a:effectRef>
          <a:fontRef idx="minor">
            <a:schemeClr val="dk1"/>
          </a:fontRef>
        </p:style>
        <p:txBody>
          <a:bodyPr anchor="ctr"/>
          <a:lstStyle/>
          <a:p>
            <a:pPr algn="ctr" defTabSz="1007943" fontAlgn="base">
              <a:spcBef>
                <a:spcPct val="0"/>
              </a:spcBef>
              <a:spcAft>
                <a:spcPct val="0"/>
              </a:spcAft>
              <a:defRPr/>
            </a:pPr>
            <a:endParaRPr lang="ja-JP" altLang="en-US" sz="1157">
              <a:solidFill>
                <a:prstClr val="black"/>
              </a:solidFill>
              <a:latin typeface="Calibri"/>
              <a:ea typeface="ＭＳ Ｐゴシック" panose="020B0600070205080204" pitchFamily="50" charset="-128"/>
            </a:endParaRPr>
          </a:p>
        </p:txBody>
      </p:sp>
      <p:sp>
        <p:nvSpPr>
          <p:cNvPr id="315" name="右矢印 314"/>
          <p:cNvSpPr/>
          <p:nvPr/>
        </p:nvSpPr>
        <p:spPr>
          <a:xfrm>
            <a:off x="3286245" y="6343478"/>
            <a:ext cx="489979" cy="211740"/>
          </a:xfrm>
          <a:prstGeom prst="rightArrow">
            <a:avLst/>
          </a:prstGeom>
        </p:spPr>
        <p:style>
          <a:lnRef idx="1">
            <a:schemeClr val="dk1"/>
          </a:lnRef>
          <a:fillRef idx="2">
            <a:schemeClr val="dk1"/>
          </a:fillRef>
          <a:effectRef idx="1">
            <a:schemeClr val="dk1"/>
          </a:effectRef>
          <a:fontRef idx="minor">
            <a:schemeClr val="dk1"/>
          </a:fontRef>
        </p:style>
        <p:txBody>
          <a:bodyPr anchor="ctr"/>
          <a:lstStyle/>
          <a:p>
            <a:pPr algn="ctr" defTabSz="1007943" fontAlgn="base">
              <a:spcBef>
                <a:spcPct val="0"/>
              </a:spcBef>
              <a:spcAft>
                <a:spcPct val="0"/>
              </a:spcAft>
              <a:defRPr/>
            </a:pPr>
            <a:endParaRPr lang="ja-JP" altLang="en-US" sz="1157">
              <a:solidFill>
                <a:prstClr val="black"/>
              </a:solidFill>
              <a:latin typeface="Calibri"/>
              <a:ea typeface="ＭＳ Ｐゴシック" panose="020B0600070205080204" pitchFamily="50" charset="-128"/>
            </a:endParaRPr>
          </a:p>
        </p:txBody>
      </p:sp>
      <p:sp>
        <p:nvSpPr>
          <p:cNvPr id="329" name="正方形/長方形 328"/>
          <p:cNvSpPr/>
          <p:nvPr/>
        </p:nvSpPr>
        <p:spPr>
          <a:xfrm>
            <a:off x="2306287" y="6322479"/>
            <a:ext cx="811965" cy="316736"/>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defTabSz="1007943" fontAlgn="base">
              <a:spcBef>
                <a:spcPct val="0"/>
              </a:spcBef>
              <a:spcAft>
                <a:spcPct val="0"/>
              </a:spcAft>
              <a:defRPr/>
            </a:pPr>
            <a:r>
              <a:rPr lang="ja-JP" altLang="en-US" sz="882"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非営利法人</a:t>
            </a:r>
            <a:endParaRPr lang="en-US" altLang="ja-JP" sz="882"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154" name="テキスト ボックス 17"/>
          <p:cNvSpPr txBox="1">
            <a:spLocks noChangeArrowheads="1"/>
          </p:cNvSpPr>
          <p:nvPr/>
        </p:nvSpPr>
        <p:spPr bwMode="auto">
          <a:xfrm>
            <a:off x="1545070" y="6009897"/>
            <a:ext cx="913461" cy="397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defTabSz="1007943" fontAlgn="base">
              <a:spcBef>
                <a:spcPct val="0"/>
              </a:spcBef>
              <a:spcAft>
                <a:spcPct val="0"/>
              </a:spcAft>
              <a:buNone/>
            </a:pPr>
            <a:r>
              <a:rPr lang="ja-JP" altLang="en-US" sz="992">
                <a:solidFill>
                  <a:prstClr val="black"/>
                </a:solidFill>
                <a:latin typeface="メイリオ" panose="020B0604030504040204" pitchFamily="50" charset="-128"/>
                <a:ea typeface="メイリオ" panose="020B0604030504040204" pitchFamily="50" charset="-128"/>
              </a:rPr>
              <a:t>（補助率）定額</a:t>
            </a:r>
            <a:endParaRPr lang="en-US" altLang="ja-JP" sz="992">
              <a:solidFill>
                <a:prstClr val="black"/>
              </a:solidFill>
              <a:latin typeface="メイリオ" panose="020B0604030504040204" pitchFamily="50" charset="-128"/>
              <a:ea typeface="メイリオ" panose="020B0604030504040204" pitchFamily="50" charset="-128"/>
            </a:endParaRPr>
          </a:p>
        </p:txBody>
      </p:sp>
      <p:sp>
        <p:nvSpPr>
          <p:cNvPr id="2155" name="テキスト ボックス 17"/>
          <p:cNvSpPr txBox="1">
            <a:spLocks noChangeArrowheads="1"/>
          </p:cNvSpPr>
          <p:nvPr/>
        </p:nvSpPr>
        <p:spPr bwMode="auto">
          <a:xfrm>
            <a:off x="2511028" y="5989773"/>
            <a:ext cx="1532934" cy="397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defTabSz="1007943" fontAlgn="base">
              <a:spcBef>
                <a:spcPct val="0"/>
              </a:spcBef>
              <a:spcAft>
                <a:spcPct val="0"/>
              </a:spcAft>
              <a:buNone/>
            </a:pPr>
            <a:r>
              <a:rPr lang="ja-JP" altLang="en-US" sz="992">
                <a:solidFill>
                  <a:prstClr val="black"/>
                </a:solidFill>
                <a:latin typeface="メイリオ" panose="020B0604030504040204" pitchFamily="50" charset="-128"/>
                <a:ea typeface="メイリオ" panose="020B0604030504040204" pitchFamily="50" charset="-128"/>
              </a:rPr>
              <a:t>　　　（補助率）</a:t>
            </a:r>
            <a:endParaRPr lang="en-US" altLang="ja-JP" sz="992">
              <a:solidFill>
                <a:prstClr val="black"/>
              </a:solidFill>
              <a:latin typeface="メイリオ" panose="020B0604030504040204" pitchFamily="50" charset="-128"/>
              <a:ea typeface="メイリオ" panose="020B0604030504040204" pitchFamily="50" charset="-128"/>
            </a:endParaRPr>
          </a:p>
          <a:p>
            <a:pPr algn="ctr" defTabSz="1007943" fontAlgn="base">
              <a:spcBef>
                <a:spcPct val="0"/>
              </a:spcBef>
              <a:spcAft>
                <a:spcPct val="0"/>
              </a:spcAft>
              <a:buNone/>
            </a:pPr>
            <a:r>
              <a:rPr lang="ja-JP" altLang="en-US" sz="992">
                <a:solidFill>
                  <a:prstClr val="black"/>
                </a:solidFill>
                <a:latin typeface="メイリオ" panose="020B0604030504040204" pitchFamily="50" charset="-128"/>
                <a:ea typeface="メイリオ" panose="020B0604030504040204" pitchFamily="50" charset="-128"/>
              </a:rPr>
              <a:t>最大</a:t>
            </a:r>
            <a:r>
              <a:rPr lang="en-US" altLang="ja-JP" sz="992">
                <a:solidFill>
                  <a:prstClr val="black"/>
                </a:solidFill>
                <a:latin typeface="メイリオ" panose="020B0604030504040204" pitchFamily="50" charset="-128"/>
                <a:ea typeface="メイリオ" panose="020B0604030504040204" pitchFamily="50" charset="-128"/>
              </a:rPr>
              <a:t>1/2,</a:t>
            </a:r>
            <a:r>
              <a:rPr lang="ja-JP" altLang="en-US" sz="992">
                <a:solidFill>
                  <a:prstClr val="black"/>
                </a:solidFill>
                <a:latin typeface="メイリオ" panose="020B0604030504040204" pitchFamily="50" charset="-128"/>
                <a:ea typeface="メイリオ" panose="020B0604030504040204" pitchFamily="50" charset="-128"/>
              </a:rPr>
              <a:t>定額</a:t>
            </a:r>
            <a:r>
              <a:rPr lang="en-US" altLang="ja-JP" sz="992">
                <a:solidFill>
                  <a:prstClr val="black"/>
                </a:solidFill>
                <a:latin typeface="メイリオ" panose="020B0604030504040204" pitchFamily="50" charset="-128"/>
                <a:ea typeface="メイリオ" panose="020B0604030504040204" pitchFamily="50" charset="-128"/>
              </a:rPr>
              <a:t>,</a:t>
            </a:r>
            <a:r>
              <a:rPr lang="ja-JP" altLang="en-US" sz="992">
                <a:solidFill>
                  <a:prstClr val="black"/>
                </a:solidFill>
                <a:latin typeface="メイリオ" panose="020B0604030504040204" pitchFamily="50" charset="-128"/>
                <a:ea typeface="メイリオ" panose="020B0604030504040204" pitchFamily="50" charset="-128"/>
              </a:rPr>
              <a:t>差額</a:t>
            </a:r>
            <a:r>
              <a:rPr lang="en-US" altLang="ja-JP" sz="992">
                <a:solidFill>
                  <a:prstClr val="black"/>
                </a:solidFill>
                <a:latin typeface="メイリオ" panose="020B0604030504040204" pitchFamily="50" charset="-128"/>
                <a:ea typeface="メイリオ" panose="020B0604030504040204" pitchFamily="50" charset="-128"/>
              </a:rPr>
              <a:t>2/3</a:t>
            </a:r>
          </a:p>
        </p:txBody>
      </p:sp>
      <p:sp>
        <p:nvSpPr>
          <p:cNvPr id="2156" name="テキスト ボックス 17"/>
          <p:cNvSpPr txBox="1">
            <a:spLocks noChangeArrowheads="1"/>
          </p:cNvSpPr>
          <p:nvPr/>
        </p:nvSpPr>
        <p:spPr bwMode="auto">
          <a:xfrm>
            <a:off x="1450574" y="6533337"/>
            <a:ext cx="911711" cy="24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defTabSz="1007943" fontAlgn="base">
              <a:spcBef>
                <a:spcPct val="0"/>
              </a:spcBef>
              <a:spcAft>
                <a:spcPct val="0"/>
              </a:spcAft>
              <a:buNone/>
            </a:pPr>
            <a:r>
              <a:rPr lang="ja-JP" altLang="en-US" sz="992">
                <a:solidFill>
                  <a:prstClr val="black"/>
                </a:solidFill>
                <a:latin typeface="メイリオ" panose="020B0604030504040204" pitchFamily="50" charset="-128"/>
                <a:ea typeface="メイリオ" panose="020B0604030504040204" pitchFamily="50" charset="-128"/>
              </a:rPr>
              <a:t>補助金</a:t>
            </a:r>
            <a:endParaRPr lang="en-US" altLang="ja-JP" sz="992">
              <a:solidFill>
                <a:prstClr val="black"/>
              </a:solidFill>
              <a:latin typeface="メイリオ" panose="020B0604030504040204" pitchFamily="50" charset="-128"/>
              <a:ea typeface="メイリオ" panose="020B0604030504040204" pitchFamily="50" charset="-128"/>
            </a:endParaRPr>
          </a:p>
        </p:txBody>
      </p:sp>
      <p:sp>
        <p:nvSpPr>
          <p:cNvPr id="2157" name="テキスト ボックス 17"/>
          <p:cNvSpPr txBox="1">
            <a:spLocks noChangeArrowheads="1"/>
          </p:cNvSpPr>
          <p:nvPr/>
        </p:nvSpPr>
        <p:spPr bwMode="auto">
          <a:xfrm>
            <a:off x="3006258" y="6550836"/>
            <a:ext cx="911710" cy="24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defTabSz="1007943" fontAlgn="base">
              <a:spcBef>
                <a:spcPct val="0"/>
              </a:spcBef>
              <a:spcAft>
                <a:spcPct val="0"/>
              </a:spcAft>
              <a:buNone/>
            </a:pPr>
            <a:r>
              <a:rPr lang="en-US" altLang="ja-JP" sz="992">
                <a:solidFill>
                  <a:prstClr val="black"/>
                </a:solidFill>
                <a:latin typeface="メイリオ" panose="020B0604030504040204" pitchFamily="50" charset="-128"/>
                <a:ea typeface="メイリオ" panose="020B0604030504040204" pitchFamily="50" charset="-128"/>
              </a:rPr>
              <a:t>(2)</a:t>
            </a:r>
            <a:r>
              <a:rPr lang="ja-JP" altLang="en-US" sz="992">
                <a:solidFill>
                  <a:prstClr val="black"/>
                </a:solidFill>
                <a:latin typeface="メイリオ" panose="020B0604030504040204" pitchFamily="50" charset="-128"/>
                <a:ea typeface="メイリオ" panose="020B0604030504040204" pitchFamily="50" charset="-128"/>
              </a:rPr>
              <a:t>補助金</a:t>
            </a:r>
            <a:endParaRPr lang="en-US" altLang="ja-JP" sz="992">
              <a:solidFill>
                <a:prstClr val="black"/>
              </a:solidFill>
              <a:latin typeface="メイリオ" panose="020B0604030504040204" pitchFamily="50" charset="-128"/>
              <a:ea typeface="メイリオ" panose="020B0604030504040204" pitchFamily="50" charset="-128"/>
            </a:endParaRPr>
          </a:p>
        </p:txBody>
      </p:sp>
      <p:sp>
        <p:nvSpPr>
          <p:cNvPr id="279" name="テキスト ボックス 278"/>
          <p:cNvSpPr txBox="1"/>
          <p:nvPr/>
        </p:nvSpPr>
        <p:spPr>
          <a:xfrm>
            <a:off x="8431024" y="139993"/>
            <a:ext cx="1783173" cy="465640"/>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spAutoFit/>
          </a:bodyPr>
          <a:lstStyle/>
          <a:p>
            <a:pPr algn="ctr" defTabSz="1007943" eaLnBrk="0" hangingPunct="0">
              <a:defRPr/>
            </a:pPr>
            <a:r>
              <a:rPr lang="ja-JP" altLang="en-US" sz="1213" dirty="0">
                <a:solidFill>
                  <a:prstClr val="white"/>
                </a:solidFill>
                <a:latin typeface="Calibri"/>
                <a:ea typeface="ＭＳ Ｐゴシック" panose="020B0600070205080204" pitchFamily="50" charset="-128"/>
              </a:rPr>
              <a:t>環境再生・資源循環局</a:t>
            </a:r>
            <a:endParaRPr lang="en-US" altLang="ja-JP" sz="1213" dirty="0">
              <a:solidFill>
                <a:prstClr val="white"/>
              </a:solidFill>
              <a:latin typeface="Calibri"/>
              <a:ea typeface="ＭＳ Ｐゴシック" panose="020B0600070205080204" pitchFamily="50" charset="-128"/>
            </a:endParaRPr>
          </a:p>
          <a:p>
            <a:pPr algn="ctr" defTabSz="1007943" eaLnBrk="0" hangingPunct="0">
              <a:defRPr/>
            </a:pPr>
            <a:r>
              <a:rPr lang="ja-JP" altLang="en-US" sz="1213" dirty="0">
                <a:solidFill>
                  <a:prstClr val="white"/>
                </a:solidFill>
                <a:latin typeface="Calibri"/>
                <a:ea typeface="ＭＳ Ｐゴシック" panose="020B0600070205080204" pitchFamily="50" charset="-128"/>
              </a:rPr>
              <a:t>廃棄物適正処理推進課　</a:t>
            </a:r>
          </a:p>
        </p:txBody>
      </p:sp>
      <p:sp>
        <p:nvSpPr>
          <p:cNvPr id="301" name="テキスト ボックス 300"/>
          <p:cNvSpPr txBox="1"/>
          <p:nvPr/>
        </p:nvSpPr>
        <p:spPr>
          <a:xfrm>
            <a:off x="5940881" y="148744"/>
            <a:ext cx="2441146" cy="465640"/>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spAutoFit/>
          </a:bodyPr>
          <a:lstStyle/>
          <a:p>
            <a:pPr defTabSz="1007943">
              <a:defRPr/>
            </a:pPr>
            <a:r>
              <a:rPr lang="en-US" altLang="ja-JP" sz="1213" dirty="0">
                <a:solidFill>
                  <a:prstClr val="white"/>
                </a:solidFill>
                <a:latin typeface="Calibri"/>
                <a:ea typeface="ＭＳ Ｐゴシック" panose="020B0600070205080204" pitchFamily="50" charset="-128"/>
              </a:rPr>
              <a:t>2019</a:t>
            </a:r>
            <a:r>
              <a:rPr lang="ja-JP" altLang="en-US" sz="1213" dirty="0">
                <a:solidFill>
                  <a:prstClr val="white"/>
                </a:solidFill>
                <a:latin typeface="Calibri"/>
                <a:ea typeface="ＭＳ Ｐゴシック" panose="020B0600070205080204" pitchFamily="50" charset="-128"/>
              </a:rPr>
              <a:t>年度予算（案）</a:t>
            </a:r>
            <a:endParaRPr lang="en-US" altLang="ja-JP" sz="1213" dirty="0">
              <a:solidFill>
                <a:prstClr val="white"/>
              </a:solidFill>
              <a:latin typeface="Calibri"/>
              <a:ea typeface="ＭＳ Ｐゴシック" panose="020B0600070205080204" pitchFamily="50" charset="-128"/>
            </a:endParaRPr>
          </a:p>
          <a:p>
            <a:pPr defTabSz="1007943">
              <a:defRPr/>
            </a:pPr>
            <a:r>
              <a:rPr lang="ja-JP" altLang="en-US" sz="1213" dirty="0">
                <a:solidFill>
                  <a:prstClr val="white"/>
                </a:solidFill>
                <a:latin typeface="Calibri"/>
                <a:ea typeface="ＭＳ Ｐゴシック" panose="020B0600070205080204" pitchFamily="50" charset="-128"/>
              </a:rPr>
              <a:t>　</a:t>
            </a:r>
            <a:r>
              <a:rPr lang="en-US" altLang="ja-JP" sz="1213" dirty="0">
                <a:solidFill>
                  <a:prstClr val="white"/>
                </a:solidFill>
                <a:latin typeface="Calibri"/>
                <a:ea typeface="ＭＳ Ｐゴシック" panose="020B0600070205080204" pitchFamily="50" charset="-128"/>
              </a:rPr>
              <a:t>25,950</a:t>
            </a:r>
            <a:r>
              <a:rPr lang="ja-JP" altLang="en-US" sz="1213" dirty="0">
                <a:solidFill>
                  <a:prstClr val="white"/>
                </a:solidFill>
                <a:latin typeface="Calibri"/>
                <a:ea typeface="ＭＳ Ｐゴシック" panose="020B0600070205080204" pitchFamily="50" charset="-128"/>
              </a:rPr>
              <a:t>百万円（</a:t>
            </a:r>
            <a:r>
              <a:rPr lang="en-US" altLang="ja-JP" sz="1213" dirty="0">
                <a:solidFill>
                  <a:prstClr val="white"/>
                </a:solidFill>
                <a:latin typeface="Calibri"/>
                <a:ea typeface="ＭＳ Ｐゴシック" panose="020B0600070205080204" pitchFamily="50" charset="-128"/>
              </a:rPr>
              <a:t>25,740</a:t>
            </a:r>
            <a:r>
              <a:rPr lang="ja-JP" altLang="en-US" sz="1213" dirty="0">
                <a:solidFill>
                  <a:prstClr val="white"/>
                </a:solidFill>
                <a:latin typeface="Calibri"/>
                <a:ea typeface="ＭＳ Ｐゴシック" panose="020B0600070205080204" pitchFamily="50" charset="-128"/>
              </a:rPr>
              <a:t>百万円）</a:t>
            </a:r>
          </a:p>
        </p:txBody>
      </p:sp>
      <p:sp>
        <p:nvSpPr>
          <p:cNvPr id="302" name="テキスト ボックス 301"/>
          <p:cNvSpPr txBox="1"/>
          <p:nvPr/>
        </p:nvSpPr>
        <p:spPr>
          <a:xfrm>
            <a:off x="346372" y="1478686"/>
            <a:ext cx="4896290" cy="1788310"/>
          </a:xfrm>
          <a:prstGeom prst="rect">
            <a:avLst/>
          </a:prstGeom>
          <a:noFill/>
        </p:spPr>
        <p:txBody>
          <a:bodyPr>
            <a:spAutoFit/>
          </a:bodyPr>
          <a:lstStyle/>
          <a:p>
            <a:pPr marL="314982" indent="-314982" defTabSz="1007943">
              <a:buClr>
                <a:prstClr val="black">
                  <a:lumMod val="65000"/>
                  <a:lumOff val="35000"/>
                </a:prstClr>
              </a:buClr>
              <a:buFont typeface="Wingdings" pitchFamily="2" charset="2"/>
              <a:buChar char="l"/>
              <a:defRPr/>
            </a:pPr>
            <a:r>
              <a:rPr lang="ja-JP" altLang="en-US" sz="1102" dirty="0">
                <a:solidFill>
                  <a:prstClr val="black"/>
                </a:solidFill>
                <a:latin typeface="ＭＳ Ｐゴシック" panose="020B0600070205080204" pitchFamily="50" charset="-128"/>
                <a:ea typeface="ＭＳ Ｐゴシック" panose="020B0600070205080204" pitchFamily="50" charset="-128"/>
              </a:rPr>
              <a:t>東日本大震災と原子力発電所の事故を起因としたエネルギー需給の逼迫を背景として、再生可能エネルギーや未利用エネルギーを活用した自立・分散型エネルギーの導入や省エネ効果に優れた先進的設備の導入支援が必要。</a:t>
            </a:r>
            <a:endParaRPr lang="en-US" altLang="ja-JP" sz="1102" dirty="0">
              <a:solidFill>
                <a:prstClr val="black"/>
              </a:solidFill>
              <a:latin typeface="ＭＳ Ｐゴシック" panose="020B0600070205080204" pitchFamily="50" charset="-128"/>
              <a:ea typeface="ＭＳ Ｐゴシック" panose="020B0600070205080204" pitchFamily="50" charset="-128"/>
            </a:endParaRPr>
          </a:p>
          <a:p>
            <a:pPr marL="314982" indent="-314982" defTabSz="1007943">
              <a:buClr>
                <a:prstClr val="black">
                  <a:lumMod val="65000"/>
                  <a:lumOff val="35000"/>
                </a:prstClr>
              </a:buClr>
              <a:buFont typeface="Wingdings" pitchFamily="2" charset="2"/>
              <a:buChar char="l"/>
              <a:defRPr/>
            </a:pPr>
            <a:r>
              <a:rPr lang="ja-JP" altLang="en-US" sz="1102" dirty="0">
                <a:solidFill>
                  <a:prstClr val="black"/>
                </a:solidFill>
                <a:latin typeface="ＭＳ Ｐゴシック" panose="020B0600070205080204" pitchFamily="50" charset="-128"/>
                <a:ea typeface="ＭＳ Ｐゴシック" panose="020B0600070205080204" pitchFamily="50" charset="-128"/>
              </a:rPr>
              <a:t>廃棄物処理施設において、高効率な廃熱利用と大幅な省エネが可能な設備の導入により得られるエネルギーを有効活用することで、エネルギー起源</a:t>
            </a:r>
            <a:r>
              <a:rPr lang="en-US" altLang="ja-JP" sz="1102" dirty="0">
                <a:solidFill>
                  <a:prstClr val="black"/>
                </a:solidFill>
                <a:latin typeface="ＭＳ Ｐゴシック" panose="020B0600070205080204" pitchFamily="50" charset="-128"/>
                <a:ea typeface="ＭＳ Ｐゴシック" panose="020B0600070205080204" pitchFamily="50" charset="-128"/>
              </a:rPr>
              <a:t>CO2</a:t>
            </a:r>
            <a:r>
              <a:rPr lang="ja-JP" altLang="en-US" sz="1102" dirty="0" err="1">
                <a:solidFill>
                  <a:prstClr val="black"/>
                </a:solidFill>
                <a:latin typeface="ＭＳ Ｐゴシック" panose="020B0600070205080204" pitchFamily="50" charset="-128"/>
                <a:ea typeface="ＭＳ Ｐゴシック" panose="020B0600070205080204" pitchFamily="50" charset="-128"/>
              </a:rPr>
              <a:t>の排</a:t>
            </a:r>
            <a:r>
              <a:rPr lang="ja-JP" altLang="en-US" sz="1102" dirty="0">
                <a:solidFill>
                  <a:prstClr val="black"/>
                </a:solidFill>
                <a:latin typeface="ＭＳ Ｐゴシック" panose="020B0600070205080204" pitchFamily="50" charset="-128"/>
                <a:ea typeface="ＭＳ Ｐゴシック" panose="020B0600070205080204" pitchFamily="50" charset="-128"/>
              </a:rPr>
              <a:t>出抑制を図りつつ、当該施設を中心とした自立・分散型の「地域エネルギーセンター」の整備を進める。</a:t>
            </a:r>
            <a:endParaRPr lang="en-US" altLang="ja-JP" sz="1102" dirty="0">
              <a:solidFill>
                <a:prstClr val="black"/>
              </a:solidFill>
              <a:latin typeface="ＭＳ Ｐゴシック" panose="020B0600070205080204" pitchFamily="50" charset="-128"/>
              <a:ea typeface="ＭＳ Ｐゴシック" panose="020B0600070205080204" pitchFamily="50" charset="-128"/>
            </a:endParaRPr>
          </a:p>
          <a:p>
            <a:pPr marL="314982" indent="-314982" defTabSz="1007943">
              <a:buClr>
                <a:prstClr val="black">
                  <a:lumMod val="65000"/>
                  <a:lumOff val="35000"/>
                </a:prstClr>
              </a:buClr>
              <a:buFont typeface="Wingdings" pitchFamily="2" charset="2"/>
              <a:buChar char="l"/>
              <a:defRPr/>
            </a:pPr>
            <a:r>
              <a:rPr lang="ja-JP" altLang="en-US" sz="1102" dirty="0">
                <a:solidFill>
                  <a:prstClr val="black"/>
                </a:solidFill>
                <a:latin typeface="ＭＳ Ｐゴシック" panose="020B0600070205080204" pitchFamily="50" charset="-128"/>
                <a:ea typeface="ＭＳ Ｐゴシック" panose="020B0600070205080204" pitchFamily="50" charset="-128"/>
              </a:rPr>
              <a:t>また、廃棄物焼却施設で生じた熱や発電した電力を地域で利活用することによる低炭素化の取組を支援する。</a:t>
            </a:r>
            <a:endParaRPr lang="en-US" altLang="ja-JP" sz="1102" dirty="0">
              <a:solidFill>
                <a:prstClr val="black"/>
              </a:solidFill>
              <a:latin typeface="ＭＳ Ｐゴシック" panose="020B0600070205080204" pitchFamily="50" charset="-128"/>
              <a:ea typeface="ＭＳ Ｐゴシック" panose="020B0600070205080204" pitchFamily="50" charset="-128"/>
            </a:endParaRPr>
          </a:p>
        </p:txBody>
      </p:sp>
      <p:sp>
        <p:nvSpPr>
          <p:cNvPr id="2161" name="テキスト ボックス 40"/>
          <p:cNvSpPr txBox="1">
            <a:spLocks noChangeArrowheads="1"/>
          </p:cNvSpPr>
          <p:nvPr/>
        </p:nvSpPr>
        <p:spPr bwMode="auto">
          <a:xfrm>
            <a:off x="290373" y="7034697"/>
            <a:ext cx="5046784" cy="478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71438" indent="-457200">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78746" indent="-503972" defTabSz="1007943" fontAlgn="base">
              <a:spcBef>
                <a:spcPct val="0"/>
              </a:spcBef>
              <a:spcAft>
                <a:spcPts val="110"/>
              </a:spcAft>
              <a:buNone/>
            </a:pPr>
            <a:r>
              <a:rPr lang="ja-JP" altLang="en-US" sz="1213">
                <a:solidFill>
                  <a:prstClr val="black"/>
                </a:solidFill>
                <a:latin typeface="ＭＳ Ｐゴシック" panose="020B0600070205080204" pitchFamily="50" charset="-128"/>
              </a:rPr>
              <a:t>　・　ごみ焼却施設及び周辺施設における</a:t>
            </a:r>
            <a:r>
              <a:rPr lang="en-US" altLang="ja-JP" sz="1213">
                <a:solidFill>
                  <a:prstClr val="black"/>
                </a:solidFill>
                <a:latin typeface="ＭＳ Ｐゴシック" panose="020B0600070205080204" pitchFamily="50" charset="-128"/>
              </a:rPr>
              <a:t>CO2</a:t>
            </a:r>
            <a:r>
              <a:rPr lang="ja-JP" altLang="en-US" sz="1213">
                <a:solidFill>
                  <a:prstClr val="black"/>
                </a:solidFill>
                <a:latin typeface="ＭＳ Ｐゴシック" panose="020B0600070205080204" pitchFamily="50" charset="-128"/>
              </a:rPr>
              <a:t>排出抑制</a:t>
            </a:r>
            <a:endParaRPr lang="en-US" altLang="ja-JP" sz="1213">
              <a:solidFill>
                <a:prstClr val="black"/>
              </a:solidFill>
              <a:latin typeface="ＭＳ Ｐゴシック" panose="020B0600070205080204" pitchFamily="50" charset="-128"/>
            </a:endParaRPr>
          </a:p>
          <a:p>
            <a:pPr marL="78746" indent="-503972" defTabSz="1007943" fontAlgn="base">
              <a:spcBef>
                <a:spcPct val="0"/>
              </a:spcBef>
              <a:spcAft>
                <a:spcPts val="110"/>
              </a:spcAft>
              <a:buNone/>
            </a:pPr>
            <a:r>
              <a:rPr lang="ja-JP" altLang="en-US" sz="1213">
                <a:solidFill>
                  <a:prstClr val="black"/>
                </a:solidFill>
                <a:latin typeface="ＭＳ Ｐゴシック" panose="020B0600070205080204" pitchFamily="50" charset="-128"/>
              </a:rPr>
              <a:t>　・　廃棄物焼却施設による未利用熱及び廃棄物発電の有効活用　</a:t>
            </a:r>
            <a:endParaRPr lang="en-US" altLang="ja-JP" sz="1213">
              <a:solidFill>
                <a:prstClr val="black"/>
              </a:solidFill>
              <a:latin typeface="ＭＳ Ｐゴシック" panose="020B0600070205080204" pitchFamily="50" charset="-128"/>
            </a:endParaRPr>
          </a:p>
        </p:txBody>
      </p:sp>
      <p:grpSp>
        <p:nvGrpSpPr>
          <p:cNvPr id="2162" name="グループ化 17"/>
          <p:cNvGrpSpPr>
            <a:grpSpLocks/>
          </p:cNvGrpSpPr>
          <p:nvPr/>
        </p:nvGrpSpPr>
        <p:grpSpPr bwMode="auto">
          <a:xfrm>
            <a:off x="5424654" y="2033413"/>
            <a:ext cx="2402646" cy="1627430"/>
            <a:chOff x="6377202" y="4291521"/>
            <a:chExt cx="1653798" cy="1528701"/>
          </a:xfrm>
        </p:grpSpPr>
        <p:pic>
          <p:nvPicPr>
            <p:cNvPr id="2289" name="Picture 2" descr="JFEstoka0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77202" y="4429416"/>
              <a:ext cx="1653798" cy="139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90" name="オブジェクト 3"/>
            <p:cNvPicPr>
              <a:picLocks noChangeArrowheads="1"/>
            </p:cNvPicPr>
            <p:nvPr/>
          </p:nvPicPr>
          <p:blipFill>
            <a:blip r:embed="rId11">
              <a:extLst>
                <a:ext uri="{28A0092B-C50C-407E-A947-70E740481C1C}">
                  <a14:useLocalDpi xmlns:a14="http://schemas.microsoft.com/office/drawing/2010/main" val="0"/>
                </a:ext>
              </a:extLst>
            </a:blip>
            <a:srcRect t="-1170" r="-1318" b="-722"/>
            <a:stretch>
              <a:fillRect/>
            </a:stretch>
          </p:blipFill>
          <p:spPr bwMode="auto">
            <a:xfrm>
              <a:off x="6784659" y="4291521"/>
              <a:ext cx="834622" cy="42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40" name="小波 339"/>
          <p:cNvSpPr/>
          <p:nvPr/>
        </p:nvSpPr>
        <p:spPr>
          <a:xfrm>
            <a:off x="5424653" y="4026577"/>
            <a:ext cx="4723046" cy="369234"/>
          </a:xfrm>
          <a:prstGeom prst="doubleWave">
            <a:avLst>
              <a:gd name="adj1" fmla="val 12500"/>
              <a:gd name="adj2" fmla="val 2997"/>
            </a:avLst>
          </a:prstGeom>
          <a:gradFill>
            <a:gsLst>
              <a:gs pos="24000">
                <a:schemeClr val="accent2">
                  <a:lumMod val="20000"/>
                  <a:lumOff val="80000"/>
                </a:schemeClr>
              </a:gs>
              <a:gs pos="50000">
                <a:schemeClr val="accent2">
                  <a:lumMod val="40000"/>
                  <a:lumOff val="60000"/>
                </a:schemeClr>
              </a:gs>
              <a:gs pos="75000">
                <a:schemeClr val="accent2">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1007943">
              <a:defRPr/>
            </a:pPr>
            <a:r>
              <a:rPr lang="ja-JP" altLang="en-US" sz="1323" b="1" dirty="0">
                <a:solidFill>
                  <a:prstClr val="black"/>
                </a:solidFill>
                <a:latin typeface="Calibri"/>
                <a:ea typeface="ＭＳ Ｐゴシック" panose="020B0600070205080204" pitchFamily="50" charset="-128"/>
              </a:rPr>
              <a:t>廃棄物処理施設を中心とした自立・分散型の</a:t>
            </a:r>
            <a:endParaRPr lang="en-US" altLang="ja-JP" sz="1323" b="1" dirty="0">
              <a:solidFill>
                <a:prstClr val="black"/>
              </a:solidFill>
              <a:latin typeface="Calibri"/>
              <a:ea typeface="ＭＳ Ｐゴシック" panose="020B0600070205080204" pitchFamily="50" charset="-128"/>
            </a:endParaRPr>
          </a:p>
          <a:p>
            <a:pPr algn="ctr" defTabSz="1007943">
              <a:defRPr/>
            </a:pPr>
            <a:r>
              <a:rPr lang="ja-JP" altLang="en-US" sz="1323" b="1" dirty="0">
                <a:solidFill>
                  <a:prstClr val="black"/>
                </a:solidFill>
                <a:latin typeface="Calibri"/>
                <a:ea typeface="ＭＳ Ｐゴシック" panose="020B0600070205080204" pitchFamily="50" charset="-128"/>
              </a:rPr>
              <a:t>「地域エネルギーセンター」の構築</a:t>
            </a:r>
            <a:endParaRPr lang="ja-JP" altLang="en-US" sz="1213" b="1" dirty="0">
              <a:solidFill>
                <a:prstClr val="black"/>
              </a:solidFill>
              <a:latin typeface="Calibri"/>
              <a:ea typeface="ＭＳ Ｐゴシック" panose="020B0600070205080204" pitchFamily="50" charset="-128"/>
            </a:endParaRPr>
          </a:p>
        </p:txBody>
      </p:sp>
      <p:sp>
        <p:nvSpPr>
          <p:cNvPr id="343" name="角丸四角形吹き出し 342"/>
          <p:cNvSpPr/>
          <p:nvPr/>
        </p:nvSpPr>
        <p:spPr>
          <a:xfrm rot="5400000">
            <a:off x="6393520" y="430333"/>
            <a:ext cx="597412" cy="2375141"/>
          </a:xfrm>
          <a:prstGeom prst="wedgeRoundRectCallout">
            <a:avLst>
              <a:gd name="adj1" fmla="val 78577"/>
              <a:gd name="adj2" fmla="val 17510"/>
              <a:gd name="adj3" fmla="val 16667"/>
            </a:avLst>
          </a:prstGeom>
        </p:spPr>
        <p:style>
          <a:lnRef idx="2">
            <a:schemeClr val="accent6"/>
          </a:lnRef>
          <a:fillRef idx="1">
            <a:schemeClr val="lt1"/>
          </a:fillRef>
          <a:effectRef idx="0">
            <a:schemeClr val="accent6"/>
          </a:effectRef>
          <a:fontRef idx="minor">
            <a:schemeClr val="dk1"/>
          </a:fontRef>
        </p:style>
        <p:txBody>
          <a:bodyPr vert="vert270" anchor="ctr"/>
          <a:lstStyle/>
          <a:p>
            <a:pPr defTabSz="1007943" fontAlgn="base">
              <a:spcBef>
                <a:spcPct val="0"/>
              </a:spcBef>
              <a:spcAft>
                <a:spcPct val="0"/>
              </a:spcAft>
              <a:defRPr/>
            </a:pPr>
            <a:r>
              <a:rPr lang="ja-JP" altLang="en-US" sz="992" dirty="0">
                <a:solidFill>
                  <a:prstClr val="black"/>
                </a:solidFill>
                <a:latin typeface="Calibri"/>
                <a:ea typeface="ＭＳ Ｐゴシック" panose="020B0600070205080204" pitchFamily="50" charset="-128"/>
              </a:rPr>
              <a:t>高効率ごみ発電設備等の導入により、</a:t>
            </a:r>
            <a:r>
              <a:rPr lang="en-US" altLang="ja-JP" sz="992" dirty="0">
                <a:solidFill>
                  <a:prstClr val="black"/>
                </a:solidFill>
                <a:latin typeface="Calibri"/>
                <a:ea typeface="ＭＳ Ｐゴシック" panose="020B0600070205080204" pitchFamily="50" charset="-128"/>
              </a:rPr>
              <a:t/>
            </a:r>
            <a:br>
              <a:rPr lang="en-US" altLang="ja-JP" sz="992" dirty="0">
                <a:solidFill>
                  <a:prstClr val="black"/>
                </a:solidFill>
                <a:latin typeface="Calibri"/>
                <a:ea typeface="ＭＳ Ｐゴシック" panose="020B0600070205080204" pitchFamily="50" charset="-128"/>
              </a:rPr>
            </a:br>
            <a:r>
              <a:rPr lang="ja-JP" altLang="en-US" sz="992" u="sng" dirty="0">
                <a:solidFill>
                  <a:prstClr val="black"/>
                </a:solidFill>
                <a:latin typeface="Calibri"/>
                <a:ea typeface="ＭＳ Ｐゴシック" panose="020B0600070205080204" pitchFamily="50" charset="-128"/>
              </a:rPr>
              <a:t>周辺施設への電気・熱供給を可能とする</a:t>
            </a:r>
            <a:r>
              <a:rPr lang="ja-JP" altLang="en-US" sz="992" dirty="0">
                <a:solidFill>
                  <a:prstClr val="black"/>
                </a:solidFill>
                <a:latin typeface="Calibri"/>
                <a:ea typeface="ＭＳ Ｐゴシック" panose="020B0600070205080204" pitchFamily="50" charset="-128"/>
              </a:rPr>
              <a:t>。</a:t>
            </a:r>
            <a:endParaRPr lang="en-US" altLang="ja-JP" sz="992" dirty="0">
              <a:solidFill>
                <a:prstClr val="black"/>
              </a:solidFill>
              <a:latin typeface="Calibri"/>
              <a:ea typeface="ＭＳ Ｐゴシック" panose="020B0600070205080204" pitchFamily="50" charset="-128"/>
            </a:endParaRPr>
          </a:p>
        </p:txBody>
      </p:sp>
      <p:sp>
        <p:nvSpPr>
          <p:cNvPr id="347" name="下矢印 346"/>
          <p:cNvSpPr/>
          <p:nvPr/>
        </p:nvSpPr>
        <p:spPr>
          <a:xfrm>
            <a:off x="6779096" y="3596096"/>
            <a:ext cx="1583681" cy="2624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49" name="円/楕円 137"/>
          <p:cNvSpPr/>
          <p:nvPr/>
        </p:nvSpPr>
        <p:spPr>
          <a:xfrm>
            <a:off x="7900797" y="1762174"/>
            <a:ext cx="283488" cy="1924917"/>
          </a:xfrm>
          <a:prstGeom prst="ellipse">
            <a:avLst/>
          </a:prstGeom>
          <a:noFill/>
          <a:ln>
            <a:prstDash val="sysDash"/>
          </a:ln>
          <a:effectLst>
            <a:outerShdw blurRad="40000" dist="20000" dir="5400000" rotWithShape="0">
              <a:srgbClr val="000000">
                <a:alpha val="0"/>
              </a:srgbClr>
            </a:outerShdw>
          </a:effectLst>
        </p:spPr>
        <p:style>
          <a:lnRef idx="1">
            <a:schemeClr val="accent2"/>
          </a:lnRef>
          <a:fillRef idx="2">
            <a:schemeClr val="accent2"/>
          </a:fillRef>
          <a:effectRef idx="1">
            <a:schemeClr val="accent2"/>
          </a:effectRef>
          <a:fontRef idx="minor">
            <a:schemeClr val="dk1"/>
          </a:fontRef>
        </p:style>
        <p:txBody>
          <a:bodyPr lIns="39677" rIns="39677" anchor="ctr"/>
          <a:lstStyle/>
          <a:p>
            <a:pPr algn="ctr" defTabSz="1007943" fontAlgn="base">
              <a:spcBef>
                <a:spcPct val="0"/>
              </a:spcBef>
              <a:spcAft>
                <a:spcPct val="0"/>
              </a:spcAft>
              <a:defRPr/>
            </a:pPr>
            <a:r>
              <a:rPr lang="ja-JP" altLang="en-US" sz="992" dirty="0">
                <a:solidFill>
                  <a:prstClr val="black"/>
                </a:solidFill>
                <a:latin typeface="Calibri"/>
                <a:ea typeface="ＭＳ Ｐゴシック" panose="020B0600070205080204" pitchFamily="50" charset="-128"/>
              </a:rPr>
              <a:t>電気・熱の供給</a:t>
            </a:r>
          </a:p>
        </p:txBody>
      </p:sp>
      <p:sp>
        <p:nvSpPr>
          <p:cNvPr id="350" name="右矢印 349"/>
          <p:cNvSpPr/>
          <p:nvPr/>
        </p:nvSpPr>
        <p:spPr>
          <a:xfrm rot="19632523">
            <a:off x="8196534" y="1977415"/>
            <a:ext cx="391983" cy="180243"/>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1007943" fontAlgn="base">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375" name="角丸四角形 374"/>
          <p:cNvSpPr/>
          <p:nvPr/>
        </p:nvSpPr>
        <p:spPr>
          <a:xfrm>
            <a:off x="9314735" y="922211"/>
            <a:ext cx="902961" cy="960708"/>
          </a:xfrm>
          <a:prstGeom prst="roundRect">
            <a:avLst>
              <a:gd name="adj" fmla="val 236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bIns="0" anchor="b"/>
          <a:lstStyle/>
          <a:p>
            <a:pPr algn="ctr" defTabSz="1007943" eaLnBrk="0" hangingPunct="0">
              <a:defRPr/>
            </a:pPr>
            <a:r>
              <a:rPr lang="ja-JP" altLang="en-US" sz="772" dirty="0">
                <a:solidFill>
                  <a:prstClr val="black"/>
                </a:solidFill>
                <a:latin typeface="Calibri"/>
                <a:ea typeface="ＭＳ Ｐゴシック" panose="020B0600070205080204" pitchFamily="50" charset="-128"/>
              </a:rPr>
              <a:t>公共施設への</a:t>
            </a:r>
            <a:endParaRPr lang="en-US" altLang="ja-JP" sz="772" dirty="0">
              <a:solidFill>
                <a:prstClr val="black"/>
              </a:solidFill>
              <a:latin typeface="Calibri"/>
              <a:ea typeface="ＭＳ Ｐゴシック" panose="020B0600070205080204" pitchFamily="50" charset="-128"/>
            </a:endParaRPr>
          </a:p>
          <a:p>
            <a:pPr algn="ctr" defTabSz="1007943" eaLnBrk="0" hangingPunct="0">
              <a:defRPr/>
            </a:pPr>
            <a:r>
              <a:rPr lang="ja-JP" altLang="en-US" sz="772" dirty="0">
                <a:solidFill>
                  <a:prstClr val="black"/>
                </a:solidFill>
                <a:latin typeface="Calibri"/>
                <a:ea typeface="ＭＳ Ｐゴシック" panose="020B0600070205080204" pitchFamily="50" charset="-128"/>
              </a:rPr>
              <a:t>エネルギー供給</a:t>
            </a:r>
            <a:endParaRPr lang="en-US" altLang="ja-JP" sz="1323" dirty="0">
              <a:solidFill>
                <a:prstClr val="black"/>
              </a:solidFill>
              <a:latin typeface="Calibri"/>
              <a:ea typeface="ＭＳ Ｐゴシック" panose="020B0600070205080204" pitchFamily="50" charset="-128"/>
            </a:endParaRPr>
          </a:p>
        </p:txBody>
      </p:sp>
      <p:pic>
        <p:nvPicPr>
          <p:cNvPr id="2169" name="Picture 25" descr="D:\Temporary Internet Files\Temporary Internet Files\Content.IE5\IV9487F8\MC900089326[1].w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421482" y="976458"/>
            <a:ext cx="743717" cy="664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7" name="右矢印 376"/>
          <p:cNvSpPr/>
          <p:nvPr/>
        </p:nvSpPr>
        <p:spPr>
          <a:xfrm>
            <a:off x="8289280" y="2654636"/>
            <a:ext cx="309737" cy="255489"/>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1007943" fontAlgn="base">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2172" name="グループ化 485"/>
          <p:cNvGrpSpPr>
            <a:grpSpLocks/>
          </p:cNvGrpSpPr>
          <p:nvPr/>
        </p:nvGrpSpPr>
        <p:grpSpPr bwMode="auto">
          <a:xfrm>
            <a:off x="8235033" y="915211"/>
            <a:ext cx="946709" cy="967708"/>
            <a:chOff x="3429000" y="857250"/>
            <a:chExt cx="1472342" cy="1571625"/>
          </a:xfrm>
        </p:grpSpPr>
        <p:sp>
          <p:nvSpPr>
            <p:cNvPr id="380" name="角丸四角形 379"/>
            <p:cNvSpPr/>
            <p:nvPr/>
          </p:nvSpPr>
          <p:spPr>
            <a:xfrm>
              <a:off x="3429000" y="857250"/>
              <a:ext cx="1472342" cy="1571625"/>
            </a:xfrm>
            <a:prstGeom prst="roundRect">
              <a:avLst>
                <a:gd name="adj" fmla="val 688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bIns="0" anchor="b"/>
            <a:lstStyle/>
            <a:p>
              <a:pPr algn="ctr" defTabSz="1007943">
                <a:defRPr/>
              </a:pPr>
              <a:r>
                <a:rPr lang="ja-JP" altLang="en-US" sz="772" dirty="0">
                  <a:solidFill>
                    <a:prstClr val="black"/>
                  </a:solidFill>
                  <a:latin typeface="Calibri"/>
                  <a:ea typeface="ＭＳ Ｐゴシック" panose="020B0600070205080204" pitchFamily="50" charset="-128"/>
                </a:rPr>
                <a:t>熱供給</a:t>
              </a:r>
              <a:r>
                <a:rPr lang="en-US" altLang="ja-JP" sz="772" dirty="0">
                  <a:solidFill>
                    <a:prstClr val="black"/>
                  </a:solidFill>
                  <a:latin typeface="Calibri"/>
                  <a:ea typeface="ＭＳ Ｐゴシック" panose="020B0600070205080204" pitchFamily="50" charset="-128"/>
                </a:rPr>
                <a:t>(</a:t>
              </a:r>
              <a:r>
                <a:rPr lang="ja-JP" altLang="en-US" sz="772" dirty="0">
                  <a:solidFill>
                    <a:prstClr val="black"/>
                  </a:solidFill>
                  <a:latin typeface="Calibri"/>
                  <a:ea typeface="ＭＳ Ｐゴシック" panose="020B0600070205080204" pitchFamily="50" charset="-128"/>
                </a:rPr>
                <a:t>プール、浴場、冷暖房等</a:t>
              </a:r>
              <a:r>
                <a:rPr lang="en-US" altLang="ja-JP" sz="772" dirty="0">
                  <a:solidFill>
                    <a:prstClr val="black"/>
                  </a:solidFill>
                  <a:latin typeface="Calibri"/>
                  <a:ea typeface="ＭＳ Ｐゴシック" panose="020B0600070205080204" pitchFamily="50" charset="-128"/>
                </a:rPr>
                <a:t>)</a:t>
              </a:r>
              <a:endParaRPr lang="en-US" altLang="ja-JP" sz="1543" dirty="0">
                <a:solidFill>
                  <a:prstClr val="black"/>
                </a:solidFill>
                <a:latin typeface="Calibri"/>
                <a:ea typeface="ＭＳ Ｐゴシック" panose="020B0600070205080204" pitchFamily="50" charset="-128"/>
              </a:endParaRPr>
            </a:p>
          </p:txBody>
        </p:sp>
        <p:grpSp>
          <p:nvGrpSpPr>
            <p:cNvPr id="2194" name="グループ化 76"/>
            <p:cNvGrpSpPr>
              <a:grpSpLocks/>
            </p:cNvGrpSpPr>
            <p:nvPr/>
          </p:nvGrpSpPr>
          <p:grpSpPr bwMode="auto">
            <a:xfrm>
              <a:off x="3570288" y="928688"/>
              <a:ext cx="1073150" cy="1071562"/>
              <a:chOff x="1428728" y="2071678"/>
              <a:chExt cx="1645241" cy="2116148"/>
            </a:xfrm>
          </p:grpSpPr>
          <p:sp>
            <p:nvSpPr>
              <p:cNvPr id="382" name="正方形/長方形 381"/>
              <p:cNvSpPr/>
              <p:nvPr/>
            </p:nvSpPr>
            <p:spPr>
              <a:xfrm>
                <a:off x="1641871" y="2070911"/>
                <a:ext cx="1356015" cy="9990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a:defRPr/>
                </a:pPr>
                <a:endParaRPr lang="ja-JP" altLang="en-US" sz="1984">
                  <a:solidFill>
                    <a:prstClr val="white"/>
                  </a:solidFill>
                  <a:latin typeface="Calibri"/>
                  <a:ea typeface="ＭＳ Ｐゴシック" panose="020B0600070205080204" pitchFamily="50" charset="-128"/>
                </a:endParaRPr>
              </a:p>
            </p:txBody>
          </p:sp>
          <p:grpSp>
            <p:nvGrpSpPr>
              <p:cNvPr id="2196" name="グループ化 89"/>
              <p:cNvGrpSpPr>
                <a:grpSpLocks/>
              </p:cNvGrpSpPr>
              <p:nvPr/>
            </p:nvGrpSpPr>
            <p:grpSpPr bwMode="auto">
              <a:xfrm>
                <a:off x="1428728" y="3071810"/>
                <a:ext cx="1571636" cy="1071570"/>
                <a:chOff x="1643042" y="4143380"/>
                <a:chExt cx="1428760" cy="928694"/>
              </a:xfrm>
            </p:grpSpPr>
            <p:sp>
              <p:nvSpPr>
                <p:cNvPr id="484" name="台形 483"/>
                <p:cNvSpPr/>
                <p:nvPr/>
              </p:nvSpPr>
              <p:spPr>
                <a:xfrm>
                  <a:off x="1643365" y="4141750"/>
                  <a:ext cx="1316185" cy="929049"/>
                </a:xfrm>
                <a:prstGeom prst="trapezoid">
                  <a:avLst>
                    <a:gd name="adj" fmla="val 75103"/>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a:defRPr/>
                  </a:pPr>
                  <a:endParaRPr lang="ja-JP" altLang="en-US" sz="1984">
                    <a:solidFill>
                      <a:prstClr val="white"/>
                    </a:solidFill>
                    <a:latin typeface="Calibri"/>
                    <a:ea typeface="ＭＳ Ｐゴシック" panose="020B0600070205080204" pitchFamily="50" charset="-128"/>
                  </a:endParaRPr>
                </a:p>
              </p:txBody>
            </p:sp>
            <p:sp>
              <p:nvSpPr>
                <p:cNvPr id="485" name="直角三角形 484"/>
                <p:cNvSpPr/>
                <p:nvPr/>
              </p:nvSpPr>
              <p:spPr>
                <a:xfrm flipH="1" flipV="1">
                  <a:off x="2356457" y="4141750"/>
                  <a:ext cx="603093" cy="929049"/>
                </a:xfrm>
                <a:prstGeom prst="r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a:defRPr/>
                  </a:pPr>
                  <a:endParaRPr lang="ja-JP" altLang="en-US" sz="1984">
                    <a:solidFill>
                      <a:prstClr val="white"/>
                    </a:solidFill>
                    <a:latin typeface="Calibri"/>
                    <a:ea typeface="ＭＳ Ｐゴシック" panose="020B0600070205080204" pitchFamily="50" charset="-128"/>
                  </a:endParaRPr>
                </a:p>
              </p:txBody>
            </p:sp>
          </p:grpSp>
          <p:sp>
            <p:nvSpPr>
              <p:cNvPr id="2197" name="Freeform 8"/>
              <p:cNvSpPr>
                <a:spLocks/>
              </p:cNvSpPr>
              <p:nvPr/>
            </p:nvSpPr>
            <p:spPr bwMode="auto">
              <a:xfrm>
                <a:off x="2298701" y="3475038"/>
                <a:ext cx="755650" cy="644525"/>
              </a:xfrm>
              <a:custGeom>
                <a:avLst/>
                <a:gdLst>
                  <a:gd name="T0" fmla="*/ 2147483646 w 952"/>
                  <a:gd name="T1" fmla="*/ 2147483646 h 812"/>
                  <a:gd name="T2" fmla="*/ 2147483646 w 952"/>
                  <a:gd name="T3" fmla="*/ 2147483646 h 812"/>
                  <a:gd name="T4" fmla="*/ 2147483646 w 952"/>
                  <a:gd name="T5" fmla="*/ 2147483646 h 812"/>
                  <a:gd name="T6" fmla="*/ 2147483646 w 952"/>
                  <a:gd name="T7" fmla="*/ 2147483646 h 812"/>
                  <a:gd name="T8" fmla="*/ 2147483646 w 952"/>
                  <a:gd name="T9" fmla="*/ 2147483646 h 812"/>
                  <a:gd name="T10" fmla="*/ 2147483646 w 952"/>
                  <a:gd name="T11" fmla="*/ 2147483646 h 812"/>
                  <a:gd name="T12" fmla="*/ 2147483646 w 952"/>
                  <a:gd name="T13" fmla="*/ 2147483646 h 812"/>
                  <a:gd name="T14" fmla="*/ 2147483646 w 952"/>
                  <a:gd name="T15" fmla="*/ 2147483646 h 812"/>
                  <a:gd name="T16" fmla="*/ 2147483646 w 952"/>
                  <a:gd name="T17" fmla="*/ 2147483646 h 812"/>
                  <a:gd name="T18" fmla="*/ 2147483646 w 952"/>
                  <a:gd name="T19" fmla="*/ 2147483646 h 812"/>
                  <a:gd name="T20" fmla="*/ 2147483646 w 952"/>
                  <a:gd name="T21" fmla="*/ 2147483646 h 812"/>
                  <a:gd name="T22" fmla="*/ 2147483646 w 952"/>
                  <a:gd name="T23" fmla="*/ 2147483646 h 812"/>
                  <a:gd name="T24" fmla="*/ 2147483646 w 952"/>
                  <a:gd name="T25" fmla="*/ 2147483646 h 812"/>
                  <a:gd name="T26" fmla="*/ 2147483646 w 952"/>
                  <a:gd name="T27" fmla="*/ 2147483646 h 812"/>
                  <a:gd name="T28" fmla="*/ 2147483646 w 952"/>
                  <a:gd name="T29" fmla="*/ 2147483646 h 812"/>
                  <a:gd name="T30" fmla="*/ 2147483646 w 952"/>
                  <a:gd name="T31" fmla="*/ 2147483646 h 812"/>
                  <a:gd name="T32" fmla="*/ 2147483646 w 952"/>
                  <a:gd name="T33" fmla="*/ 2147483646 h 812"/>
                  <a:gd name="T34" fmla="*/ 2147483646 w 952"/>
                  <a:gd name="T35" fmla="*/ 2147483646 h 812"/>
                  <a:gd name="T36" fmla="*/ 2147483646 w 952"/>
                  <a:gd name="T37" fmla="*/ 2147483646 h 812"/>
                  <a:gd name="T38" fmla="*/ 2147483646 w 952"/>
                  <a:gd name="T39" fmla="*/ 2147483646 h 812"/>
                  <a:gd name="T40" fmla="*/ 2147483646 w 952"/>
                  <a:gd name="T41" fmla="*/ 2147483646 h 812"/>
                  <a:gd name="T42" fmla="*/ 2147483646 w 952"/>
                  <a:gd name="T43" fmla="*/ 2147483646 h 812"/>
                  <a:gd name="T44" fmla="*/ 2147483646 w 952"/>
                  <a:gd name="T45" fmla="*/ 2147483646 h 812"/>
                  <a:gd name="T46" fmla="*/ 2147483646 w 952"/>
                  <a:gd name="T47" fmla="*/ 2147483646 h 812"/>
                  <a:gd name="T48" fmla="*/ 2147483646 w 952"/>
                  <a:gd name="T49" fmla="*/ 2147483646 h 812"/>
                  <a:gd name="T50" fmla="*/ 2147483646 w 952"/>
                  <a:gd name="T51" fmla="*/ 2147483646 h 812"/>
                  <a:gd name="T52" fmla="*/ 2147483646 w 952"/>
                  <a:gd name="T53" fmla="*/ 2147483646 h 812"/>
                  <a:gd name="T54" fmla="*/ 2147483646 w 952"/>
                  <a:gd name="T55" fmla="*/ 2147483646 h 812"/>
                  <a:gd name="T56" fmla="*/ 2147483646 w 952"/>
                  <a:gd name="T57" fmla="*/ 2147483646 h 812"/>
                  <a:gd name="T58" fmla="*/ 2147483646 w 952"/>
                  <a:gd name="T59" fmla="*/ 2147483646 h 812"/>
                  <a:gd name="T60" fmla="*/ 2147483646 w 952"/>
                  <a:gd name="T61" fmla="*/ 2147483646 h 812"/>
                  <a:gd name="T62" fmla="*/ 2147483646 w 952"/>
                  <a:gd name="T63" fmla="*/ 2147483646 h 812"/>
                  <a:gd name="T64" fmla="*/ 2147483646 w 952"/>
                  <a:gd name="T65" fmla="*/ 2147483646 h 812"/>
                  <a:gd name="T66" fmla="*/ 2147483646 w 952"/>
                  <a:gd name="T67" fmla="*/ 2147483646 h 812"/>
                  <a:gd name="T68" fmla="*/ 2147483646 w 952"/>
                  <a:gd name="T69" fmla="*/ 2147483646 h 812"/>
                  <a:gd name="T70" fmla="*/ 2147483646 w 952"/>
                  <a:gd name="T71" fmla="*/ 2147483646 h 812"/>
                  <a:gd name="T72" fmla="*/ 2147483646 w 952"/>
                  <a:gd name="T73" fmla="*/ 2147483646 h 812"/>
                  <a:gd name="T74" fmla="*/ 2147483646 w 952"/>
                  <a:gd name="T75" fmla="*/ 2147483646 h 812"/>
                  <a:gd name="T76" fmla="*/ 2147483646 w 952"/>
                  <a:gd name="T77" fmla="*/ 2147483646 h 812"/>
                  <a:gd name="T78" fmla="*/ 2147483646 w 952"/>
                  <a:gd name="T79" fmla="*/ 2147483646 h 812"/>
                  <a:gd name="T80" fmla="*/ 2147483646 w 952"/>
                  <a:gd name="T81" fmla="*/ 2147483646 h 812"/>
                  <a:gd name="T82" fmla="*/ 2147483646 w 952"/>
                  <a:gd name="T83" fmla="*/ 2147483646 h 812"/>
                  <a:gd name="T84" fmla="*/ 2147483646 w 952"/>
                  <a:gd name="T85" fmla="*/ 2147483646 h 812"/>
                  <a:gd name="T86" fmla="*/ 2147483646 w 952"/>
                  <a:gd name="T87" fmla="*/ 2147483646 h 812"/>
                  <a:gd name="T88" fmla="*/ 2147483646 w 952"/>
                  <a:gd name="T89" fmla="*/ 2147483646 h 812"/>
                  <a:gd name="T90" fmla="*/ 2147483646 w 952"/>
                  <a:gd name="T91" fmla="*/ 2147483646 h 812"/>
                  <a:gd name="T92" fmla="*/ 2147483646 w 952"/>
                  <a:gd name="T93" fmla="*/ 2147483646 h 812"/>
                  <a:gd name="T94" fmla="*/ 2147483646 w 952"/>
                  <a:gd name="T95" fmla="*/ 2147483646 h 812"/>
                  <a:gd name="T96" fmla="*/ 2147483646 w 952"/>
                  <a:gd name="T97" fmla="*/ 2147483646 h 812"/>
                  <a:gd name="T98" fmla="*/ 2147483646 w 952"/>
                  <a:gd name="T99" fmla="*/ 2147483646 h 812"/>
                  <a:gd name="T100" fmla="*/ 2147483646 w 952"/>
                  <a:gd name="T101" fmla="*/ 2147483646 h 812"/>
                  <a:gd name="T102" fmla="*/ 2147483646 w 952"/>
                  <a:gd name="T103" fmla="*/ 2147483646 h 812"/>
                  <a:gd name="T104" fmla="*/ 2147483646 w 952"/>
                  <a:gd name="T105" fmla="*/ 2147483646 h 812"/>
                  <a:gd name="T106" fmla="*/ 2147483646 w 952"/>
                  <a:gd name="T107" fmla="*/ 2147483646 h 812"/>
                  <a:gd name="T108" fmla="*/ 2147483646 w 952"/>
                  <a:gd name="T109" fmla="*/ 2147483646 h 812"/>
                  <a:gd name="T110" fmla="*/ 2147483646 w 952"/>
                  <a:gd name="T111" fmla="*/ 2147483646 h 812"/>
                  <a:gd name="T112" fmla="*/ 2147483646 w 952"/>
                  <a:gd name="T113" fmla="*/ 2147483646 h 812"/>
                  <a:gd name="T114" fmla="*/ 2147483646 w 952"/>
                  <a:gd name="T115" fmla="*/ 2147483646 h 812"/>
                  <a:gd name="T116" fmla="*/ 2147483646 w 952"/>
                  <a:gd name="T117" fmla="*/ 2147483646 h 812"/>
                  <a:gd name="T118" fmla="*/ 2147483646 w 952"/>
                  <a:gd name="T119" fmla="*/ 2147483646 h 812"/>
                  <a:gd name="T120" fmla="*/ 2147483646 w 952"/>
                  <a:gd name="T121" fmla="*/ 2147483646 h 81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2"/>
                  <a:gd name="T184" fmla="*/ 0 h 812"/>
                  <a:gd name="T185" fmla="*/ 952 w 952"/>
                  <a:gd name="T186" fmla="*/ 812 h 81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2" h="812">
                    <a:moveTo>
                      <a:pt x="382" y="509"/>
                    </a:moveTo>
                    <a:lnTo>
                      <a:pt x="382" y="508"/>
                    </a:lnTo>
                    <a:lnTo>
                      <a:pt x="382" y="504"/>
                    </a:lnTo>
                    <a:lnTo>
                      <a:pt x="382" y="500"/>
                    </a:lnTo>
                    <a:lnTo>
                      <a:pt x="382" y="496"/>
                    </a:lnTo>
                    <a:lnTo>
                      <a:pt x="382" y="490"/>
                    </a:lnTo>
                    <a:lnTo>
                      <a:pt x="382" y="483"/>
                    </a:lnTo>
                    <a:lnTo>
                      <a:pt x="384" y="477"/>
                    </a:lnTo>
                    <a:lnTo>
                      <a:pt x="384" y="471"/>
                    </a:lnTo>
                    <a:lnTo>
                      <a:pt x="384" y="468"/>
                    </a:lnTo>
                    <a:lnTo>
                      <a:pt x="384" y="464"/>
                    </a:lnTo>
                    <a:lnTo>
                      <a:pt x="384" y="460"/>
                    </a:lnTo>
                    <a:lnTo>
                      <a:pt x="384" y="454"/>
                    </a:lnTo>
                    <a:lnTo>
                      <a:pt x="384" y="450"/>
                    </a:lnTo>
                    <a:lnTo>
                      <a:pt x="384" y="447"/>
                    </a:lnTo>
                    <a:lnTo>
                      <a:pt x="384" y="441"/>
                    </a:lnTo>
                    <a:lnTo>
                      <a:pt x="384" y="435"/>
                    </a:lnTo>
                    <a:lnTo>
                      <a:pt x="384" y="430"/>
                    </a:lnTo>
                    <a:lnTo>
                      <a:pt x="384" y="424"/>
                    </a:lnTo>
                    <a:lnTo>
                      <a:pt x="384" y="420"/>
                    </a:lnTo>
                    <a:lnTo>
                      <a:pt x="384" y="414"/>
                    </a:lnTo>
                    <a:lnTo>
                      <a:pt x="384" y="409"/>
                    </a:lnTo>
                    <a:lnTo>
                      <a:pt x="384" y="403"/>
                    </a:lnTo>
                    <a:lnTo>
                      <a:pt x="384" y="397"/>
                    </a:lnTo>
                    <a:lnTo>
                      <a:pt x="384" y="390"/>
                    </a:lnTo>
                    <a:lnTo>
                      <a:pt x="384" y="384"/>
                    </a:lnTo>
                    <a:lnTo>
                      <a:pt x="382" y="378"/>
                    </a:lnTo>
                    <a:lnTo>
                      <a:pt x="382" y="373"/>
                    </a:lnTo>
                    <a:lnTo>
                      <a:pt x="382" y="365"/>
                    </a:lnTo>
                    <a:lnTo>
                      <a:pt x="382" y="359"/>
                    </a:lnTo>
                    <a:lnTo>
                      <a:pt x="382" y="354"/>
                    </a:lnTo>
                    <a:lnTo>
                      <a:pt x="382" y="348"/>
                    </a:lnTo>
                    <a:lnTo>
                      <a:pt x="380" y="340"/>
                    </a:lnTo>
                    <a:lnTo>
                      <a:pt x="380" y="333"/>
                    </a:lnTo>
                    <a:lnTo>
                      <a:pt x="378" y="327"/>
                    </a:lnTo>
                    <a:lnTo>
                      <a:pt x="378" y="321"/>
                    </a:lnTo>
                    <a:lnTo>
                      <a:pt x="378" y="314"/>
                    </a:lnTo>
                    <a:lnTo>
                      <a:pt x="378" y="308"/>
                    </a:lnTo>
                    <a:lnTo>
                      <a:pt x="376" y="300"/>
                    </a:lnTo>
                    <a:lnTo>
                      <a:pt x="376" y="295"/>
                    </a:lnTo>
                    <a:lnTo>
                      <a:pt x="374" y="289"/>
                    </a:lnTo>
                    <a:lnTo>
                      <a:pt x="374" y="281"/>
                    </a:lnTo>
                    <a:lnTo>
                      <a:pt x="373" y="276"/>
                    </a:lnTo>
                    <a:lnTo>
                      <a:pt x="373" y="270"/>
                    </a:lnTo>
                    <a:lnTo>
                      <a:pt x="371" y="262"/>
                    </a:lnTo>
                    <a:lnTo>
                      <a:pt x="369" y="257"/>
                    </a:lnTo>
                    <a:lnTo>
                      <a:pt x="369" y="251"/>
                    </a:lnTo>
                    <a:lnTo>
                      <a:pt x="367" y="243"/>
                    </a:lnTo>
                    <a:lnTo>
                      <a:pt x="365" y="238"/>
                    </a:lnTo>
                    <a:lnTo>
                      <a:pt x="365" y="232"/>
                    </a:lnTo>
                    <a:lnTo>
                      <a:pt x="363" y="226"/>
                    </a:lnTo>
                    <a:lnTo>
                      <a:pt x="361" y="220"/>
                    </a:lnTo>
                    <a:lnTo>
                      <a:pt x="359" y="215"/>
                    </a:lnTo>
                    <a:lnTo>
                      <a:pt x="357" y="209"/>
                    </a:lnTo>
                    <a:lnTo>
                      <a:pt x="357" y="203"/>
                    </a:lnTo>
                    <a:lnTo>
                      <a:pt x="355" y="200"/>
                    </a:lnTo>
                    <a:lnTo>
                      <a:pt x="352" y="192"/>
                    </a:lnTo>
                    <a:lnTo>
                      <a:pt x="350" y="188"/>
                    </a:lnTo>
                    <a:lnTo>
                      <a:pt x="348" y="182"/>
                    </a:lnTo>
                    <a:lnTo>
                      <a:pt x="346" y="177"/>
                    </a:lnTo>
                    <a:lnTo>
                      <a:pt x="344" y="173"/>
                    </a:lnTo>
                    <a:lnTo>
                      <a:pt x="342" y="167"/>
                    </a:lnTo>
                    <a:lnTo>
                      <a:pt x="338" y="162"/>
                    </a:lnTo>
                    <a:lnTo>
                      <a:pt x="336" y="158"/>
                    </a:lnTo>
                    <a:lnTo>
                      <a:pt x="335" y="152"/>
                    </a:lnTo>
                    <a:lnTo>
                      <a:pt x="331" y="146"/>
                    </a:lnTo>
                    <a:lnTo>
                      <a:pt x="329" y="143"/>
                    </a:lnTo>
                    <a:lnTo>
                      <a:pt x="327" y="137"/>
                    </a:lnTo>
                    <a:lnTo>
                      <a:pt x="323" y="133"/>
                    </a:lnTo>
                    <a:lnTo>
                      <a:pt x="321" y="127"/>
                    </a:lnTo>
                    <a:lnTo>
                      <a:pt x="317" y="124"/>
                    </a:lnTo>
                    <a:lnTo>
                      <a:pt x="316" y="118"/>
                    </a:lnTo>
                    <a:lnTo>
                      <a:pt x="312" y="114"/>
                    </a:lnTo>
                    <a:lnTo>
                      <a:pt x="308" y="108"/>
                    </a:lnTo>
                    <a:lnTo>
                      <a:pt x="304" y="105"/>
                    </a:lnTo>
                    <a:lnTo>
                      <a:pt x="302" y="101"/>
                    </a:lnTo>
                    <a:lnTo>
                      <a:pt x="298" y="95"/>
                    </a:lnTo>
                    <a:lnTo>
                      <a:pt x="295" y="91"/>
                    </a:lnTo>
                    <a:lnTo>
                      <a:pt x="291" y="87"/>
                    </a:lnTo>
                    <a:lnTo>
                      <a:pt x="289" y="84"/>
                    </a:lnTo>
                    <a:lnTo>
                      <a:pt x="283" y="80"/>
                    </a:lnTo>
                    <a:lnTo>
                      <a:pt x="281" y="74"/>
                    </a:lnTo>
                    <a:lnTo>
                      <a:pt x="276" y="70"/>
                    </a:lnTo>
                    <a:lnTo>
                      <a:pt x="274" y="66"/>
                    </a:lnTo>
                    <a:lnTo>
                      <a:pt x="268" y="63"/>
                    </a:lnTo>
                    <a:lnTo>
                      <a:pt x="264" y="59"/>
                    </a:lnTo>
                    <a:lnTo>
                      <a:pt x="260" y="57"/>
                    </a:lnTo>
                    <a:lnTo>
                      <a:pt x="257" y="53"/>
                    </a:lnTo>
                    <a:lnTo>
                      <a:pt x="253" y="49"/>
                    </a:lnTo>
                    <a:lnTo>
                      <a:pt x="249" y="46"/>
                    </a:lnTo>
                    <a:lnTo>
                      <a:pt x="243" y="42"/>
                    </a:lnTo>
                    <a:lnTo>
                      <a:pt x="240" y="40"/>
                    </a:lnTo>
                    <a:lnTo>
                      <a:pt x="236" y="36"/>
                    </a:lnTo>
                    <a:lnTo>
                      <a:pt x="232" y="34"/>
                    </a:lnTo>
                    <a:lnTo>
                      <a:pt x="226" y="30"/>
                    </a:lnTo>
                    <a:lnTo>
                      <a:pt x="222" y="28"/>
                    </a:lnTo>
                    <a:lnTo>
                      <a:pt x="217" y="27"/>
                    </a:lnTo>
                    <a:lnTo>
                      <a:pt x="213" y="23"/>
                    </a:lnTo>
                    <a:lnTo>
                      <a:pt x="207" y="21"/>
                    </a:lnTo>
                    <a:lnTo>
                      <a:pt x="203" y="19"/>
                    </a:lnTo>
                    <a:lnTo>
                      <a:pt x="198" y="17"/>
                    </a:lnTo>
                    <a:lnTo>
                      <a:pt x="194" y="15"/>
                    </a:lnTo>
                    <a:lnTo>
                      <a:pt x="188" y="13"/>
                    </a:lnTo>
                    <a:lnTo>
                      <a:pt x="184" y="13"/>
                    </a:lnTo>
                    <a:lnTo>
                      <a:pt x="179" y="9"/>
                    </a:lnTo>
                    <a:lnTo>
                      <a:pt x="175" y="9"/>
                    </a:lnTo>
                    <a:lnTo>
                      <a:pt x="169" y="8"/>
                    </a:lnTo>
                    <a:lnTo>
                      <a:pt x="164" y="8"/>
                    </a:lnTo>
                    <a:lnTo>
                      <a:pt x="158" y="6"/>
                    </a:lnTo>
                    <a:lnTo>
                      <a:pt x="154" y="6"/>
                    </a:lnTo>
                    <a:lnTo>
                      <a:pt x="148" y="4"/>
                    </a:lnTo>
                    <a:lnTo>
                      <a:pt x="145" y="4"/>
                    </a:lnTo>
                    <a:lnTo>
                      <a:pt x="139" y="4"/>
                    </a:lnTo>
                    <a:lnTo>
                      <a:pt x="133" y="4"/>
                    </a:lnTo>
                    <a:lnTo>
                      <a:pt x="127" y="4"/>
                    </a:lnTo>
                    <a:lnTo>
                      <a:pt x="124" y="4"/>
                    </a:lnTo>
                    <a:lnTo>
                      <a:pt x="118" y="4"/>
                    </a:lnTo>
                    <a:lnTo>
                      <a:pt x="112" y="4"/>
                    </a:lnTo>
                    <a:lnTo>
                      <a:pt x="107" y="6"/>
                    </a:lnTo>
                    <a:lnTo>
                      <a:pt x="103" y="6"/>
                    </a:lnTo>
                    <a:lnTo>
                      <a:pt x="99" y="6"/>
                    </a:lnTo>
                    <a:lnTo>
                      <a:pt x="95" y="8"/>
                    </a:lnTo>
                    <a:lnTo>
                      <a:pt x="91" y="8"/>
                    </a:lnTo>
                    <a:lnTo>
                      <a:pt x="88" y="8"/>
                    </a:lnTo>
                    <a:lnTo>
                      <a:pt x="80" y="9"/>
                    </a:lnTo>
                    <a:lnTo>
                      <a:pt x="72" y="13"/>
                    </a:lnTo>
                    <a:lnTo>
                      <a:pt x="65" y="15"/>
                    </a:lnTo>
                    <a:lnTo>
                      <a:pt x="59" y="19"/>
                    </a:lnTo>
                    <a:lnTo>
                      <a:pt x="51" y="23"/>
                    </a:lnTo>
                    <a:lnTo>
                      <a:pt x="46" y="27"/>
                    </a:lnTo>
                    <a:lnTo>
                      <a:pt x="38" y="30"/>
                    </a:lnTo>
                    <a:lnTo>
                      <a:pt x="32" y="34"/>
                    </a:lnTo>
                    <a:lnTo>
                      <a:pt x="27" y="40"/>
                    </a:lnTo>
                    <a:lnTo>
                      <a:pt x="23" y="47"/>
                    </a:lnTo>
                    <a:lnTo>
                      <a:pt x="19" y="49"/>
                    </a:lnTo>
                    <a:lnTo>
                      <a:pt x="17" y="53"/>
                    </a:lnTo>
                    <a:lnTo>
                      <a:pt x="15" y="57"/>
                    </a:lnTo>
                    <a:lnTo>
                      <a:pt x="13" y="61"/>
                    </a:lnTo>
                    <a:lnTo>
                      <a:pt x="12" y="65"/>
                    </a:lnTo>
                    <a:lnTo>
                      <a:pt x="12" y="68"/>
                    </a:lnTo>
                    <a:lnTo>
                      <a:pt x="10" y="72"/>
                    </a:lnTo>
                    <a:lnTo>
                      <a:pt x="10" y="78"/>
                    </a:lnTo>
                    <a:lnTo>
                      <a:pt x="8" y="84"/>
                    </a:lnTo>
                    <a:lnTo>
                      <a:pt x="8" y="89"/>
                    </a:lnTo>
                    <a:lnTo>
                      <a:pt x="8" y="95"/>
                    </a:lnTo>
                    <a:lnTo>
                      <a:pt x="8" y="101"/>
                    </a:lnTo>
                    <a:lnTo>
                      <a:pt x="8" y="105"/>
                    </a:lnTo>
                    <a:lnTo>
                      <a:pt x="10" y="110"/>
                    </a:lnTo>
                    <a:lnTo>
                      <a:pt x="10" y="114"/>
                    </a:lnTo>
                    <a:lnTo>
                      <a:pt x="12" y="118"/>
                    </a:lnTo>
                    <a:lnTo>
                      <a:pt x="13" y="125"/>
                    </a:lnTo>
                    <a:lnTo>
                      <a:pt x="19" y="131"/>
                    </a:lnTo>
                    <a:lnTo>
                      <a:pt x="23" y="137"/>
                    </a:lnTo>
                    <a:lnTo>
                      <a:pt x="27" y="141"/>
                    </a:lnTo>
                    <a:lnTo>
                      <a:pt x="31" y="144"/>
                    </a:lnTo>
                    <a:lnTo>
                      <a:pt x="36" y="146"/>
                    </a:lnTo>
                    <a:lnTo>
                      <a:pt x="40" y="148"/>
                    </a:lnTo>
                    <a:lnTo>
                      <a:pt x="44" y="150"/>
                    </a:lnTo>
                    <a:lnTo>
                      <a:pt x="48" y="152"/>
                    </a:lnTo>
                    <a:lnTo>
                      <a:pt x="51" y="152"/>
                    </a:lnTo>
                    <a:lnTo>
                      <a:pt x="53" y="154"/>
                    </a:lnTo>
                    <a:lnTo>
                      <a:pt x="51" y="150"/>
                    </a:lnTo>
                    <a:lnTo>
                      <a:pt x="51" y="144"/>
                    </a:lnTo>
                    <a:lnTo>
                      <a:pt x="50" y="141"/>
                    </a:lnTo>
                    <a:lnTo>
                      <a:pt x="48" y="137"/>
                    </a:lnTo>
                    <a:lnTo>
                      <a:pt x="48" y="131"/>
                    </a:lnTo>
                    <a:lnTo>
                      <a:pt x="46" y="125"/>
                    </a:lnTo>
                    <a:lnTo>
                      <a:pt x="46" y="120"/>
                    </a:lnTo>
                    <a:lnTo>
                      <a:pt x="44" y="114"/>
                    </a:lnTo>
                    <a:lnTo>
                      <a:pt x="44" y="108"/>
                    </a:lnTo>
                    <a:lnTo>
                      <a:pt x="46" y="103"/>
                    </a:lnTo>
                    <a:lnTo>
                      <a:pt x="46" y="97"/>
                    </a:lnTo>
                    <a:lnTo>
                      <a:pt x="46" y="91"/>
                    </a:lnTo>
                    <a:lnTo>
                      <a:pt x="48" y="85"/>
                    </a:lnTo>
                    <a:lnTo>
                      <a:pt x="51" y="82"/>
                    </a:lnTo>
                    <a:lnTo>
                      <a:pt x="53" y="78"/>
                    </a:lnTo>
                    <a:lnTo>
                      <a:pt x="55" y="74"/>
                    </a:lnTo>
                    <a:lnTo>
                      <a:pt x="57" y="68"/>
                    </a:lnTo>
                    <a:lnTo>
                      <a:pt x="59" y="65"/>
                    </a:lnTo>
                    <a:lnTo>
                      <a:pt x="61" y="61"/>
                    </a:lnTo>
                    <a:lnTo>
                      <a:pt x="65" y="59"/>
                    </a:lnTo>
                    <a:lnTo>
                      <a:pt x="69" y="55"/>
                    </a:lnTo>
                    <a:lnTo>
                      <a:pt x="72" y="53"/>
                    </a:lnTo>
                    <a:lnTo>
                      <a:pt x="78" y="49"/>
                    </a:lnTo>
                    <a:lnTo>
                      <a:pt x="84" y="47"/>
                    </a:lnTo>
                    <a:lnTo>
                      <a:pt x="88" y="47"/>
                    </a:lnTo>
                    <a:lnTo>
                      <a:pt x="91" y="46"/>
                    </a:lnTo>
                    <a:lnTo>
                      <a:pt x="95" y="46"/>
                    </a:lnTo>
                    <a:lnTo>
                      <a:pt x="99" y="46"/>
                    </a:lnTo>
                    <a:lnTo>
                      <a:pt x="105" y="46"/>
                    </a:lnTo>
                    <a:lnTo>
                      <a:pt x="108" y="44"/>
                    </a:lnTo>
                    <a:lnTo>
                      <a:pt x="114" y="44"/>
                    </a:lnTo>
                    <a:lnTo>
                      <a:pt x="120" y="46"/>
                    </a:lnTo>
                    <a:lnTo>
                      <a:pt x="127" y="46"/>
                    </a:lnTo>
                    <a:lnTo>
                      <a:pt x="133" y="46"/>
                    </a:lnTo>
                    <a:lnTo>
                      <a:pt x="137" y="46"/>
                    </a:lnTo>
                    <a:lnTo>
                      <a:pt x="141" y="47"/>
                    </a:lnTo>
                    <a:lnTo>
                      <a:pt x="145" y="47"/>
                    </a:lnTo>
                    <a:lnTo>
                      <a:pt x="148" y="47"/>
                    </a:lnTo>
                    <a:lnTo>
                      <a:pt x="152" y="47"/>
                    </a:lnTo>
                    <a:lnTo>
                      <a:pt x="156" y="49"/>
                    </a:lnTo>
                    <a:lnTo>
                      <a:pt x="160" y="49"/>
                    </a:lnTo>
                    <a:lnTo>
                      <a:pt x="165" y="51"/>
                    </a:lnTo>
                    <a:lnTo>
                      <a:pt x="169" y="53"/>
                    </a:lnTo>
                    <a:lnTo>
                      <a:pt x="175" y="55"/>
                    </a:lnTo>
                    <a:lnTo>
                      <a:pt x="181" y="57"/>
                    </a:lnTo>
                    <a:lnTo>
                      <a:pt x="186" y="61"/>
                    </a:lnTo>
                    <a:lnTo>
                      <a:pt x="192" y="63"/>
                    </a:lnTo>
                    <a:lnTo>
                      <a:pt x="198" y="66"/>
                    </a:lnTo>
                    <a:lnTo>
                      <a:pt x="203" y="70"/>
                    </a:lnTo>
                    <a:lnTo>
                      <a:pt x="209" y="74"/>
                    </a:lnTo>
                    <a:lnTo>
                      <a:pt x="217" y="78"/>
                    </a:lnTo>
                    <a:lnTo>
                      <a:pt x="222" y="84"/>
                    </a:lnTo>
                    <a:lnTo>
                      <a:pt x="230" y="87"/>
                    </a:lnTo>
                    <a:lnTo>
                      <a:pt x="236" y="93"/>
                    </a:lnTo>
                    <a:lnTo>
                      <a:pt x="241" y="99"/>
                    </a:lnTo>
                    <a:lnTo>
                      <a:pt x="247" y="105"/>
                    </a:lnTo>
                    <a:lnTo>
                      <a:pt x="255" y="112"/>
                    </a:lnTo>
                    <a:lnTo>
                      <a:pt x="260" y="118"/>
                    </a:lnTo>
                    <a:lnTo>
                      <a:pt x="266" y="124"/>
                    </a:lnTo>
                    <a:lnTo>
                      <a:pt x="272" y="131"/>
                    </a:lnTo>
                    <a:lnTo>
                      <a:pt x="274" y="137"/>
                    </a:lnTo>
                    <a:lnTo>
                      <a:pt x="276" y="141"/>
                    </a:lnTo>
                    <a:lnTo>
                      <a:pt x="278" y="144"/>
                    </a:lnTo>
                    <a:lnTo>
                      <a:pt x="281" y="148"/>
                    </a:lnTo>
                    <a:lnTo>
                      <a:pt x="283" y="152"/>
                    </a:lnTo>
                    <a:lnTo>
                      <a:pt x="285" y="156"/>
                    </a:lnTo>
                    <a:lnTo>
                      <a:pt x="287" y="162"/>
                    </a:lnTo>
                    <a:lnTo>
                      <a:pt x="289" y="165"/>
                    </a:lnTo>
                    <a:lnTo>
                      <a:pt x="291" y="169"/>
                    </a:lnTo>
                    <a:lnTo>
                      <a:pt x="293" y="175"/>
                    </a:lnTo>
                    <a:lnTo>
                      <a:pt x="297" y="179"/>
                    </a:lnTo>
                    <a:lnTo>
                      <a:pt x="298" y="184"/>
                    </a:lnTo>
                    <a:lnTo>
                      <a:pt x="298" y="188"/>
                    </a:lnTo>
                    <a:lnTo>
                      <a:pt x="300" y="194"/>
                    </a:lnTo>
                    <a:lnTo>
                      <a:pt x="302" y="200"/>
                    </a:lnTo>
                    <a:lnTo>
                      <a:pt x="304" y="205"/>
                    </a:lnTo>
                    <a:lnTo>
                      <a:pt x="304" y="209"/>
                    </a:lnTo>
                    <a:lnTo>
                      <a:pt x="306" y="215"/>
                    </a:lnTo>
                    <a:lnTo>
                      <a:pt x="306" y="220"/>
                    </a:lnTo>
                    <a:lnTo>
                      <a:pt x="308" y="226"/>
                    </a:lnTo>
                    <a:lnTo>
                      <a:pt x="304" y="222"/>
                    </a:lnTo>
                    <a:lnTo>
                      <a:pt x="300" y="217"/>
                    </a:lnTo>
                    <a:lnTo>
                      <a:pt x="298" y="213"/>
                    </a:lnTo>
                    <a:lnTo>
                      <a:pt x="295" y="209"/>
                    </a:lnTo>
                    <a:lnTo>
                      <a:pt x="291" y="205"/>
                    </a:lnTo>
                    <a:lnTo>
                      <a:pt x="287" y="201"/>
                    </a:lnTo>
                    <a:lnTo>
                      <a:pt x="283" y="198"/>
                    </a:lnTo>
                    <a:lnTo>
                      <a:pt x="279" y="194"/>
                    </a:lnTo>
                    <a:lnTo>
                      <a:pt x="274" y="190"/>
                    </a:lnTo>
                    <a:lnTo>
                      <a:pt x="270" y="184"/>
                    </a:lnTo>
                    <a:lnTo>
                      <a:pt x="266" y="182"/>
                    </a:lnTo>
                    <a:lnTo>
                      <a:pt x="260" y="179"/>
                    </a:lnTo>
                    <a:lnTo>
                      <a:pt x="257" y="175"/>
                    </a:lnTo>
                    <a:lnTo>
                      <a:pt x="251" y="173"/>
                    </a:lnTo>
                    <a:lnTo>
                      <a:pt x="247" y="169"/>
                    </a:lnTo>
                    <a:lnTo>
                      <a:pt x="241" y="167"/>
                    </a:lnTo>
                    <a:lnTo>
                      <a:pt x="236" y="163"/>
                    </a:lnTo>
                    <a:lnTo>
                      <a:pt x="230" y="162"/>
                    </a:lnTo>
                    <a:lnTo>
                      <a:pt x="224" y="158"/>
                    </a:lnTo>
                    <a:lnTo>
                      <a:pt x="221" y="156"/>
                    </a:lnTo>
                    <a:lnTo>
                      <a:pt x="213" y="154"/>
                    </a:lnTo>
                    <a:lnTo>
                      <a:pt x="207" y="150"/>
                    </a:lnTo>
                    <a:lnTo>
                      <a:pt x="202" y="148"/>
                    </a:lnTo>
                    <a:lnTo>
                      <a:pt x="198" y="148"/>
                    </a:lnTo>
                    <a:lnTo>
                      <a:pt x="190" y="146"/>
                    </a:lnTo>
                    <a:lnTo>
                      <a:pt x="184" y="144"/>
                    </a:lnTo>
                    <a:lnTo>
                      <a:pt x="179" y="143"/>
                    </a:lnTo>
                    <a:lnTo>
                      <a:pt x="173" y="141"/>
                    </a:lnTo>
                    <a:lnTo>
                      <a:pt x="167" y="139"/>
                    </a:lnTo>
                    <a:lnTo>
                      <a:pt x="162" y="139"/>
                    </a:lnTo>
                    <a:lnTo>
                      <a:pt x="154" y="137"/>
                    </a:lnTo>
                    <a:lnTo>
                      <a:pt x="148" y="137"/>
                    </a:lnTo>
                    <a:lnTo>
                      <a:pt x="150" y="139"/>
                    </a:lnTo>
                    <a:lnTo>
                      <a:pt x="156" y="144"/>
                    </a:lnTo>
                    <a:lnTo>
                      <a:pt x="160" y="146"/>
                    </a:lnTo>
                    <a:lnTo>
                      <a:pt x="164" y="150"/>
                    </a:lnTo>
                    <a:lnTo>
                      <a:pt x="169" y="156"/>
                    </a:lnTo>
                    <a:lnTo>
                      <a:pt x="175" y="162"/>
                    </a:lnTo>
                    <a:lnTo>
                      <a:pt x="179" y="165"/>
                    </a:lnTo>
                    <a:lnTo>
                      <a:pt x="184" y="171"/>
                    </a:lnTo>
                    <a:lnTo>
                      <a:pt x="190" y="177"/>
                    </a:lnTo>
                    <a:lnTo>
                      <a:pt x="196" y="184"/>
                    </a:lnTo>
                    <a:lnTo>
                      <a:pt x="200" y="190"/>
                    </a:lnTo>
                    <a:lnTo>
                      <a:pt x="203" y="196"/>
                    </a:lnTo>
                    <a:lnTo>
                      <a:pt x="207" y="203"/>
                    </a:lnTo>
                    <a:lnTo>
                      <a:pt x="211" y="209"/>
                    </a:lnTo>
                    <a:lnTo>
                      <a:pt x="209" y="209"/>
                    </a:lnTo>
                    <a:lnTo>
                      <a:pt x="207" y="205"/>
                    </a:lnTo>
                    <a:lnTo>
                      <a:pt x="203" y="203"/>
                    </a:lnTo>
                    <a:lnTo>
                      <a:pt x="202" y="201"/>
                    </a:lnTo>
                    <a:lnTo>
                      <a:pt x="198" y="200"/>
                    </a:lnTo>
                    <a:lnTo>
                      <a:pt x="194" y="198"/>
                    </a:lnTo>
                    <a:lnTo>
                      <a:pt x="188" y="196"/>
                    </a:lnTo>
                    <a:lnTo>
                      <a:pt x="183" y="194"/>
                    </a:lnTo>
                    <a:lnTo>
                      <a:pt x="179" y="192"/>
                    </a:lnTo>
                    <a:lnTo>
                      <a:pt x="175" y="192"/>
                    </a:lnTo>
                    <a:lnTo>
                      <a:pt x="171" y="190"/>
                    </a:lnTo>
                    <a:lnTo>
                      <a:pt x="167" y="190"/>
                    </a:lnTo>
                    <a:lnTo>
                      <a:pt x="164" y="190"/>
                    </a:lnTo>
                    <a:lnTo>
                      <a:pt x="160" y="188"/>
                    </a:lnTo>
                    <a:lnTo>
                      <a:pt x="154" y="188"/>
                    </a:lnTo>
                    <a:lnTo>
                      <a:pt x="150" y="188"/>
                    </a:lnTo>
                    <a:lnTo>
                      <a:pt x="145" y="188"/>
                    </a:lnTo>
                    <a:lnTo>
                      <a:pt x="139" y="188"/>
                    </a:lnTo>
                    <a:lnTo>
                      <a:pt x="133" y="190"/>
                    </a:lnTo>
                    <a:lnTo>
                      <a:pt x="127" y="190"/>
                    </a:lnTo>
                    <a:lnTo>
                      <a:pt x="120" y="190"/>
                    </a:lnTo>
                    <a:lnTo>
                      <a:pt x="114" y="190"/>
                    </a:lnTo>
                    <a:lnTo>
                      <a:pt x="107" y="192"/>
                    </a:lnTo>
                    <a:lnTo>
                      <a:pt x="103" y="192"/>
                    </a:lnTo>
                    <a:lnTo>
                      <a:pt x="95" y="194"/>
                    </a:lnTo>
                    <a:lnTo>
                      <a:pt x="89" y="196"/>
                    </a:lnTo>
                    <a:lnTo>
                      <a:pt x="84" y="198"/>
                    </a:lnTo>
                    <a:lnTo>
                      <a:pt x="80" y="200"/>
                    </a:lnTo>
                    <a:lnTo>
                      <a:pt x="74" y="201"/>
                    </a:lnTo>
                    <a:lnTo>
                      <a:pt x="70" y="203"/>
                    </a:lnTo>
                    <a:lnTo>
                      <a:pt x="65" y="207"/>
                    </a:lnTo>
                    <a:lnTo>
                      <a:pt x="61" y="209"/>
                    </a:lnTo>
                    <a:lnTo>
                      <a:pt x="55" y="213"/>
                    </a:lnTo>
                    <a:lnTo>
                      <a:pt x="51" y="217"/>
                    </a:lnTo>
                    <a:lnTo>
                      <a:pt x="48" y="220"/>
                    </a:lnTo>
                    <a:lnTo>
                      <a:pt x="46" y="224"/>
                    </a:lnTo>
                    <a:lnTo>
                      <a:pt x="40" y="228"/>
                    </a:lnTo>
                    <a:lnTo>
                      <a:pt x="36" y="232"/>
                    </a:lnTo>
                    <a:lnTo>
                      <a:pt x="32" y="236"/>
                    </a:lnTo>
                    <a:lnTo>
                      <a:pt x="31" y="239"/>
                    </a:lnTo>
                    <a:lnTo>
                      <a:pt x="27" y="243"/>
                    </a:lnTo>
                    <a:lnTo>
                      <a:pt x="25" y="249"/>
                    </a:lnTo>
                    <a:lnTo>
                      <a:pt x="23" y="253"/>
                    </a:lnTo>
                    <a:lnTo>
                      <a:pt x="21" y="258"/>
                    </a:lnTo>
                    <a:lnTo>
                      <a:pt x="17" y="262"/>
                    </a:lnTo>
                    <a:lnTo>
                      <a:pt x="15" y="268"/>
                    </a:lnTo>
                    <a:lnTo>
                      <a:pt x="13" y="272"/>
                    </a:lnTo>
                    <a:lnTo>
                      <a:pt x="12" y="277"/>
                    </a:lnTo>
                    <a:lnTo>
                      <a:pt x="10" y="283"/>
                    </a:lnTo>
                    <a:lnTo>
                      <a:pt x="8" y="289"/>
                    </a:lnTo>
                    <a:lnTo>
                      <a:pt x="6" y="295"/>
                    </a:lnTo>
                    <a:lnTo>
                      <a:pt x="6" y="300"/>
                    </a:lnTo>
                    <a:lnTo>
                      <a:pt x="4" y="304"/>
                    </a:lnTo>
                    <a:lnTo>
                      <a:pt x="4" y="310"/>
                    </a:lnTo>
                    <a:lnTo>
                      <a:pt x="2" y="314"/>
                    </a:lnTo>
                    <a:lnTo>
                      <a:pt x="2" y="319"/>
                    </a:lnTo>
                    <a:lnTo>
                      <a:pt x="2" y="323"/>
                    </a:lnTo>
                    <a:lnTo>
                      <a:pt x="2" y="327"/>
                    </a:lnTo>
                    <a:lnTo>
                      <a:pt x="2" y="331"/>
                    </a:lnTo>
                    <a:lnTo>
                      <a:pt x="2" y="336"/>
                    </a:lnTo>
                    <a:lnTo>
                      <a:pt x="0" y="340"/>
                    </a:lnTo>
                    <a:lnTo>
                      <a:pt x="0" y="344"/>
                    </a:lnTo>
                    <a:lnTo>
                      <a:pt x="0" y="348"/>
                    </a:lnTo>
                    <a:lnTo>
                      <a:pt x="2" y="350"/>
                    </a:lnTo>
                    <a:lnTo>
                      <a:pt x="2" y="357"/>
                    </a:lnTo>
                    <a:lnTo>
                      <a:pt x="4" y="363"/>
                    </a:lnTo>
                    <a:lnTo>
                      <a:pt x="4" y="367"/>
                    </a:lnTo>
                    <a:lnTo>
                      <a:pt x="6" y="373"/>
                    </a:lnTo>
                    <a:lnTo>
                      <a:pt x="6" y="374"/>
                    </a:lnTo>
                    <a:lnTo>
                      <a:pt x="8" y="378"/>
                    </a:lnTo>
                    <a:lnTo>
                      <a:pt x="8" y="382"/>
                    </a:lnTo>
                    <a:lnTo>
                      <a:pt x="10" y="384"/>
                    </a:lnTo>
                    <a:lnTo>
                      <a:pt x="10" y="382"/>
                    </a:lnTo>
                    <a:lnTo>
                      <a:pt x="10" y="380"/>
                    </a:lnTo>
                    <a:lnTo>
                      <a:pt x="8" y="373"/>
                    </a:lnTo>
                    <a:lnTo>
                      <a:pt x="8" y="367"/>
                    </a:lnTo>
                    <a:lnTo>
                      <a:pt x="8" y="363"/>
                    </a:lnTo>
                    <a:lnTo>
                      <a:pt x="8" y="357"/>
                    </a:lnTo>
                    <a:lnTo>
                      <a:pt x="8" y="354"/>
                    </a:lnTo>
                    <a:lnTo>
                      <a:pt x="10" y="348"/>
                    </a:lnTo>
                    <a:lnTo>
                      <a:pt x="10" y="342"/>
                    </a:lnTo>
                    <a:lnTo>
                      <a:pt x="10" y="338"/>
                    </a:lnTo>
                    <a:lnTo>
                      <a:pt x="12" y="333"/>
                    </a:lnTo>
                    <a:lnTo>
                      <a:pt x="12" y="327"/>
                    </a:lnTo>
                    <a:lnTo>
                      <a:pt x="13" y="321"/>
                    </a:lnTo>
                    <a:lnTo>
                      <a:pt x="13" y="314"/>
                    </a:lnTo>
                    <a:lnTo>
                      <a:pt x="15" y="308"/>
                    </a:lnTo>
                    <a:lnTo>
                      <a:pt x="19" y="302"/>
                    </a:lnTo>
                    <a:lnTo>
                      <a:pt x="21" y="297"/>
                    </a:lnTo>
                    <a:lnTo>
                      <a:pt x="23" y="289"/>
                    </a:lnTo>
                    <a:lnTo>
                      <a:pt x="25" y="283"/>
                    </a:lnTo>
                    <a:lnTo>
                      <a:pt x="29" y="277"/>
                    </a:lnTo>
                    <a:lnTo>
                      <a:pt x="32" y="272"/>
                    </a:lnTo>
                    <a:lnTo>
                      <a:pt x="36" y="266"/>
                    </a:lnTo>
                    <a:lnTo>
                      <a:pt x="40" y="260"/>
                    </a:lnTo>
                    <a:lnTo>
                      <a:pt x="46" y="255"/>
                    </a:lnTo>
                    <a:lnTo>
                      <a:pt x="51" y="249"/>
                    </a:lnTo>
                    <a:lnTo>
                      <a:pt x="57" y="243"/>
                    </a:lnTo>
                    <a:lnTo>
                      <a:pt x="63" y="239"/>
                    </a:lnTo>
                    <a:lnTo>
                      <a:pt x="70" y="236"/>
                    </a:lnTo>
                    <a:lnTo>
                      <a:pt x="76" y="232"/>
                    </a:lnTo>
                    <a:lnTo>
                      <a:pt x="84" y="228"/>
                    </a:lnTo>
                    <a:lnTo>
                      <a:pt x="89" y="224"/>
                    </a:lnTo>
                    <a:lnTo>
                      <a:pt x="97" y="222"/>
                    </a:lnTo>
                    <a:lnTo>
                      <a:pt x="103" y="220"/>
                    </a:lnTo>
                    <a:lnTo>
                      <a:pt x="108" y="219"/>
                    </a:lnTo>
                    <a:lnTo>
                      <a:pt x="116" y="217"/>
                    </a:lnTo>
                    <a:lnTo>
                      <a:pt x="122" y="215"/>
                    </a:lnTo>
                    <a:lnTo>
                      <a:pt x="127" y="215"/>
                    </a:lnTo>
                    <a:lnTo>
                      <a:pt x="131" y="213"/>
                    </a:lnTo>
                    <a:lnTo>
                      <a:pt x="137" y="213"/>
                    </a:lnTo>
                    <a:lnTo>
                      <a:pt x="143" y="213"/>
                    </a:lnTo>
                    <a:lnTo>
                      <a:pt x="148" y="213"/>
                    </a:lnTo>
                    <a:lnTo>
                      <a:pt x="152" y="213"/>
                    </a:lnTo>
                    <a:lnTo>
                      <a:pt x="156" y="213"/>
                    </a:lnTo>
                    <a:lnTo>
                      <a:pt x="162" y="215"/>
                    </a:lnTo>
                    <a:lnTo>
                      <a:pt x="165" y="215"/>
                    </a:lnTo>
                    <a:lnTo>
                      <a:pt x="169" y="215"/>
                    </a:lnTo>
                    <a:lnTo>
                      <a:pt x="173" y="215"/>
                    </a:lnTo>
                    <a:lnTo>
                      <a:pt x="175" y="217"/>
                    </a:lnTo>
                    <a:lnTo>
                      <a:pt x="183" y="219"/>
                    </a:lnTo>
                    <a:lnTo>
                      <a:pt x="188" y="220"/>
                    </a:lnTo>
                    <a:lnTo>
                      <a:pt x="190" y="222"/>
                    </a:lnTo>
                    <a:lnTo>
                      <a:pt x="194" y="224"/>
                    </a:lnTo>
                    <a:lnTo>
                      <a:pt x="196" y="224"/>
                    </a:lnTo>
                    <a:lnTo>
                      <a:pt x="198" y="226"/>
                    </a:lnTo>
                    <a:lnTo>
                      <a:pt x="196" y="224"/>
                    </a:lnTo>
                    <a:lnTo>
                      <a:pt x="192" y="224"/>
                    </a:lnTo>
                    <a:lnTo>
                      <a:pt x="188" y="224"/>
                    </a:lnTo>
                    <a:lnTo>
                      <a:pt x="184" y="226"/>
                    </a:lnTo>
                    <a:lnTo>
                      <a:pt x="181" y="226"/>
                    </a:lnTo>
                    <a:lnTo>
                      <a:pt x="177" y="228"/>
                    </a:lnTo>
                    <a:lnTo>
                      <a:pt x="173" y="230"/>
                    </a:lnTo>
                    <a:lnTo>
                      <a:pt x="167" y="232"/>
                    </a:lnTo>
                    <a:lnTo>
                      <a:pt x="162" y="236"/>
                    </a:lnTo>
                    <a:lnTo>
                      <a:pt x="156" y="239"/>
                    </a:lnTo>
                    <a:lnTo>
                      <a:pt x="148" y="245"/>
                    </a:lnTo>
                    <a:lnTo>
                      <a:pt x="141" y="251"/>
                    </a:lnTo>
                    <a:lnTo>
                      <a:pt x="137" y="255"/>
                    </a:lnTo>
                    <a:lnTo>
                      <a:pt x="133" y="258"/>
                    </a:lnTo>
                    <a:lnTo>
                      <a:pt x="131" y="262"/>
                    </a:lnTo>
                    <a:lnTo>
                      <a:pt x="127" y="266"/>
                    </a:lnTo>
                    <a:lnTo>
                      <a:pt x="164" y="268"/>
                    </a:lnTo>
                    <a:lnTo>
                      <a:pt x="160" y="268"/>
                    </a:lnTo>
                    <a:lnTo>
                      <a:pt x="156" y="270"/>
                    </a:lnTo>
                    <a:lnTo>
                      <a:pt x="150" y="272"/>
                    </a:lnTo>
                    <a:lnTo>
                      <a:pt x="145" y="276"/>
                    </a:lnTo>
                    <a:lnTo>
                      <a:pt x="139" y="277"/>
                    </a:lnTo>
                    <a:lnTo>
                      <a:pt x="133" y="281"/>
                    </a:lnTo>
                    <a:lnTo>
                      <a:pt x="127" y="285"/>
                    </a:lnTo>
                    <a:lnTo>
                      <a:pt x="124" y="291"/>
                    </a:lnTo>
                    <a:lnTo>
                      <a:pt x="118" y="295"/>
                    </a:lnTo>
                    <a:lnTo>
                      <a:pt x="114" y="300"/>
                    </a:lnTo>
                    <a:lnTo>
                      <a:pt x="108" y="308"/>
                    </a:lnTo>
                    <a:lnTo>
                      <a:pt x="107" y="316"/>
                    </a:lnTo>
                    <a:lnTo>
                      <a:pt x="103" y="321"/>
                    </a:lnTo>
                    <a:lnTo>
                      <a:pt x="101" y="329"/>
                    </a:lnTo>
                    <a:lnTo>
                      <a:pt x="99" y="335"/>
                    </a:lnTo>
                    <a:lnTo>
                      <a:pt x="99" y="342"/>
                    </a:lnTo>
                    <a:lnTo>
                      <a:pt x="99" y="348"/>
                    </a:lnTo>
                    <a:lnTo>
                      <a:pt x="101" y="354"/>
                    </a:lnTo>
                    <a:lnTo>
                      <a:pt x="103" y="357"/>
                    </a:lnTo>
                    <a:lnTo>
                      <a:pt x="105" y="363"/>
                    </a:lnTo>
                    <a:lnTo>
                      <a:pt x="107" y="367"/>
                    </a:lnTo>
                    <a:lnTo>
                      <a:pt x="110" y="373"/>
                    </a:lnTo>
                    <a:lnTo>
                      <a:pt x="114" y="374"/>
                    </a:lnTo>
                    <a:lnTo>
                      <a:pt x="120" y="378"/>
                    </a:lnTo>
                    <a:lnTo>
                      <a:pt x="124" y="382"/>
                    </a:lnTo>
                    <a:lnTo>
                      <a:pt x="127" y="384"/>
                    </a:lnTo>
                    <a:lnTo>
                      <a:pt x="131" y="386"/>
                    </a:lnTo>
                    <a:lnTo>
                      <a:pt x="137" y="390"/>
                    </a:lnTo>
                    <a:lnTo>
                      <a:pt x="135" y="388"/>
                    </a:lnTo>
                    <a:lnTo>
                      <a:pt x="131" y="382"/>
                    </a:lnTo>
                    <a:lnTo>
                      <a:pt x="129" y="378"/>
                    </a:lnTo>
                    <a:lnTo>
                      <a:pt x="127" y="374"/>
                    </a:lnTo>
                    <a:lnTo>
                      <a:pt x="126" y="369"/>
                    </a:lnTo>
                    <a:lnTo>
                      <a:pt x="124" y="365"/>
                    </a:lnTo>
                    <a:lnTo>
                      <a:pt x="122" y="357"/>
                    </a:lnTo>
                    <a:lnTo>
                      <a:pt x="120" y="352"/>
                    </a:lnTo>
                    <a:lnTo>
                      <a:pt x="118" y="344"/>
                    </a:lnTo>
                    <a:lnTo>
                      <a:pt x="120" y="338"/>
                    </a:lnTo>
                    <a:lnTo>
                      <a:pt x="120" y="333"/>
                    </a:lnTo>
                    <a:lnTo>
                      <a:pt x="120" y="331"/>
                    </a:lnTo>
                    <a:lnTo>
                      <a:pt x="120" y="325"/>
                    </a:lnTo>
                    <a:lnTo>
                      <a:pt x="120" y="323"/>
                    </a:lnTo>
                    <a:lnTo>
                      <a:pt x="122" y="319"/>
                    </a:lnTo>
                    <a:lnTo>
                      <a:pt x="122" y="316"/>
                    </a:lnTo>
                    <a:lnTo>
                      <a:pt x="124" y="312"/>
                    </a:lnTo>
                    <a:lnTo>
                      <a:pt x="127" y="308"/>
                    </a:lnTo>
                    <a:lnTo>
                      <a:pt x="129" y="304"/>
                    </a:lnTo>
                    <a:lnTo>
                      <a:pt x="131" y="298"/>
                    </a:lnTo>
                    <a:lnTo>
                      <a:pt x="135" y="297"/>
                    </a:lnTo>
                    <a:lnTo>
                      <a:pt x="139" y="293"/>
                    </a:lnTo>
                    <a:lnTo>
                      <a:pt x="143" y="291"/>
                    </a:lnTo>
                    <a:lnTo>
                      <a:pt x="146" y="287"/>
                    </a:lnTo>
                    <a:lnTo>
                      <a:pt x="150" y="285"/>
                    </a:lnTo>
                    <a:lnTo>
                      <a:pt x="156" y="283"/>
                    </a:lnTo>
                    <a:lnTo>
                      <a:pt x="160" y="281"/>
                    </a:lnTo>
                    <a:lnTo>
                      <a:pt x="164" y="281"/>
                    </a:lnTo>
                    <a:lnTo>
                      <a:pt x="169" y="279"/>
                    </a:lnTo>
                    <a:lnTo>
                      <a:pt x="175" y="279"/>
                    </a:lnTo>
                    <a:lnTo>
                      <a:pt x="179" y="279"/>
                    </a:lnTo>
                    <a:lnTo>
                      <a:pt x="184" y="279"/>
                    </a:lnTo>
                    <a:lnTo>
                      <a:pt x="190" y="279"/>
                    </a:lnTo>
                    <a:lnTo>
                      <a:pt x="196" y="279"/>
                    </a:lnTo>
                    <a:lnTo>
                      <a:pt x="202" y="279"/>
                    </a:lnTo>
                    <a:lnTo>
                      <a:pt x="207" y="281"/>
                    </a:lnTo>
                    <a:lnTo>
                      <a:pt x="211" y="281"/>
                    </a:lnTo>
                    <a:lnTo>
                      <a:pt x="217" y="283"/>
                    </a:lnTo>
                    <a:lnTo>
                      <a:pt x="222" y="283"/>
                    </a:lnTo>
                    <a:lnTo>
                      <a:pt x="226" y="287"/>
                    </a:lnTo>
                    <a:lnTo>
                      <a:pt x="232" y="289"/>
                    </a:lnTo>
                    <a:lnTo>
                      <a:pt x="238" y="291"/>
                    </a:lnTo>
                    <a:lnTo>
                      <a:pt x="241" y="293"/>
                    </a:lnTo>
                    <a:lnTo>
                      <a:pt x="245" y="295"/>
                    </a:lnTo>
                    <a:lnTo>
                      <a:pt x="249" y="297"/>
                    </a:lnTo>
                    <a:lnTo>
                      <a:pt x="255" y="300"/>
                    </a:lnTo>
                    <a:lnTo>
                      <a:pt x="257" y="302"/>
                    </a:lnTo>
                    <a:lnTo>
                      <a:pt x="260" y="306"/>
                    </a:lnTo>
                    <a:lnTo>
                      <a:pt x="264" y="310"/>
                    </a:lnTo>
                    <a:lnTo>
                      <a:pt x="268" y="314"/>
                    </a:lnTo>
                    <a:lnTo>
                      <a:pt x="270" y="317"/>
                    </a:lnTo>
                    <a:lnTo>
                      <a:pt x="272" y="321"/>
                    </a:lnTo>
                    <a:lnTo>
                      <a:pt x="276" y="325"/>
                    </a:lnTo>
                    <a:lnTo>
                      <a:pt x="278" y="329"/>
                    </a:lnTo>
                    <a:lnTo>
                      <a:pt x="279" y="333"/>
                    </a:lnTo>
                    <a:lnTo>
                      <a:pt x="283" y="336"/>
                    </a:lnTo>
                    <a:lnTo>
                      <a:pt x="285" y="340"/>
                    </a:lnTo>
                    <a:lnTo>
                      <a:pt x="289" y="346"/>
                    </a:lnTo>
                    <a:lnTo>
                      <a:pt x="291" y="350"/>
                    </a:lnTo>
                    <a:lnTo>
                      <a:pt x="293" y="355"/>
                    </a:lnTo>
                    <a:lnTo>
                      <a:pt x="297" y="359"/>
                    </a:lnTo>
                    <a:lnTo>
                      <a:pt x="298" y="365"/>
                    </a:lnTo>
                    <a:lnTo>
                      <a:pt x="300" y="369"/>
                    </a:lnTo>
                    <a:lnTo>
                      <a:pt x="304" y="374"/>
                    </a:lnTo>
                    <a:lnTo>
                      <a:pt x="306" y="380"/>
                    </a:lnTo>
                    <a:lnTo>
                      <a:pt x="310" y="384"/>
                    </a:lnTo>
                    <a:lnTo>
                      <a:pt x="312" y="390"/>
                    </a:lnTo>
                    <a:lnTo>
                      <a:pt x="314" y="395"/>
                    </a:lnTo>
                    <a:lnTo>
                      <a:pt x="316" y="399"/>
                    </a:lnTo>
                    <a:lnTo>
                      <a:pt x="317" y="405"/>
                    </a:lnTo>
                    <a:lnTo>
                      <a:pt x="319" y="409"/>
                    </a:lnTo>
                    <a:lnTo>
                      <a:pt x="321" y="414"/>
                    </a:lnTo>
                    <a:lnTo>
                      <a:pt x="323" y="420"/>
                    </a:lnTo>
                    <a:lnTo>
                      <a:pt x="325" y="424"/>
                    </a:lnTo>
                    <a:lnTo>
                      <a:pt x="327" y="430"/>
                    </a:lnTo>
                    <a:lnTo>
                      <a:pt x="329" y="433"/>
                    </a:lnTo>
                    <a:lnTo>
                      <a:pt x="331" y="439"/>
                    </a:lnTo>
                    <a:lnTo>
                      <a:pt x="333" y="443"/>
                    </a:lnTo>
                    <a:lnTo>
                      <a:pt x="333" y="447"/>
                    </a:lnTo>
                    <a:lnTo>
                      <a:pt x="335" y="452"/>
                    </a:lnTo>
                    <a:lnTo>
                      <a:pt x="335" y="456"/>
                    </a:lnTo>
                    <a:lnTo>
                      <a:pt x="336" y="462"/>
                    </a:lnTo>
                    <a:lnTo>
                      <a:pt x="336" y="466"/>
                    </a:lnTo>
                    <a:lnTo>
                      <a:pt x="338" y="469"/>
                    </a:lnTo>
                    <a:lnTo>
                      <a:pt x="338" y="473"/>
                    </a:lnTo>
                    <a:lnTo>
                      <a:pt x="340" y="479"/>
                    </a:lnTo>
                    <a:lnTo>
                      <a:pt x="340" y="483"/>
                    </a:lnTo>
                    <a:lnTo>
                      <a:pt x="340" y="487"/>
                    </a:lnTo>
                    <a:lnTo>
                      <a:pt x="342" y="490"/>
                    </a:lnTo>
                    <a:lnTo>
                      <a:pt x="342" y="494"/>
                    </a:lnTo>
                    <a:lnTo>
                      <a:pt x="342" y="498"/>
                    </a:lnTo>
                    <a:lnTo>
                      <a:pt x="344" y="502"/>
                    </a:lnTo>
                    <a:lnTo>
                      <a:pt x="344" y="506"/>
                    </a:lnTo>
                    <a:lnTo>
                      <a:pt x="344" y="509"/>
                    </a:lnTo>
                    <a:lnTo>
                      <a:pt x="346" y="517"/>
                    </a:lnTo>
                    <a:lnTo>
                      <a:pt x="348" y="525"/>
                    </a:lnTo>
                    <a:lnTo>
                      <a:pt x="348" y="530"/>
                    </a:lnTo>
                    <a:lnTo>
                      <a:pt x="350" y="536"/>
                    </a:lnTo>
                    <a:lnTo>
                      <a:pt x="350" y="540"/>
                    </a:lnTo>
                    <a:lnTo>
                      <a:pt x="352" y="546"/>
                    </a:lnTo>
                    <a:lnTo>
                      <a:pt x="352" y="549"/>
                    </a:lnTo>
                    <a:lnTo>
                      <a:pt x="352" y="551"/>
                    </a:lnTo>
                    <a:lnTo>
                      <a:pt x="352" y="553"/>
                    </a:lnTo>
                    <a:lnTo>
                      <a:pt x="352" y="555"/>
                    </a:lnTo>
                    <a:lnTo>
                      <a:pt x="350" y="555"/>
                    </a:lnTo>
                    <a:lnTo>
                      <a:pt x="346" y="555"/>
                    </a:lnTo>
                    <a:lnTo>
                      <a:pt x="342" y="555"/>
                    </a:lnTo>
                    <a:lnTo>
                      <a:pt x="336" y="557"/>
                    </a:lnTo>
                    <a:lnTo>
                      <a:pt x="331" y="557"/>
                    </a:lnTo>
                    <a:lnTo>
                      <a:pt x="323" y="559"/>
                    </a:lnTo>
                    <a:lnTo>
                      <a:pt x="317" y="563"/>
                    </a:lnTo>
                    <a:lnTo>
                      <a:pt x="312" y="563"/>
                    </a:lnTo>
                    <a:lnTo>
                      <a:pt x="308" y="565"/>
                    </a:lnTo>
                    <a:lnTo>
                      <a:pt x="304" y="566"/>
                    </a:lnTo>
                    <a:lnTo>
                      <a:pt x="300" y="568"/>
                    </a:lnTo>
                    <a:lnTo>
                      <a:pt x="295" y="570"/>
                    </a:lnTo>
                    <a:lnTo>
                      <a:pt x="291" y="572"/>
                    </a:lnTo>
                    <a:lnTo>
                      <a:pt x="285" y="574"/>
                    </a:lnTo>
                    <a:lnTo>
                      <a:pt x="281" y="576"/>
                    </a:lnTo>
                    <a:lnTo>
                      <a:pt x="276" y="580"/>
                    </a:lnTo>
                    <a:lnTo>
                      <a:pt x="272" y="582"/>
                    </a:lnTo>
                    <a:lnTo>
                      <a:pt x="266" y="584"/>
                    </a:lnTo>
                    <a:lnTo>
                      <a:pt x="260" y="587"/>
                    </a:lnTo>
                    <a:lnTo>
                      <a:pt x="257" y="591"/>
                    </a:lnTo>
                    <a:lnTo>
                      <a:pt x="251" y="595"/>
                    </a:lnTo>
                    <a:lnTo>
                      <a:pt x="245" y="599"/>
                    </a:lnTo>
                    <a:lnTo>
                      <a:pt x="241" y="603"/>
                    </a:lnTo>
                    <a:lnTo>
                      <a:pt x="236" y="606"/>
                    </a:lnTo>
                    <a:lnTo>
                      <a:pt x="232" y="610"/>
                    </a:lnTo>
                    <a:lnTo>
                      <a:pt x="226" y="614"/>
                    </a:lnTo>
                    <a:lnTo>
                      <a:pt x="222" y="620"/>
                    </a:lnTo>
                    <a:lnTo>
                      <a:pt x="217" y="623"/>
                    </a:lnTo>
                    <a:lnTo>
                      <a:pt x="213" y="629"/>
                    </a:lnTo>
                    <a:lnTo>
                      <a:pt x="209" y="633"/>
                    </a:lnTo>
                    <a:lnTo>
                      <a:pt x="205" y="641"/>
                    </a:lnTo>
                    <a:lnTo>
                      <a:pt x="202" y="646"/>
                    </a:lnTo>
                    <a:lnTo>
                      <a:pt x="200" y="650"/>
                    </a:lnTo>
                    <a:lnTo>
                      <a:pt x="196" y="658"/>
                    </a:lnTo>
                    <a:lnTo>
                      <a:pt x="194" y="663"/>
                    </a:lnTo>
                    <a:lnTo>
                      <a:pt x="190" y="671"/>
                    </a:lnTo>
                    <a:lnTo>
                      <a:pt x="188" y="677"/>
                    </a:lnTo>
                    <a:lnTo>
                      <a:pt x="186" y="682"/>
                    </a:lnTo>
                    <a:lnTo>
                      <a:pt x="186" y="690"/>
                    </a:lnTo>
                    <a:lnTo>
                      <a:pt x="184" y="696"/>
                    </a:lnTo>
                    <a:lnTo>
                      <a:pt x="183" y="701"/>
                    </a:lnTo>
                    <a:lnTo>
                      <a:pt x="183" y="709"/>
                    </a:lnTo>
                    <a:lnTo>
                      <a:pt x="183" y="717"/>
                    </a:lnTo>
                    <a:lnTo>
                      <a:pt x="183" y="722"/>
                    </a:lnTo>
                    <a:lnTo>
                      <a:pt x="184" y="728"/>
                    </a:lnTo>
                    <a:lnTo>
                      <a:pt x="184" y="736"/>
                    </a:lnTo>
                    <a:lnTo>
                      <a:pt x="188" y="741"/>
                    </a:lnTo>
                    <a:lnTo>
                      <a:pt x="190" y="747"/>
                    </a:lnTo>
                    <a:lnTo>
                      <a:pt x="192" y="755"/>
                    </a:lnTo>
                    <a:lnTo>
                      <a:pt x="196" y="760"/>
                    </a:lnTo>
                    <a:lnTo>
                      <a:pt x="200" y="766"/>
                    </a:lnTo>
                    <a:lnTo>
                      <a:pt x="203" y="772"/>
                    </a:lnTo>
                    <a:lnTo>
                      <a:pt x="207" y="777"/>
                    </a:lnTo>
                    <a:lnTo>
                      <a:pt x="213" y="783"/>
                    </a:lnTo>
                    <a:lnTo>
                      <a:pt x="221" y="789"/>
                    </a:lnTo>
                    <a:lnTo>
                      <a:pt x="226" y="793"/>
                    </a:lnTo>
                    <a:lnTo>
                      <a:pt x="232" y="796"/>
                    </a:lnTo>
                    <a:lnTo>
                      <a:pt x="240" y="800"/>
                    </a:lnTo>
                    <a:lnTo>
                      <a:pt x="245" y="804"/>
                    </a:lnTo>
                    <a:lnTo>
                      <a:pt x="253" y="806"/>
                    </a:lnTo>
                    <a:lnTo>
                      <a:pt x="260" y="808"/>
                    </a:lnTo>
                    <a:lnTo>
                      <a:pt x="266" y="808"/>
                    </a:lnTo>
                    <a:lnTo>
                      <a:pt x="274" y="810"/>
                    </a:lnTo>
                    <a:lnTo>
                      <a:pt x="281" y="810"/>
                    </a:lnTo>
                    <a:lnTo>
                      <a:pt x="289" y="810"/>
                    </a:lnTo>
                    <a:lnTo>
                      <a:pt x="295" y="810"/>
                    </a:lnTo>
                    <a:lnTo>
                      <a:pt x="302" y="812"/>
                    </a:lnTo>
                    <a:lnTo>
                      <a:pt x="310" y="810"/>
                    </a:lnTo>
                    <a:lnTo>
                      <a:pt x="316" y="808"/>
                    </a:lnTo>
                    <a:lnTo>
                      <a:pt x="323" y="808"/>
                    </a:lnTo>
                    <a:lnTo>
                      <a:pt x="331" y="808"/>
                    </a:lnTo>
                    <a:lnTo>
                      <a:pt x="335" y="806"/>
                    </a:lnTo>
                    <a:lnTo>
                      <a:pt x="342" y="804"/>
                    </a:lnTo>
                    <a:lnTo>
                      <a:pt x="346" y="802"/>
                    </a:lnTo>
                    <a:lnTo>
                      <a:pt x="352" y="800"/>
                    </a:lnTo>
                    <a:lnTo>
                      <a:pt x="357" y="798"/>
                    </a:lnTo>
                    <a:lnTo>
                      <a:pt x="363" y="796"/>
                    </a:lnTo>
                    <a:lnTo>
                      <a:pt x="367" y="796"/>
                    </a:lnTo>
                    <a:lnTo>
                      <a:pt x="371" y="795"/>
                    </a:lnTo>
                    <a:lnTo>
                      <a:pt x="374" y="793"/>
                    </a:lnTo>
                    <a:lnTo>
                      <a:pt x="378" y="791"/>
                    </a:lnTo>
                    <a:lnTo>
                      <a:pt x="382" y="789"/>
                    </a:lnTo>
                    <a:lnTo>
                      <a:pt x="384" y="789"/>
                    </a:lnTo>
                    <a:lnTo>
                      <a:pt x="388" y="787"/>
                    </a:lnTo>
                    <a:lnTo>
                      <a:pt x="390" y="787"/>
                    </a:lnTo>
                    <a:lnTo>
                      <a:pt x="393" y="787"/>
                    </a:lnTo>
                    <a:lnTo>
                      <a:pt x="395" y="785"/>
                    </a:lnTo>
                    <a:lnTo>
                      <a:pt x="399" y="783"/>
                    </a:lnTo>
                    <a:lnTo>
                      <a:pt x="401" y="783"/>
                    </a:lnTo>
                    <a:lnTo>
                      <a:pt x="407" y="783"/>
                    </a:lnTo>
                    <a:lnTo>
                      <a:pt x="409" y="781"/>
                    </a:lnTo>
                    <a:lnTo>
                      <a:pt x="414" y="779"/>
                    </a:lnTo>
                    <a:lnTo>
                      <a:pt x="418" y="779"/>
                    </a:lnTo>
                    <a:lnTo>
                      <a:pt x="424" y="777"/>
                    </a:lnTo>
                    <a:lnTo>
                      <a:pt x="428" y="776"/>
                    </a:lnTo>
                    <a:lnTo>
                      <a:pt x="433" y="774"/>
                    </a:lnTo>
                    <a:lnTo>
                      <a:pt x="441" y="774"/>
                    </a:lnTo>
                    <a:lnTo>
                      <a:pt x="447" y="772"/>
                    </a:lnTo>
                    <a:lnTo>
                      <a:pt x="452" y="770"/>
                    </a:lnTo>
                    <a:lnTo>
                      <a:pt x="458" y="770"/>
                    </a:lnTo>
                    <a:lnTo>
                      <a:pt x="464" y="768"/>
                    </a:lnTo>
                    <a:lnTo>
                      <a:pt x="469" y="766"/>
                    </a:lnTo>
                    <a:lnTo>
                      <a:pt x="477" y="766"/>
                    </a:lnTo>
                    <a:lnTo>
                      <a:pt x="483" y="764"/>
                    </a:lnTo>
                    <a:lnTo>
                      <a:pt x="490" y="764"/>
                    </a:lnTo>
                    <a:lnTo>
                      <a:pt x="496" y="762"/>
                    </a:lnTo>
                    <a:lnTo>
                      <a:pt x="502" y="762"/>
                    </a:lnTo>
                    <a:lnTo>
                      <a:pt x="507" y="760"/>
                    </a:lnTo>
                    <a:lnTo>
                      <a:pt x="513" y="758"/>
                    </a:lnTo>
                    <a:lnTo>
                      <a:pt x="521" y="758"/>
                    </a:lnTo>
                    <a:lnTo>
                      <a:pt x="526" y="758"/>
                    </a:lnTo>
                    <a:lnTo>
                      <a:pt x="530" y="758"/>
                    </a:lnTo>
                    <a:lnTo>
                      <a:pt x="536" y="758"/>
                    </a:lnTo>
                    <a:lnTo>
                      <a:pt x="542" y="758"/>
                    </a:lnTo>
                    <a:lnTo>
                      <a:pt x="545" y="758"/>
                    </a:lnTo>
                    <a:lnTo>
                      <a:pt x="551" y="758"/>
                    </a:lnTo>
                    <a:lnTo>
                      <a:pt x="555" y="758"/>
                    </a:lnTo>
                    <a:lnTo>
                      <a:pt x="561" y="760"/>
                    </a:lnTo>
                    <a:lnTo>
                      <a:pt x="564" y="760"/>
                    </a:lnTo>
                    <a:lnTo>
                      <a:pt x="570" y="760"/>
                    </a:lnTo>
                    <a:lnTo>
                      <a:pt x="574" y="762"/>
                    </a:lnTo>
                    <a:lnTo>
                      <a:pt x="580" y="762"/>
                    </a:lnTo>
                    <a:lnTo>
                      <a:pt x="583" y="762"/>
                    </a:lnTo>
                    <a:lnTo>
                      <a:pt x="587" y="762"/>
                    </a:lnTo>
                    <a:lnTo>
                      <a:pt x="593" y="764"/>
                    </a:lnTo>
                    <a:lnTo>
                      <a:pt x="597" y="764"/>
                    </a:lnTo>
                    <a:lnTo>
                      <a:pt x="602" y="764"/>
                    </a:lnTo>
                    <a:lnTo>
                      <a:pt x="606" y="764"/>
                    </a:lnTo>
                    <a:lnTo>
                      <a:pt x="612" y="766"/>
                    </a:lnTo>
                    <a:lnTo>
                      <a:pt x="616" y="766"/>
                    </a:lnTo>
                    <a:lnTo>
                      <a:pt x="620" y="766"/>
                    </a:lnTo>
                    <a:lnTo>
                      <a:pt x="625" y="768"/>
                    </a:lnTo>
                    <a:lnTo>
                      <a:pt x="629" y="768"/>
                    </a:lnTo>
                    <a:lnTo>
                      <a:pt x="635" y="770"/>
                    </a:lnTo>
                    <a:lnTo>
                      <a:pt x="639" y="770"/>
                    </a:lnTo>
                    <a:lnTo>
                      <a:pt x="644" y="772"/>
                    </a:lnTo>
                    <a:lnTo>
                      <a:pt x="648" y="772"/>
                    </a:lnTo>
                    <a:lnTo>
                      <a:pt x="654" y="772"/>
                    </a:lnTo>
                    <a:lnTo>
                      <a:pt x="658" y="772"/>
                    </a:lnTo>
                    <a:lnTo>
                      <a:pt x="663" y="774"/>
                    </a:lnTo>
                    <a:lnTo>
                      <a:pt x="667" y="774"/>
                    </a:lnTo>
                    <a:lnTo>
                      <a:pt x="673" y="776"/>
                    </a:lnTo>
                    <a:lnTo>
                      <a:pt x="678" y="776"/>
                    </a:lnTo>
                    <a:lnTo>
                      <a:pt x="684" y="777"/>
                    </a:lnTo>
                    <a:lnTo>
                      <a:pt x="688" y="777"/>
                    </a:lnTo>
                    <a:lnTo>
                      <a:pt x="694" y="777"/>
                    </a:lnTo>
                    <a:lnTo>
                      <a:pt x="699" y="777"/>
                    </a:lnTo>
                    <a:lnTo>
                      <a:pt x="705" y="777"/>
                    </a:lnTo>
                    <a:lnTo>
                      <a:pt x="709" y="777"/>
                    </a:lnTo>
                    <a:lnTo>
                      <a:pt x="715" y="777"/>
                    </a:lnTo>
                    <a:lnTo>
                      <a:pt x="720" y="777"/>
                    </a:lnTo>
                    <a:lnTo>
                      <a:pt x="726" y="777"/>
                    </a:lnTo>
                    <a:lnTo>
                      <a:pt x="730" y="776"/>
                    </a:lnTo>
                    <a:lnTo>
                      <a:pt x="737" y="776"/>
                    </a:lnTo>
                    <a:lnTo>
                      <a:pt x="741" y="774"/>
                    </a:lnTo>
                    <a:lnTo>
                      <a:pt x="747" y="774"/>
                    </a:lnTo>
                    <a:lnTo>
                      <a:pt x="753" y="772"/>
                    </a:lnTo>
                    <a:lnTo>
                      <a:pt x="758" y="772"/>
                    </a:lnTo>
                    <a:lnTo>
                      <a:pt x="762" y="770"/>
                    </a:lnTo>
                    <a:lnTo>
                      <a:pt x="768" y="768"/>
                    </a:lnTo>
                    <a:lnTo>
                      <a:pt x="773" y="766"/>
                    </a:lnTo>
                    <a:lnTo>
                      <a:pt x="779" y="766"/>
                    </a:lnTo>
                    <a:lnTo>
                      <a:pt x="783" y="762"/>
                    </a:lnTo>
                    <a:lnTo>
                      <a:pt x="787" y="760"/>
                    </a:lnTo>
                    <a:lnTo>
                      <a:pt x="791" y="758"/>
                    </a:lnTo>
                    <a:lnTo>
                      <a:pt x="796" y="757"/>
                    </a:lnTo>
                    <a:lnTo>
                      <a:pt x="800" y="753"/>
                    </a:lnTo>
                    <a:lnTo>
                      <a:pt x="804" y="751"/>
                    </a:lnTo>
                    <a:lnTo>
                      <a:pt x="808" y="747"/>
                    </a:lnTo>
                    <a:lnTo>
                      <a:pt x="813" y="745"/>
                    </a:lnTo>
                    <a:lnTo>
                      <a:pt x="815" y="741"/>
                    </a:lnTo>
                    <a:lnTo>
                      <a:pt x="819" y="738"/>
                    </a:lnTo>
                    <a:lnTo>
                      <a:pt x="821" y="734"/>
                    </a:lnTo>
                    <a:lnTo>
                      <a:pt x="825" y="730"/>
                    </a:lnTo>
                    <a:lnTo>
                      <a:pt x="827" y="726"/>
                    </a:lnTo>
                    <a:lnTo>
                      <a:pt x="830" y="722"/>
                    </a:lnTo>
                    <a:lnTo>
                      <a:pt x="832" y="717"/>
                    </a:lnTo>
                    <a:lnTo>
                      <a:pt x="834" y="713"/>
                    </a:lnTo>
                    <a:lnTo>
                      <a:pt x="834" y="709"/>
                    </a:lnTo>
                    <a:lnTo>
                      <a:pt x="836" y="703"/>
                    </a:lnTo>
                    <a:lnTo>
                      <a:pt x="838" y="700"/>
                    </a:lnTo>
                    <a:lnTo>
                      <a:pt x="838" y="696"/>
                    </a:lnTo>
                    <a:lnTo>
                      <a:pt x="838" y="690"/>
                    </a:lnTo>
                    <a:lnTo>
                      <a:pt x="838" y="684"/>
                    </a:lnTo>
                    <a:lnTo>
                      <a:pt x="838" y="681"/>
                    </a:lnTo>
                    <a:lnTo>
                      <a:pt x="838" y="677"/>
                    </a:lnTo>
                    <a:lnTo>
                      <a:pt x="838" y="673"/>
                    </a:lnTo>
                    <a:lnTo>
                      <a:pt x="836" y="667"/>
                    </a:lnTo>
                    <a:lnTo>
                      <a:pt x="834" y="663"/>
                    </a:lnTo>
                    <a:lnTo>
                      <a:pt x="834" y="661"/>
                    </a:lnTo>
                    <a:lnTo>
                      <a:pt x="832" y="656"/>
                    </a:lnTo>
                    <a:lnTo>
                      <a:pt x="832" y="652"/>
                    </a:lnTo>
                    <a:lnTo>
                      <a:pt x="830" y="648"/>
                    </a:lnTo>
                    <a:lnTo>
                      <a:pt x="830" y="646"/>
                    </a:lnTo>
                    <a:lnTo>
                      <a:pt x="827" y="639"/>
                    </a:lnTo>
                    <a:lnTo>
                      <a:pt x="823" y="633"/>
                    </a:lnTo>
                    <a:lnTo>
                      <a:pt x="819" y="627"/>
                    </a:lnTo>
                    <a:lnTo>
                      <a:pt x="817" y="623"/>
                    </a:lnTo>
                    <a:lnTo>
                      <a:pt x="813" y="618"/>
                    </a:lnTo>
                    <a:lnTo>
                      <a:pt x="811" y="616"/>
                    </a:lnTo>
                    <a:lnTo>
                      <a:pt x="789" y="593"/>
                    </a:lnTo>
                    <a:lnTo>
                      <a:pt x="789" y="591"/>
                    </a:lnTo>
                    <a:lnTo>
                      <a:pt x="789" y="587"/>
                    </a:lnTo>
                    <a:lnTo>
                      <a:pt x="789" y="584"/>
                    </a:lnTo>
                    <a:lnTo>
                      <a:pt x="789" y="582"/>
                    </a:lnTo>
                    <a:lnTo>
                      <a:pt x="789" y="576"/>
                    </a:lnTo>
                    <a:lnTo>
                      <a:pt x="789" y="572"/>
                    </a:lnTo>
                    <a:lnTo>
                      <a:pt x="789" y="566"/>
                    </a:lnTo>
                    <a:lnTo>
                      <a:pt x="789" y="563"/>
                    </a:lnTo>
                    <a:lnTo>
                      <a:pt x="789" y="557"/>
                    </a:lnTo>
                    <a:lnTo>
                      <a:pt x="789" y="551"/>
                    </a:lnTo>
                    <a:lnTo>
                      <a:pt x="789" y="546"/>
                    </a:lnTo>
                    <a:lnTo>
                      <a:pt x="789" y="538"/>
                    </a:lnTo>
                    <a:lnTo>
                      <a:pt x="791" y="532"/>
                    </a:lnTo>
                    <a:lnTo>
                      <a:pt x="791" y="525"/>
                    </a:lnTo>
                    <a:lnTo>
                      <a:pt x="791" y="517"/>
                    </a:lnTo>
                    <a:lnTo>
                      <a:pt x="792" y="511"/>
                    </a:lnTo>
                    <a:lnTo>
                      <a:pt x="792" y="504"/>
                    </a:lnTo>
                    <a:lnTo>
                      <a:pt x="794" y="496"/>
                    </a:lnTo>
                    <a:lnTo>
                      <a:pt x="794" y="489"/>
                    </a:lnTo>
                    <a:lnTo>
                      <a:pt x="796" y="483"/>
                    </a:lnTo>
                    <a:lnTo>
                      <a:pt x="798" y="475"/>
                    </a:lnTo>
                    <a:lnTo>
                      <a:pt x="800" y="469"/>
                    </a:lnTo>
                    <a:lnTo>
                      <a:pt x="800" y="462"/>
                    </a:lnTo>
                    <a:lnTo>
                      <a:pt x="802" y="454"/>
                    </a:lnTo>
                    <a:lnTo>
                      <a:pt x="804" y="449"/>
                    </a:lnTo>
                    <a:lnTo>
                      <a:pt x="806" y="441"/>
                    </a:lnTo>
                    <a:lnTo>
                      <a:pt x="808" y="435"/>
                    </a:lnTo>
                    <a:lnTo>
                      <a:pt x="811" y="430"/>
                    </a:lnTo>
                    <a:lnTo>
                      <a:pt x="813" y="424"/>
                    </a:lnTo>
                    <a:lnTo>
                      <a:pt x="817" y="420"/>
                    </a:lnTo>
                    <a:lnTo>
                      <a:pt x="819" y="414"/>
                    </a:lnTo>
                    <a:lnTo>
                      <a:pt x="823" y="409"/>
                    </a:lnTo>
                    <a:lnTo>
                      <a:pt x="825" y="405"/>
                    </a:lnTo>
                    <a:lnTo>
                      <a:pt x="829" y="401"/>
                    </a:lnTo>
                    <a:lnTo>
                      <a:pt x="830" y="397"/>
                    </a:lnTo>
                    <a:lnTo>
                      <a:pt x="834" y="393"/>
                    </a:lnTo>
                    <a:lnTo>
                      <a:pt x="836" y="390"/>
                    </a:lnTo>
                    <a:lnTo>
                      <a:pt x="840" y="388"/>
                    </a:lnTo>
                    <a:lnTo>
                      <a:pt x="846" y="382"/>
                    </a:lnTo>
                    <a:lnTo>
                      <a:pt x="851" y="376"/>
                    </a:lnTo>
                    <a:lnTo>
                      <a:pt x="857" y="373"/>
                    </a:lnTo>
                    <a:lnTo>
                      <a:pt x="863" y="371"/>
                    </a:lnTo>
                    <a:lnTo>
                      <a:pt x="868" y="367"/>
                    </a:lnTo>
                    <a:lnTo>
                      <a:pt x="874" y="367"/>
                    </a:lnTo>
                    <a:lnTo>
                      <a:pt x="878" y="365"/>
                    </a:lnTo>
                    <a:lnTo>
                      <a:pt x="884" y="365"/>
                    </a:lnTo>
                    <a:lnTo>
                      <a:pt x="889" y="363"/>
                    </a:lnTo>
                    <a:lnTo>
                      <a:pt x="893" y="363"/>
                    </a:lnTo>
                    <a:lnTo>
                      <a:pt x="897" y="363"/>
                    </a:lnTo>
                    <a:lnTo>
                      <a:pt x="903" y="365"/>
                    </a:lnTo>
                    <a:lnTo>
                      <a:pt x="908" y="365"/>
                    </a:lnTo>
                    <a:lnTo>
                      <a:pt x="916" y="369"/>
                    </a:lnTo>
                    <a:lnTo>
                      <a:pt x="922" y="373"/>
                    </a:lnTo>
                    <a:lnTo>
                      <a:pt x="929" y="376"/>
                    </a:lnTo>
                    <a:lnTo>
                      <a:pt x="933" y="382"/>
                    </a:lnTo>
                    <a:lnTo>
                      <a:pt x="939" y="388"/>
                    </a:lnTo>
                    <a:lnTo>
                      <a:pt x="941" y="392"/>
                    </a:lnTo>
                    <a:lnTo>
                      <a:pt x="944" y="399"/>
                    </a:lnTo>
                    <a:lnTo>
                      <a:pt x="943" y="397"/>
                    </a:lnTo>
                    <a:lnTo>
                      <a:pt x="943" y="392"/>
                    </a:lnTo>
                    <a:lnTo>
                      <a:pt x="943" y="388"/>
                    </a:lnTo>
                    <a:lnTo>
                      <a:pt x="943" y="384"/>
                    </a:lnTo>
                    <a:lnTo>
                      <a:pt x="943" y="380"/>
                    </a:lnTo>
                    <a:lnTo>
                      <a:pt x="941" y="374"/>
                    </a:lnTo>
                    <a:lnTo>
                      <a:pt x="939" y="369"/>
                    </a:lnTo>
                    <a:lnTo>
                      <a:pt x="939" y="365"/>
                    </a:lnTo>
                    <a:lnTo>
                      <a:pt x="935" y="361"/>
                    </a:lnTo>
                    <a:lnTo>
                      <a:pt x="933" y="357"/>
                    </a:lnTo>
                    <a:lnTo>
                      <a:pt x="929" y="352"/>
                    </a:lnTo>
                    <a:lnTo>
                      <a:pt x="925" y="348"/>
                    </a:lnTo>
                    <a:lnTo>
                      <a:pt x="922" y="346"/>
                    </a:lnTo>
                    <a:lnTo>
                      <a:pt x="918" y="342"/>
                    </a:lnTo>
                    <a:lnTo>
                      <a:pt x="912" y="340"/>
                    </a:lnTo>
                    <a:lnTo>
                      <a:pt x="906" y="338"/>
                    </a:lnTo>
                    <a:lnTo>
                      <a:pt x="901" y="336"/>
                    </a:lnTo>
                    <a:lnTo>
                      <a:pt x="895" y="336"/>
                    </a:lnTo>
                    <a:lnTo>
                      <a:pt x="889" y="335"/>
                    </a:lnTo>
                    <a:lnTo>
                      <a:pt x="884" y="335"/>
                    </a:lnTo>
                    <a:lnTo>
                      <a:pt x="878" y="336"/>
                    </a:lnTo>
                    <a:lnTo>
                      <a:pt x="872" y="338"/>
                    </a:lnTo>
                    <a:lnTo>
                      <a:pt x="867" y="338"/>
                    </a:lnTo>
                    <a:lnTo>
                      <a:pt x="863" y="338"/>
                    </a:lnTo>
                    <a:lnTo>
                      <a:pt x="857" y="338"/>
                    </a:lnTo>
                    <a:lnTo>
                      <a:pt x="855" y="340"/>
                    </a:lnTo>
                    <a:lnTo>
                      <a:pt x="849" y="342"/>
                    </a:lnTo>
                    <a:lnTo>
                      <a:pt x="848" y="342"/>
                    </a:lnTo>
                    <a:lnTo>
                      <a:pt x="844" y="344"/>
                    </a:lnTo>
                    <a:lnTo>
                      <a:pt x="840" y="346"/>
                    </a:lnTo>
                    <a:lnTo>
                      <a:pt x="834" y="350"/>
                    </a:lnTo>
                    <a:lnTo>
                      <a:pt x="827" y="352"/>
                    </a:lnTo>
                    <a:lnTo>
                      <a:pt x="821" y="359"/>
                    </a:lnTo>
                    <a:lnTo>
                      <a:pt x="815" y="361"/>
                    </a:lnTo>
                    <a:lnTo>
                      <a:pt x="813" y="365"/>
                    </a:lnTo>
                    <a:lnTo>
                      <a:pt x="808" y="369"/>
                    </a:lnTo>
                    <a:lnTo>
                      <a:pt x="806" y="374"/>
                    </a:lnTo>
                    <a:lnTo>
                      <a:pt x="806" y="373"/>
                    </a:lnTo>
                    <a:lnTo>
                      <a:pt x="808" y="367"/>
                    </a:lnTo>
                    <a:lnTo>
                      <a:pt x="810" y="363"/>
                    </a:lnTo>
                    <a:lnTo>
                      <a:pt x="811" y="359"/>
                    </a:lnTo>
                    <a:lnTo>
                      <a:pt x="813" y="355"/>
                    </a:lnTo>
                    <a:lnTo>
                      <a:pt x="817" y="350"/>
                    </a:lnTo>
                    <a:lnTo>
                      <a:pt x="821" y="344"/>
                    </a:lnTo>
                    <a:lnTo>
                      <a:pt x="823" y="338"/>
                    </a:lnTo>
                    <a:lnTo>
                      <a:pt x="829" y="331"/>
                    </a:lnTo>
                    <a:lnTo>
                      <a:pt x="832" y="325"/>
                    </a:lnTo>
                    <a:lnTo>
                      <a:pt x="834" y="321"/>
                    </a:lnTo>
                    <a:lnTo>
                      <a:pt x="836" y="317"/>
                    </a:lnTo>
                    <a:lnTo>
                      <a:pt x="838" y="314"/>
                    </a:lnTo>
                    <a:lnTo>
                      <a:pt x="840" y="310"/>
                    </a:lnTo>
                    <a:lnTo>
                      <a:pt x="842" y="306"/>
                    </a:lnTo>
                    <a:lnTo>
                      <a:pt x="846" y="302"/>
                    </a:lnTo>
                    <a:lnTo>
                      <a:pt x="848" y="298"/>
                    </a:lnTo>
                    <a:lnTo>
                      <a:pt x="851" y="295"/>
                    </a:lnTo>
                    <a:lnTo>
                      <a:pt x="853" y="289"/>
                    </a:lnTo>
                    <a:lnTo>
                      <a:pt x="855" y="285"/>
                    </a:lnTo>
                    <a:lnTo>
                      <a:pt x="857" y="281"/>
                    </a:lnTo>
                    <a:lnTo>
                      <a:pt x="861" y="276"/>
                    </a:lnTo>
                    <a:lnTo>
                      <a:pt x="863" y="272"/>
                    </a:lnTo>
                    <a:lnTo>
                      <a:pt x="865" y="268"/>
                    </a:lnTo>
                    <a:lnTo>
                      <a:pt x="868" y="262"/>
                    </a:lnTo>
                    <a:lnTo>
                      <a:pt x="870" y="258"/>
                    </a:lnTo>
                    <a:lnTo>
                      <a:pt x="872" y="255"/>
                    </a:lnTo>
                    <a:lnTo>
                      <a:pt x="876" y="249"/>
                    </a:lnTo>
                    <a:lnTo>
                      <a:pt x="878" y="243"/>
                    </a:lnTo>
                    <a:lnTo>
                      <a:pt x="882" y="239"/>
                    </a:lnTo>
                    <a:lnTo>
                      <a:pt x="884" y="236"/>
                    </a:lnTo>
                    <a:lnTo>
                      <a:pt x="887" y="232"/>
                    </a:lnTo>
                    <a:lnTo>
                      <a:pt x="889" y="226"/>
                    </a:lnTo>
                    <a:lnTo>
                      <a:pt x="893" y="222"/>
                    </a:lnTo>
                    <a:lnTo>
                      <a:pt x="895" y="217"/>
                    </a:lnTo>
                    <a:lnTo>
                      <a:pt x="899" y="213"/>
                    </a:lnTo>
                    <a:lnTo>
                      <a:pt x="901" y="207"/>
                    </a:lnTo>
                    <a:lnTo>
                      <a:pt x="903" y="203"/>
                    </a:lnTo>
                    <a:lnTo>
                      <a:pt x="906" y="200"/>
                    </a:lnTo>
                    <a:lnTo>
                      <a:pt x="908" y="194"/>
                    </a:lnTo>
                    <a:lnTo>
                      <a:pt x="910" y="190"/>
                    </a:lnTo>
                    <a:lnTo>
                      <a:pt x="914" y="186"/>
                    </a:lnTo>
                    <a:lnTo>
                      <a:pt x="916" y="182"/>
                    </a:lnTo>
                    <a:lnTo>
                      <a:pt x="920" y="177"/>
                    </a:lnTo>
                    <a:lnTo>
                      <a:pt x="922" y="173"/>
                    </a:lnTo>
                    <a:lnTo>
                      <a:pt x="925" y="169"/>
                    </a:lnTo>
                    <a:lnTo>
                      <a:pt x="927" y="165"/>
                    </a:lnTo>
                    <a:lnTo>
                      <a:pt x="931" y="162"/>
                    </a:lnTo>
                    <a:lnTo>
                      <a:pt x="933" y="158"/>
                    </a:lnTo>
                    <a:lnTo>
                      <a:pt x="937" y="154"/>
                    </a:lnTo>
                    <a:lnTo>
                      <a:pt x="939" y="150"/>
                    </a:lnTo>
                    <a:lnTo>
                      <a:pt x="941" y="146"/>
                    </a:lnTo>
                    <a:lnTo>
                      <a:pt x="943" y="143"/>
                    </a:lnTo>
                    <a:lnTo>
                      <a:pt x="944" y="139"/>
                    </a:lnTo>
                    <a:lnTo>
                      <a:pt x="946" y="133"/>
                    </a:lnTo>
                    <a:lnTo>
                      <a:pt x="946" y="129"/>
                    </a:lnTo>
                    <a:lnTo>
                      <a:pt x="948" y="125"/>
                    </a:lnTo>
                    <a:lnTo>
                      <a:pt x="950" y="122"/>
                    </a:lnTo>
                    <a:lnTo>
                      <a:pt x="950" y="118"/>
                    </a:lnTo>
                    <a:lnTo>
                      <a:pt x="950" y="114"/>
                    </a:lnTo>
                    <a:lnTo>
                      <a:pt x="950" y="110"/>
                    </a:lnTo>
                    <a:lnTo>
                      <a:pt x="952" y="106"/>
                    </a:lnTo>
                    <a:lnTo>
                      <a:pt x="952" y="99"/>
                    </a:lnTo>
                    <a:lnTo>
                      <a:pt x="952" y="91"/>
                    </a:lnTo>
                    <a:lnTo>
                      <a:pt x="952" y="87"/>
                    </a:lnTo>
                    <a:lnTo>
                      <a:pt x="950" y="84"/>
                    </a:lnTo>
                    <a:lnTo>
                      <a:pt x="950" y="80"/>
                    </a:lnTo>
                    <a:lnTo>
                      <a:pt x="950" y="76"/>
                    </a:lnTo>
                    <a:lnTo>
                      <a:pt x="948" y="68"/>
                    </a:lnTo>
                    <a:lnTo>
                      <a:pt x="946" y="63"/>
                    </a:lnTo>
                    <a:lnTo>
                      <a:pt x="943" y="55"/>
                    </a:lnTo>
                    <a:lnTo>
                      <a:pt x="939" y="47"/>
                    </a:lnTo>
                    <a:lnTo>
                      <a:pt x="935" y="42"/>
                    </a:lnTo>
                    <a:lnTo>
                      <a:pt x="931" y="36"/>
                    </a:lnTo>
                    <a:lnTo>
                      <a:pt x="925" y="30"/>
                    </a:lnTo>
                    <a:lnTo>
                      <a:pt x="922" y="25"/>
                    </a:lnTo>
                    <a:lnTo>
                      <a:pt x="916" y="19"/>
                    </a:lnTo>
                    <a:lnTo>
                      <a:pt x="910" y="15"/>
                    </a:lnTo>
                    <a:lnTo>
                      <a:pt x="905" y="11"/>
                    </a:lnTo>
                    <a:lnTo>
                      <a:pt x="899" y="8"/>
                    </a:lnTo>
                    <a:lnTo>
                      <a:pt x="893" y="6"/>
                    </a:lnTo>
                    <a:lnTo>
                      <a:pt x="887" y="4"/>
                    </a:lnTo>
                    <a:lnTo>
                      <a:pt x="880" y="2"/>
                    </a:lnTo>
                    <a:lnTo>
                      <a:pt x="874" y="0"/>
                    </a:lnTo>
                    <a:lnTo>
                      <a:pt x="867" y="0"/>
                    </a:lnTo>
                    <a:lnTo>
                      <a:pt x="861" y="0"/>
                    </a:lnTo>
                    <a:lnTo>
                      <a:pt x="853" y="0"/>
                    </a:lnTo>
                    <a:lnTo>
                      <a:pt x="848" y="2"/>
                    </a:lnTo>
                    <a:lnTo>
                      <a:pt x="840" y="4"/>
                    </a:lnTo>
                    <a:lnTo>
                      <a:pt x="832" y="8"/>
                    </a:lnTo>
                    <a:lnTo>
                      <a:pt x="825" y="9"/>
                    </a:lnTo>
                    <a:lnTo>
                      <a:pt x="819" y="13"/>
                    </a:lnTo>
                    <a:lnTo>
                      <a:pt x="813" y="17"/>
                    </a:lnTo>
                    <a:lnTo>
                      <a:pt x="808" y="23"/>
                    </a:lnTo>
                    <a:lnTo>
                      <a:pt x="802" y="25"/>
                    </a:lnTo>
                    <a:lnTo>
                      <a:pt x="798" y="30"/>
                    </a:lnTo>
                    <a:lnTo>
                      <a:pt x="794" y="34"/>
                    </a:lnTo>
                    <a:lnTo>
                      <a:pt x="791" y="38"/>
                    </a:lnTo>
                    <a:lnTo>
                      <a:pt x="787" y="42"/>
                    </a:lnTo>
                    <a:lnTo>
                      <a:pt x="783" y="47"/>
                    </a:lnTo>
                    <a:lnTo>
                      <a:pt x="779" y="51"/>
                    </a:lnTo>
                    <a:lnTo>
                      <a:pt x="777" y="57"/>
                    </a:lnTo>
                    <a:lnTo>
                      <a:pt x="775" y="61"/>
                    </a:lnTo>
                    <a:lnTo>
                      <a:pt x="773" y="65"/>
                    </a:lnTo>
                    <a:lnTo>
                      <a:pt x="772" y="70"/>
                    </a:lnTo>
                    <a:lnTo>
                      <a:pt x="772" y="74"/>
                    </a:lnTo>
                    <a:lnTo>
                      <a:pt x="770" y="80"/>
                    </a:lnTo>
                    <a:lnTo>
                      <a:pt x="768" y="84"/>
                    </a:lnTo>
                    <a:lnTo>
                      <a:pt x="766" y="87"/>
                    </a:lnTo>
                    <a:lnTo>
                      <a:pt x="766" y="91"/>
                    </a:lnTo>
                    <a:lnTo>
                      <a:pt x="766" y="97"/>
                    </a:lnTo>
                    <a:lnTo>
                      <a:pt x="766" y="101"/>
                    </a:lnTo>
                    <a:lnTo>
                      <a:pt x="766" y="105"/>
                    </a:lnTo>
                    <a:lnTo>
                      <a:pt x="766" y="108"/>
                    </a:lnTo>
                    <a:lnTo>
                      <a:pt x="766" y="116"/>
                    </a:lnTo>
                    <a:lnTo>
                      <a:pt x="766" y="122"/>
                    </a:lnTo>
                    <a:lnTo>
                      <a:pt x="766" y="127"/>
                    </a:lnTo>
                    <a:lnTo>
                      <a:pt x="768" y="133"/>
                    </a:lnTo>
                    <a:lnTo>
                      <a:pt x="768" y="137"/>
                    </a:lnTo>
                    <a:lnTo>
                      <a:pt x="770" y="141"/>
                    </a:lnTo>
                    <a:lnTo>
                      <a:pt x="772" y="146"/>
                    </a:lnTo>
                    <a:lnTo>
                      <a:pt x="773" y="150"/>
                    </a:lnTo>
                    <a:lnTo>
                      <a:pt x="775" y="154"/>
                    </a:lnTo>
                    <a:lnTo>
                      <a:pt x="779" y="156"/>
                    </a:lnTo>
                    <a:lnTo>
                      <a:pt x="781" y="160"/>
                    </a:lnTo>
                    <a:lnTo>
                      <a:pt x="785" y="163"/>
                    </a:lnTo>
                    <a:lnTo>
                      <a:pt x="789" y="167"/>
                    </a:lnTo>
                    <a:lnTo>
                      <a:pt x="791" y="169"/>
                    </a:lnTo>
                    <a:lnTo>
                      <a:pt x="796" y="171"/>
                    </a:lnTo>
                    <a:lnTo>
                      <a:pt x="800" y="175"/>
                    </a:lnTo>
                    <a:lnTo>
                      <a:pt x="804" y="175"/>
                    </a:lnTo>
                    <a:lnTo>
                      <a:pt x="808" y="177"/>
                    </a:lnTo>
                    <a:lnTo>
                      <a:pt x="813" y="177"/>
                    </a:lnTo>
                    <a:lnTo>
                      <a:pt x="817" y="177"/>
                    </a:lnTo>
                    <a:lnTo>
                      <a:pt x="810" y="87"/>
                    </a:lnTo>
                    <a:lnTo>
                      <a:pt x="857" y="51"/>
                    </a:lnTo>
                    <a:lnTo>
                      <a:pt x="903" y="65"/>
                    </a:lnTo>
                    <a:lnTo>
                      <a:pt x="905" y="66"/>
                    </a:lnTo>
                    <a:lnTo>
                      <a:pt x="908" y="72"/>
                    </a:lnTo>
                    <a:lnTo>
                      <a:pt x="908" y="76"/>
                    </a:lnTo>
                    <a:lnTo>
                      <a:pt x="910" y="80"/>
                    </a:lnTo>
                    <a:lnTo>
                      <a:pt x="912" y="85"/>
                    </a:lnTo>
                    <a:lnTo>
                      <a:pt x="914" y="91"/>
                    </a:lnTo>
                    <a:lnTo>
                      <a:pt x="914" y="99"/>
                    </a:lnTo>
                    <a:lnTo>
                      <a:pt x="914" y="105"/>
                    </a:lnTo>
                    <a:lnTo>
                      <a:pt x="914" y="108"/>
                    </a:lnTo>
                    <a:lnTo>
                      <a:pt x="912" y="112"/>
                    </a:lnTo>
                    <a:lnTo>
                      <a:pt x="912" y="116"/>
                    </a:lnTo>
                    <a:lnTo>
                      <a:pt x="910" y="122"/>
                    </a:lnTo>
                    <a:lnTo>
                      <a:pt x="908" y="125"/>
                    </a:lnTo>
                    <a:lnTo>
                      <a:pt x="908" y="129"/>
                    </a:lnTo>
                    <a:lnTo>
                      <a:pt x="906" y="133"/>
                    </a:lnTo>
                    <a:lnTo>
                      <a:pt x="903" y="139"/>
                    </a:lnTo>
                    <a:lnTo>
                      <a:pt x="901" y="143"/>
                    </a:lnTo>
                    <a:lnTo>
                      <a:pt x="897" y="148"/>
                    </a:lnTo>
                    <a:lnTo>
                      <a:pt x="893" y="152"/>
                    </a:lnTo>
                    <a:lnTo>
                      <a:pt x="889" y="158"/>
                    </a:lnTo>
                    <a:lnTo>
                      <a:pt x="886" y="162"/>
                    </a:lnTo>
                    <a:lnTo>
                      <a:pt x="880" y="165"/>
                    </a:lnTo>
                    <a:lnTo>
                      <a:pt x="876" y="171"/>
                    </a:lnTo>
                    <a:lnTo>
                      <a:pt x="872" y="175"/>
                    </a:lnTo>
                    <a:lnTo>
                      <a:pt x="867" y="179"/>
                    </a:lnTo>
                    <a:lnTo>
                      <a:pt x="863" y="182"/>
                    </a:lnTo>
                    <a:lnTo>
                      <a:pt x="859" y="188"/>
                    </a:lnTo>
                    <a:lnTo>
                      <a:pt x="855" y="192"/>
                    </a:lnTo>
                    <a:lnTo>
                      <a:pt x="851" y="196"/>
                    </a:lnTo>
                    <a:lnTo>
                      <a:pt x="848" y="200"/>
                    </a:lnTo>
                    <a:lnTo>
                      <a:pt x="842" y="205"/>
                    </a:lnTo>
                    <a:lnTo>
                      <a:pt x="838" y="209"/>
                    </a:lnTo>
                    <a:lnTo>
                      <a:pt x="834" y="213"/>
                    </a:lnTo>
                    <a:lnTo>
                      <a:pt x="830" y="217"/>
                    </a:lnTo>
                    <a:lnTo>
                      <a:pt x="827" y="222"/>
                    </a:lnTo>
                    <a:lnTo>
                      <a:pt x="823" y="226"/>
                    </a:lnTo>
                    <a:lnTo>
                      <a:pt x="819" y="230"/>
                    </a:lnTo>
                    <a:lnTo>
                      <a:pt x="815" y="234"/>
                    </a:lnTo>
                    <a:lnTo>
                      <a:pt x="811" y="239"/>
                    </a:lnTo>
                    <a:lnTo>
                      <a:pt x="808" y="245"/>
                    </a:lnTo>
                    <a:lnTo>
                      <a:pt x="804" y="249"/>
                    </a:lnTo>
                    <a:lnTo>
                      <a:pt x="800" y="255"/>
                    </a:lnTo>
                    <a:lnTo>
                      <a:pt x="798" y="260"/>
                    </a:lnTo>
                    <a:lnTo>
                      <a:pt x="794" y="266"/>
                    </a:lnTo>
                    <a:lnTo>
                      <a:pt x="791" y="274"/>
                    </a:lnTo>
                    <a:lnTo>
                      <a:pt x="789" y="279"/>
                    </a:lnTo>
                    <a:lnTo>
                      <a:pt x="785" y="285"/>
                    </a:lnTo>
                    <a:lnTo>
                      <a:pt x="781" y="293"/>
                    </a:lnTo>
                    <a:lnTo>
                      <a:pt x="779" y="300"/>
                    </a:lnTo>
                    <a:lnTo>
                      <a:pt x="775" y="308"/>
                    </a:lnTo>
                    <a:lnTo>
                      <a:pt x="773" y="312"/>
                    </a:lnTo>
                    <a:lnTo>
                      <a:pt x="772" y="316"/>
                    </a:lnTo>
                    <a:lnTo>
                      <a:pt x="772" y="319"/>
                    </a:lnTo>
                    <a:lnTo>
                      <a:pt x="770" y="325"/>
                    </a:lnTo>
                    <a:lnTo>
                      <a:pt x="770" y="319"/>
                    </a:lnTo>
                    <a:lnTo>
                      <a:pt x="770" y="314"/>
                    </a:lnTo>
                    <a:lnTo>
                      <a:pt x="770" y="310"/>
                    </a:lnTo>
                    <a:lnTo>
                      <a:pt x="770" y="306"/>
                    </a:lnTo>
                    <a:lnTo>
                      <a:pt x="770" y="300"/>
                    </a:lnTo>
                    <a:lnTo>
                      <a:pt x="770" y="297"/>
                    </a:lnTo>
                    <a:lnTo>
                      <a:pt x="770" y="295"/>
                    </a:lnTo>
                    <a:lnTo>
                      <a:pt x="770" y="291"/>
                    </a:lnTo>
                    <a:lnTo>
                      <a:pt x="770" y="283"/>
                    </a:lnTo>
                    <a:lnTo>
                      <a:pt x="772" y="277"/>
                    </a:lnTo>
                    <a:lnTo>
                      <a:pt x="773" y="272"/>
                    </a:lnTo>
                    <a:lnTo>
                      <a:pt x="775" y="264"/>
                    </a:lnTo>
                    <a:lnTo>
                      <a:pt x="777" y="258"/>
                    </a:lnTo>
                    <a:lnTo>
                      <a:pt x="779" y="251"/>
                    </a:lnTo>
                    <a:lnTo>
                      <a:pt x="783" y="243"/>
                    </a:lnTo>
                    <a:lnTo>
                      <a:pt x="789" y="238"/>
                    </a:lnTo>
                    <a:lnTo>
                      <a:pt x="791" y="232"/>
                    </a:lnTo>
                    <a:lnTo>
                      <a:pt x="792" y="228"/>
                    </a:lnTo>
                    <a:lnTo>
                      <a:pt x="794" y="224"/>
                    </a:lnTo>
                    <a:lnTo>
                      <a:pt x="798" y="220"/>
                    </a:lnTo>
                    <a:lnTo>
                      <a:pt x="800" y="215"/>
                    </a:lnTo>
                    <a:lnTo>
                      <a:pt x="804" y="211"/>
                    </a:lnTo>
                    <a:lnTo>
                      <a:pt x="808" y="205"/>
                    </a:lnTo>
                    <a:lnTo>
                      <a:pt x="811" y="201"/>
                    </a:lnTo>
                    <a:lnTo>
                      <a:pt x="808" y="201"/>
                    </a:lnTo>
                    <a:lnTo>
                      <a:pt x="806" y="201"/>
                    </a:lnTo>
                    <a:lnTo>
                      <a:pt x="800" y="203"/>
                    </a:lnTo>
                    <a:lnTo>
                      <a:pt x="796" y="207"/>
                    </a:lnTo>
                    <a:lnTo>
                      <a:pt x="791" y="209"/>
                    </a:lnTo>
                    <a:lnTo>
                      <a:pt x="787" y="213"/>
                    </a:lnTo>
                    <a:lnTo>
                      <a:pt x="781" y="215"/>
                    </a:lnTo>
                    <a:lnTo>
                      <a:pt x="777" y="220"/>
                    </a:lnTo>
                    <a:lnTo>
                      <a:pt x="772" y="224"/>
                    </a:lnTo>
                    <a:lnTo>
                      <a:pt x="766" y="230"/>
                    </a:lnTo>
                    <a:lnTo>
                      <a:pt x="762" y="234"/>
                    </a:lnTo>
                    <a:lnTo>
                      <a:pt x="758" y="241"/>
                    </a:lnTo>
                    <a:lnTo>
                      <a:pt x="754" y="247"/>
                    </a:lnTo>
                    <a:lnTo>
                      <a:pt x="751" y="255"/>
                    </a:lnTo>
                    <a:lnTo>
                      <a:pt x="749" y="257"/>
                    </a:lnTo>
                    <a:lnTo>
                      <a:pt x="749" y="260"/>
                    </a:lnTo>
                    <a:lnTo>
                      <a:pt x="747" y="264"/>
                    </a:lnTo>
                    <a:lnTo>
                      <a:pt x="747" y="270"/>
                    </a:lnTo>
                    <a:lnTo>
                      <a:pt x="747" y="274"/>
                    </a:lnTo>
                    <a:lnTo>
                      <a:pt x="747" y="276"/>
                    </a:lnTo>
                    <a:lnTo>
                      <a:pt x="747" y="281"/>
                    </a:lnTo>
                    <a:lnTo>
                      <a:pt x="749" y="283"/>
                    </a:lnTo>
                    <a:lnTo>
                      <a:pt x="749" y="289"/>
                    </a:lnTo>
                    <a:lnTo>
                      <a:pt x="749" y="295"/>
                    </a:lnTo>
                    <a:lnTo>
                      <a:pt x="751" y="300"/>
                    </a:lnTo>
                    <a:lnTo>
                      <a:pt x="751" y="306"/>
                    </a:lnTo>
                    <a:lnTo>
                      <a:pt x="753" y="312"/>
                    </a:lnTo>
                    <a:lnTo>
                      <a:pt x="753" y="319"/>
                    </a:lnTo>
                    <a:lnTo>
                      <a:pt x="753" y="325"/>
                    </a:lnTo>
                    <a:lnTo>
                      <a:pt x="753" y="329"/>
                    </a:lnTo>
                    <a:lnTo>
                      <a:pt x="753" y="333"/>
                    </a:lnTo>
                    <a:lnTo>
                      <a:pt x="754" y="336"/>
                    </a:lnTo>
                    <a:lnTo>
                      <a:pt x="754" y="340"/>
                    </a:lnTo>
                    <a:lnTo>
                      <a:pt x="754" y="344"/>
                    </a:lnTo>
                    <a:lnTo>
                      <a:pt x="754" y="348"/>
                    </a:lnTo>
                    <a:lnTo>
                      <a:pt x="754" y="352"/>
                    </a:lnTo>
                    <a:lnTo>
                      <a:pt x="754" y="357"/>
                    </a:lnTo>
                    <a:lnTo>
                      <a:pt x="754" y="361"/>
                    </a:lnTo>
                    <a:lnTo>
                      <a:pt x="754" y="367"/>
                    </a:lnTo>
                    <a:lnTo>
                      <a:pt x="754" y="373"/>
                    </a:lnTo>
                    <a:lnTo>
                      <a:pt x="754" y="378"/>
                    </a:lnTo>
                    <a:lnTo>
                      <a:pt x="754" y="384"/>
                    </a:lnTo>
                    <a:lnTo>
                      <a:pt x="754" y="390"/>
                    </a:lnTo>
                    <a:lnTo>
                      <a:pt x="754" y="395"/>
                    </a:lnTo>
                    <a:lnTo>
                      <a:pt x="754" y="401"/>
                    </a:lnTo>
                    <a:lnTo>
                      <a:pt x="754" y="407"/>
                    </a:lnTo>
                    <a:lnTo>
                      <a:pt x="754" y="414"/>
                    </a:lnTo>
                    <a:lnTo>
                      <a:pt x="754" y="420"/>
                    </a:lnTo>
                    <a:lnTo>
                      <a:pt x="754" y="426"/>
                    </a:lnTo>
                    <a:lnTo>
                      <a:pt x="754" y="431"/>
                    </a:lnTo>
                    <a:lnTo>
                      <a:pt x="754" y="437"/>
                    </a:lnTo>
                    <a:lnTo>
                      <a:pt x="754" y="445"/>
                    </a:lnTo>
                    <a:lnTo>
                      <a:pt x="754" y="450"/>
                    </a:lnTo>
                    <a:lnTo>
                      <a:pt x="754" y="456"/>
                    </a:lnTo>
                    <a:lnTo>
                      <a:pt x="754" y="462"/>
                    </a:lnTo>
                    <a:lnTo>
                      <a:pt x="754" y="468"/>
                    </a:lnTo>
                    <a:lnTo>
                      <a:pt x="754" y="473"/>
                    </a:lnTo>
                    <a:lnTo>
                      <a:pt x="754" y="479"/>
                    </a:lnTo>
                    <a:lnTo>
                      <a:pt x="754" y="483"/>
                    </a:lnTo>
                    <a:lnTo>
                      <a:pt x="754" y="489"/>
                    </a:lnTo>
                    <a:lnTo>
                      <a:pt x="754" y="492"/>
                    </a:lnTo>
                    <a:lnTo>
                      <a:pt x="754" y="498"/>
                    </a:lnTo>
                    <a:lnTo>
                      <a:pt x="754" y="502"/>
                    </a:lnTo>
                    <a:lnTo>
                      <a:pt x="754" y="506"/>
                    </a:lnTo>
                    <a:lnTo>
                      <a:pt x="754" y="509"/>
                    </a:lnTo>
                    <a:lnTo>
                      <a:pt x="754" y="515"/>
                    </a:lnTo>
                    <a:lnTo>
                      <a:pt x="754" y="523"/>
                    </a:lnTo>
                    <a:lnTo>
                      <a:pt x="754" y="527"/>
                    </a:lnTo>
                    <a:lnTo>
                      <a:pt x="754" y="530"/>
                    </a:lnTo>
                    <a:lnTo>
                      <a:pt x="754" y="534"/>
                    </a:lnTo>
                    <a:lnTo>
                      <a:pt x="754" y="538"/>
                    </a:lnTo>
                    <a:lnTo>
                      <a:pt x="754" y="542"/>
                    </a:lnTo>
                    <a:lnTo>
                      <a:pt x="754" y="546"/>
                    </a:lnTo>
                    <a:lnTo>
                      <a:pt x="754" y="549"/>
                    </a:lnTo>
                    <a:lnTo>
                      <a:pt x="756" y="553"/>
                    </a:lnTo>
                    <a:lnTo>
                      <a:pt x="756" y="557"/>
                    </a:lnTo>
                    <a:lnTo>
                      <a:pt x="756" y="561"/>
                    </a:lnTo>
                    <a:lnTo>
                      <a:pt x="756" y="565"/>
                    </a:lnTo>
                    <a:lnTo>
                      <a:pt x="758" y="568"/>
                    </a:lnTo>
                    <a:lnTo>
                      <a:pt x="758" y="574"/>
                    </a:lnTo>
                    <a:lnTo>
                      <a:pt x="760" y="582"/>
                    </a:lnTo>
                    <a:lnTo>
                      <a:pt x="760" y="587"/>
                    </a:lnTo>
                    <a:lnTo>
                      <a:pt x="760" y="595"/>
                    </a:lnTo>
                    <a:lnTo>
                      <a:pt x="760" y="599"/>
                    </a:lnTo>
                    <a:lnTo>
                      <a:pt x="762" y="604"/>
                    </a:lnTo>
                    <a:lnTo>
                      <a:pt x="762" y="606"/>
                    </a:lnTo>
                    <a:lnTo>
                      <a:pt x="762" y="612"/>
                    </a:lnTo>
                    <a:lnTo>
                      <a:pt x="762" y="614"/>
                    </a:lnTo>
                    <a:lnTo>
                      <a:pt x="762" y="616"/>
                    </a:lnTo>
                    <a:lnTo>
                      <a:pt x="762" y="622"/>
                    </a:lnTo>
                    <a:lnTo>
                      <a:pt x="762" y="625"/>
                    </a:lnTo>
                    <a:lnTo>
                      <a:pt x="762" y="629"/>
                    </a:lnTo>
                    <a:lnTo>
                      <a:pt x="762" y="633"/>
                    </a:lnTo>
                    <a:lnTo>
                      <a:pt x="762" y="639"/>
                    </a:lnTo>
                    <a:lnTo>
                      <a:pt x="762" y="642"/>
                    </a:lnTo>
                    <a:lnTo>
                      <a:pt x="762" y="646"/>
                    </a:lnTo>
                    <a:lnTo>
                      <a:pt x="760" y="650"/>
                    </a:lnTo>
                    <a:lnTo>
                      <a:pt x="760" y="656"/>
                    </a:lnTo>
                    <a:lnTo>
                      <a:pt x="760" y="660"/>
                    </a:lnTo>
                    <a:lnTo>
                      <a:pt x="758" y="663"/>
                    </a:lnTo>
                    <a:lnTo>
                      <a:pt x="756" y="667"/>
                    </a:lnTo>
                    <a:lnTo>
                      <a:pt x="756" y="669"/>
                    </a:lnTo>
                    <a:lnTo>
                      <a:pt x="754" y="673"/>
                    </a:lnTo>
                    <a:lnTo>
                      <a:pt x="749" y="677"/>
                    </a:lnTo>
                    <a:lnTo>
                      <a:pt x="743" y="681"/>
                    </a:lnTo>
                    <a:lnTo>
                      <a:pt x="739" y="682"/>
                    </a:lnTo>
                    <a:lnTo>
                      <a:pt x="734" y="682"/>
                    </a:lnTo>
                    <a:lnTo>
                      <a:pt x="730" y="684"/>
                    </a:lnTo>
                    <a:lnTo>
                      <a:pt x="726" y="686"/>
                    </a:lnTo>
                    <a:lnTo>
                      <a:pt x="720" y="686"/>
                    </a:lnTo>
                    <a:lnTo>
                      <a:pt x="716" y="688"/>
                    </a:lnTo>
                    <a:lnTo>
                      <a:pt x="711" y="688"/>
                    </a:lnTo>
                    <a:lnTo>
                      <a:pt x="707" y="688"/>
                    </a:lnTo>
                    <a:lnTo>
                      <a:pt x="701" y="688"/>
                    </a:lnTo>
                    <a:lnTo>
                      <a:pt x="696" y="688"/>
                    </a:lnTo>
                    <a:lnTo>
                      <a:pt x="690" y="688"/>
                    </a:lnTo>
                    <a:lnTo>
                      <a:pt x="686" y="688"/>
                    </a:lnTo>
                    <a:lnTo>
                      <a:pt x="678" y="688"/>
                    </a:lnTo>
                    <a:lnTo>
                      <a:pt x="673" y="686"/>
                    </a:lnTo>
                    <a:lnTo>
                      <a:pt x="669" y="686"/>
                    </a:lnTo>
                    <a:lnTo>
                      <a:pt x="665" y="684"/>
                    </a:lnTo>
                    <a:lnTo>
                      <a:pt x="661" y="684"/>
                    </a:lnTo>
                    <a:lnTo>
                      <a:pt x="658" y="682"/>
                    </a:lnTo>
                    <a:lnTo>
                      <a:pt x="654" y="682"/>
                    </a:lnTo>
                    <a:lnTo>
                      <a:pt x="652" y="681"/>
                    </a:lnTo>
                    <a:lnTo>
                      <a:pt x="644" y="677"/>
                    </a:lnTo>
                    <a:lnTo>
                      <a:pt x="640" y="675"/>
                    </a:lnTo>
                    <a:lnTo>
                      <a:pt x="637" y="673"/>
                    </a:lnTo>
                    <a:lnTo>
                      <a:pt x="633" y="671"/>
                    </a:lnTo>
                    <a:lnTo>
                      <a:pt x="627" y="667"/>
                    </a:lnTo>
                    <a:lnTo>
                      <a:pt x="621" y="665"/>
                    </a:lnTo>
                    <a:lnTo>
                      <a:pt x="620" y="665"/>
                    </a:lnTo>
                    <a:lnTo>
                      <a:pt x="616" y="663"/>
                    </a:lnTo>
                    <a:lnTo>
                      <a:pt x="612" y="663"/>
                    </a:lnTo>
                    <a:lnTo>
                      <a:pt x="608" y="663"/>
                    </a:lnTo>
                    <a:lnTo>
                      <a:pt x="602" y="663"/>
                    </a:lnTo>
                    <a:lnTo>
                      <a:pt x="599" y="663"/>
                    </a:lnTo>
                    <a:lnTo>
                      <a:pt x="593" y="663"/>
                    </a:lnTo>
                    <a:lnTo>
                      <a:pt x="587" y="663"/>
                    </a:lnTo>
                    <a:lnTo>
                      <a:pt x="580" y="663"/>
                    </a:lnTo>
                    <a:lnTo>
                      <a:pt x="574" y="663"/>
                    </a:lnTo>
                    <a:lnTo>
                      <a:pt x="570" y="663"/>
                    </a:lnTo>
                    <a:lnTo>
                      <a:pt x="566" y="665"/>
                    </a:lnTo>
                    <a:lnTo>
                      <a:pt x="563" y="665"/>
                    </a:lnTo>
                    <a:lnTo>
                      <a:pt x="559" y="667"/>
                    </a:lnTo>
                    <a:lnTo>
                      <a:pt x="553" y="667"/>
                    </a:lnTo>
                    <a:lnTo>
                      <a:pt x="551" y="667"/>
                    </a:lnTo>
                    <a:lnTo>
                      <a:pt x="545" y="667"/>
                    </a:lnTo>
                    <a:lnTo>
                      <a:pt x="544" y="669"/>
                    </a:lnTo>
                    <a:lnTo>
                      <a:pt x="538" y="671"/>
                    </a:lnTo>
                    <a:lnTo>
                      <a:pt x="534" y="671"/>
                    </a:lnTo>
                    <a:lnTo>
                      <a:pt x="530" y="673"/>
                    </a:lnTo>
                    <a:lnTo>
                      <a:pt x="526" y="675"/>
                    </a:lnTo>
                    <a:lnTo>
                      <a:pt x="525" y="675"/>
                    </a:lnTo>
                    <a:lnTo>
                      <a:pt x="521" y="677"/>
                    </a:lnTo>
                    <a:lnTo>
                      <a:pt x="517" y="677"/>
                    </a:lnTo>
                    <a:lnTo>
                      <a:pt x="513" y="679"/>
                    </a:lnTo>
                    <a:lnTo>
                      <a:pt x="509" y="679"/>
                    </a:lnTo>
                    <a:lnTo>
                      <a:pt x="506" y="681"/>
                    </a:lnTo>
                    <a:lnTo>
                      <a:pt x="502" y="681"/>
                    </a:lnTo>
                    <a:lnTo>
                      <a:pt x="498" y="681"/>
                    </a:lnTo>
                    <a:lnTo>
                      <a:pt x="494" y="681"/>
                    </a:lnTo>
                    <a:lnTo>
                      <a:pt x="492" y="682"/>
                    </a:lnTo>
                    <a:lnTo>
                      <a:pt x="487" y="682"/>
                    </a:lnTo>
                    <a:lnTo>
                      <a:pt x="483" y="682"/>
                    </a:lnTo>
                    <a:lnTo>
                      <a:pt x="477" y="682"/>
                    </a:lnTo>
                    <a:lnTo>
                      <a:pt x="471" y="682"/>
                    </a:lnTo>
                    <a:lnTo>
                      <a:pt x="466" y="682"/>
                    </a:lnTo>
                    <a:lnTo>
                      <a:pt x="460" y="682"/>
                    </a:lnTo>
                    <a:lnTo>
                      <a:pt x="454" y="682"/>
                    </a:lnTo>
                    <a:lnTo>
                      <a:pt x="450" y="682"/>
                    </a:lnTo>
                    <a:lnTo>
                      <a:pt x="447" y="681"/>
                    </a:lnTo>
                    <a:lnTo>
                      <a:pt x="443" y="681"/>
                    </a:lnTo>
                    <a:lnTo>
                      <a:pt x="439" y="681"/>
                    </a:lnTo>
                    <a:lnTo>
                      <a:pt x="435" y="681"/>
                    </a:lnTo>
                    <a:lnTo>
                      <a:pt x="430" y="677"/>
                    </a:lnTo>
                    <a:lnTo>
                      <a:pt x="424" y="675"/>
                    </a:lnTo>
                    <a:lnTo>
                      <a:pt x="418" y="671"/>
                    </a:lnTo>
                    <a:lnTo>
                      <a:pt x="416" y="669"/>
                    </a:lnTo>
                    <a:lnTo>
                      <a:pt x="411" y="663"/>
                    </a:lnTo>
                    <a:lnTo>
                      <a:pt x="409" y="660"/>
                    </a:lnTo>
                    <a:lnTo>
                      <a:pt x="407" y="654"/>
                    </a:lnTo>
                    <a:lnTo>
                      <a:pt x="405" y="648"/>
                    </a:lnTo>
                    <a:lnTo>
                      <a:pt x="403" y="646"/>
                    </a:lnTo>
                    <a:lnTo>
                      <a:pt x="401" y="642"/>
                    </a:lnTo>
                    <a:lnTo>
                      <a:pt x="401" y="639"/>
                    </a:lnTo>
                    <a:lnTo>
                      <a:pt x="399" y="635"/>
                    </a:lnTo>
                    <a:lnTo>
                      <a:pt x="399" y="631"/>
                    </a:lnTo>
                    <a:lnTo>
                      <a:pt x="397" y="627"/>
                    </a:lnTo>
                    <a:lnTo>
                      <a:pt x="397" y="622"/>
                    </a:lnTo>
                    <a:lnTo>
                      <a:pt x="395" y="620"/>
                    </a:lnTo>
                    <a:lnTo>
                      <a:pt x="393" y="614"/>
                    </a:lnTo>
                    <a:lnTo>
                      <a:pt x="393" y="608"/>
                    </a:lnTo>
                    <a:lnTo>
                      <a:pt x="392" y="604"/>
                    </a:lnTo>
                    <a:lnTo>
                      <a:pt x="392" y="599"/>
                    </a:lnTo>
                    <a:lnTo>
                      <a:pt x="390" y="595"/>
                    </a:lnTo>
                    <a:lnTo>
                      <a:pt x="390" y="589"/>
                    </a:lnTo>
                    <a:lnTo>
                      <a:pt x="388" y="585"/>
                    </a:lnTo>
                    <a:lnTo>
                      <a:pt x="388" y="582"/>
                    </a:lnTo>
                    <a:lnTo>
                      <a:pt x="386" y="576"/>
                    </a:lnTo>
                    <a:lnTo>
                      <a:pt x="386" y="572"/>
                    </a:lnTo>
                    <a:lnTo>
                      <a:pt x="384" y="566"/>
                    </a:lnTo>
                    <a:lnTo>
                      <a:pt x="384" y="563"/>
                    </a:lnTo>
                    <a:lnTo>
                      <a:pt x="384" y="557"/>
                    </a:lnTo>
                    <a:lnTo>
                      <a:pt x="384" y="553"/>
                    </a:lnTo>
                    <a:lnTo>
                      <a:pt x="384" y="549"/>
                    </a:lnTo>
                    <a:lnTo>
                      <a:pt x="384" y="546"/>
                    </a:lnTo>
                    <a:lnTo>
                      <a:pt x="382" y="542"/>
                    </a:lnTo>
                    <a:lnTo>
                      <a:pt x="382" y="538"/>
                    </a:lnTo>
                    <a:lnTo>
                      <a:pt x="382" y="534"/>
                    </a:lnTo>
                    <a:lnTo>
                      <a:pt x="382" y="530"/>
                    </a:lnTo>
                    <a:lnTo>
                      <a:pt x="382" y="525"/>
                    </a:lnTo>
                    <a:lnTo>
                      <a:pt x="382" y="519"/>
                    </a:lnTo>
                    <a:lnTo>
                      <a:pt x="382" y="515"/>
                    </a:lnTo>
                    <a:lnTo>
                      <a:pt x="382" y="511"/>
                    </a:lnTo>
                    <a:lnTo>
                      <a:pt x="382" y="509"/>
                    </a:lnTo>
                    <a:close/>
                  </a:path>
                </a:pathLst>
              </a:custGeom>
              <a:solidFill>
                <a:srgbClr val="E6FF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198" name="Freeform 10"/>
              <p:cNvSpPr>
                <a:spLocks/>
              </p:cNvSpPr>
              <p:nvPr/>
            </p:nvSpPr>
            <p:spPr bwMode="auto">
              <a:xfrm>
                <a:off x="1500166" y="2786058"/>
                <a:ext cx="1573803" cy="1143008"/>
              </a:xfrm>
              <a:custGeom>
                <a:avLst/>
                <a:gdLst>
                  <a:gd name="T0" fmla="*/ 2147483646 w 15597"/>
                  <a:gd name="T1" fmla="*/ 2147483646 h 10000"/>
                  <a:gd name="T2" fmla="*/ 2147483646 w 15597"/>
                  <a:gd name="T3" fmla="*/ 2147483646 h 10000"/>
                  <a:gd name="T4" fmla="*/ 2147483646 w 15597"/>
                  <a:gd name="T5" fmla="*/ 2147483646 h 10000"/>
                  <a:gd name="T6" fmla="*/ 2147483646 w 15597"/>
                  <a:gd name="T7" fmla="*/ 2147483646 h 10000"/>
                  <a:gd name="T8" fmla="*/ 0 w 15597"/>
                  <a:gd name="T9" fmla="*/ 2147483646 h 10000"/>
                  <a:gd name="T10" fmla="*/ 2147483646 w 15597"/>
                  <a:gd name="T11" fmla="*/ 2147483646 h 10000"/>
                  <a:gd name="T12" fmla="*/ 2147483646 w 15597"/>
                  <a:gd name="T13" fmla="*/ 0 h 10000"/>
                  <a:gd name="T14" fmla="*/ 2147483646 w 15597"/>
                  <a:gd name="T15" fmla="*/ 2147483646 h 10000"/>
                  <a:gd name="T16" fmla="*/ 0 60000 65536"/>
                  <a:gd name="T17" fmla="*/ 0 60000 65536"/>
                  <a:gd name="T18" fmla="*/ 0 60000 65536"/>
                  <a:gd name="T19" fmla="*/ 0 60000 65536"/>
                  <a:gd name="T20" fmla="*/ 0 60000 65536"/>
                  <a:gd name="T21" fmla="*/ 0 60000 65536"/>
                  <a:gd name="T22" fmla="*/ 0 60000 65536"/>
                  <a:gd name="T23" fmla="*/ 0 60000 65536"/>
                  <a:gd name="T24" fmla="*/ 0 w 15597"/>
                  <a:gd name="T25" fmla="*/ 0 h 10000"/>
                  <a:gd name="T26" fmla="*/ 15597 w 15597"/>
                  <a:gd name="T27" fmla="*/ 10000 h 1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597" h="10000">
                    <a:moveTo>
                      <a:pt x="15572" y="331"/>
                    </a:moveTo>
                    <a:cubicBezTo>
                      <a:pt x="15597" y="452"/>
                      <a:pt x="15547" y="920"/>
                      <a:pt x="15572" y="1041"/>
                    </a:cubicBezTo>
                    <a:cubicBezTo>
                      <a:pt x="15461" y="2200"/>
                      <a:pt x="14853" y="2721"/>
                      <a:pt x="14742" y="3880"/>
                    </a:cubicBezTo>
                    <a:lnTo>
                      <a:pt x="6399" y="3841"/>
                    </a:lnTo>
                    <a:lnTo>
                      <a:pt x="0" y="10000"/>
                    </a:lnTo>
                    <a:lnTo>
                      <a:pt x="1782" y="166"/>
                    </a:lnTo>
                    <a:lnTo>
                      <a:pt x="9926" y="0"/>
                    </a:lnTo>
                    <a:lnTo>
                      <a:pt x="15572" y="331"/>
                    </a:lnTo>
                    <a:close/>
                  </a:path>
                </a:pathLst>
              </a:custGeom>
              <a:solidFill>
                <a:srgbClr val="8A99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199" name="Freeform 12"/>
              <p:cNvSpPr>
                <a:spLocks/>
              </p:cNvSpPr>
              <p:nvPr/>
            </p:nvSpPr>
            <p:spPr bwMode="auto">
              <a:xfrm>
                <a:off x="2149476" y="2173288"/>
                <a:ext cx="906463" cy="555625"/>
              </a:xfrm>
              <a:custGeom>
                <a:avLst/>
                <a:gdLst>
                  <a:gd name="T0" fmla="*/ 0 w 1144"/>
                  <a:gd name="T1" fmla="*/ 2147483646 h 702"/>
                  <a:gd name="T2" fmla="*/ 2147483646 w 1144"/>
                  <a:gd name="T3" fmla="*/ 2147483646 h 702"/>
                  <a:gd name="T4" fmla="*/ 2147483646 w 1144"/>
                  <a:gd name="T5" fmla="*/ 2147483646 h 702"/>
                  <a:gd name="T6" fmla="*/ 2147483646 w 1144"/>
                  <a:gd name="T7" fmla="*/ 2147483646 h 702"/>
                  <a:gd name="T8" fmla="*/ 2147483646 w 1144"/>
                  <a:gd name="T9" fmla="*/ 2147483646 h 702"/>
                  <a:gd name="T10" fmla="*/ 2147483646 w 1144"/>
                  <a:gd name="T11" fmla="*/ 2147483646 h 702"/>
                  <a:gd name="T12" fmla="*/ 2147483646 w 1144"/>
                  <a:gd name="T13" fmla="*/ 2147483646 h 702"/>
                  <a:gd name="T14" fmla="*/ 2147483646 w 1144"/>
                  <a:gd name="T15" fmla="*/ 2147483646 h 702"/>
                  <a:gd name="T16" fmla="*/ 2147483646 w 1144"/>
                  <a:gd name="T17" fmla="*/ 2147483646 h 702"/>
                  <a:gd name="T18" fmla="*/ 2147483646 w 1144"/>
                  <a:gd name="T19" fmla="*/ 2147483646 h 702"/>
                  <a:gd name="T20" fmla="*/ 2147483646 w 1144"/>
                  <a:gd name="T21" fmla="*/ 2147483646 h 702"/>
                  <a:gd name="T22" fmla="*/ 2147483646 w 1144"/>
                  <a:gd name="T23" fmla="*/ 2147483646 h 702"/>
                  <a:gd name="T24" fmla="*/ 2147483646 w 1144"/>
                  <a:gd name="T25" fmla="*/ 2147483646 h 702"/>
                  <a:gd name="T26" fmla="*/ 2147483646 w 1144"/>
                  <a:gd name="T27" fmla="*/ 2147483646 h 702"/>
                  <a:gd name="T28" fmla="*/ 2147483646 w 1144"/>
                  <a:gd name="T29" fmla="*/ 2147483646 h 702"/>
                  <a:gd name="T30" fmla="*/ 2147483646 w 1144"/>
                  <a:gd name="T31" fmla="*/ 2147483646 h 702"/>
                  <a:gd name="T32" fmla="*/ 2147483646 w 1144"/>
                  <a:gd name="T33" fmla="*/ 2147483646 h 702"/>
                  <a:gd name="T34" fmla="*/ 2147483646 w 1144"/>
                  <a:gd name="T35" fmla="*/ 2147483646 h 702"/>
                  <a:gd name="T36" fmla="*/ 2147483646 w 1144"/>
                  <a:gd name="T37" fmla="*/ 2147483646 h 702"/>
                  <a:gd name="T38" fmla="*/ 2147483646 w 1144"/>
                  <a:gd name="T39" fmla="*/ 2147483646 h 702"/>
                  <a:gd name="T40" fmla="*/ 2147483646 w 1144"/>
                  <a:gd name="T41" fmla="*/ 2147483646 h 702"/>
                  <a:gd name="T42" fmla="*/ 2147483646 w 1144"/>
                  <a:gd name="T43" fmla="*/ 2147483646 h 702"/>
                  <a:gd name="T44" fmla="*/ 2147483646 w 1144"/>
                  <a:gd name="T45" fmla="*/ 2147483646 h 702"/>
                  <a:gd name="T46" fmla="*/ 2147483646 w 1144"/>
                  <a:gd name="T47" fmla="*/ 2147483646 h 702"/>
                  <a:gd name="T48" fmla="*/ 2147483646 w 1144"/>
                  <a:gd name="T49" fmla="*/ 2147483646 h 702"/>
                  <a:gd name="T50" fmla="*/ 2147483646 w 1144"/>
                  <a:gd name="T51" fmla="*/ 2147483646 h 702"/>
                  <a:gd name="T52" fmla="*/ 2147483646 w 1144"/>
                  <a:gd name="T53" fmla="*/ 2147483646 h 702"/>
                  <a:gd name="T54" fmla="*/ 2147483646 w 1144"/>
                  <a:gd name="T55" fmla="*/ 2147483646 h 702"/>
                  <a:gd name="T56" fmla="*/ 2147483646 w 1144"/>
                  <a:gd name="T57" fmla="*/ 2147483646 h 702"/>
                  <a:gd name="T58" fmla="*/ 2147483646 w 1144"/>
                  <a:gd name="T59" fmla="*/ 2147483646 h 702"/>
                  <a:gd name="T60" fmla="*/ 2147483646 w 1144"/>
                  <a:gd name="T61" fmla="*/ 2147483646 h 702"/>
                  <a:gd name="T62" fmla="*/ 2147483646 w 1144"/>
                  <a:gd name="T63" fmla="*/ 2147483646 h 702"/>
                  <a:gd name="T64" fmla="*/ 2147483646 w 1144"/>
                  <a:gd name="T65" fmla="*/ 2147483646 h 702"/>
                  <a:gd name="T66" fmla="*/ 2147483646 w 1144"/>
                  <a:gd name="T67" fmla="*/ 2147483646 h 702"/>
                  <a:gd name="T68" fmla="*/ 2147483646 w 1144"/>
                  <a:gd name="T69" fmla="*/ 2147483646 h 702"/>
                  <a:gd name="T70" fmla="*/ 2147483646 w 1144"/>
                  <a:gd name="T71" fmla="*/ 2147483646 h 702"/>
                  <a:gd name="T72" fmla="*/ 2147483646 w 1144"/>
                  <a:gd name="T73" fmla="*/ 0 h 702"/>
                  <a:gd name="T74" fmla="*/ 2147483646 w 1144"/>
                  <a:gd name="T75" fmla="*/ 0 h 702"/>
                  <a:gd name="T76" fmla="*/ 2147483646 w 1144"/>
                  <a:gd name="T77" fmla="*/ 2147483646 h 702"/>
                  <a:gd name="T78" fmla="*/ 2147483646 w 1144"/>
                  <a:gd name="T79" fmla="*/ 2147483646 h 702"/>
                  <a:gd name="T80" fmla="*/ 2147483646 w 1144"/>
                  <a:gd name="T81" fmla="*/ 2147483646 h 702"/>
                  <a:gd name="T82" fmla="*/ 2147483646 w 1144"/>
                  <a:gd name="T83" fmla="*/ 2147483646 h 702"/>
                  <a:gd name="T84" fmla="*/ 2147483646 w 1144"/>
                  <a:gd name="T85" fmla="*/ 2147483646 h 702"/>
                  <a:gd name="T86" fmla="*/ 2147483646 w 1144"/>
                  <a:gd name="T87" fmla="*/ 2147483646 h 702"/>
                  <a:gd name="T88" fmla="*/ 2147483646 w 1144"/>
                  <a:gd name="T89" fmla="*/ 2147483646 h 702"/>
                  <a:gd name="T90" fmla="*/ 2147483646 w 1144"/>
                  <a:gd name="T91" fmla="*/ 2147483646 h 702"/>
                  <a:gd name="T92" fmla="*/ 2147483646 w 1144"/>
                  <a:gd name="T93" fmla="*/ 2147483646 h 702"/>
                  <a:gd name="T94" fmla="*/ 2147483646 w 1144"/>
                  <a:gd name="T95" fmla="*/ 2147483646 h 702"/>
                  <a:gd name="T96" fmla="*/ 2147483646 w 1144"/>
                  <a:gd name="T97" fmla="*/ 2147483646 h 702"/>
                  <a:gd name="T98" fmla="*/ 0 w 1144"/>
                  <a:gd name="T99" fmla="*/ 2147483646 h 702"/>
                  <a:gd name="T100" fmla="*/ 0 w 1144"/>
                  <a:gd name="T101" fmla="*/ 2147483646 h 7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4"/>
                  <a:gd name="T154" fmla="*/ 0 h 702"/>
                  <a:gd name="T155" fmla="*/ 1144 w 1144"/>
                  <a:gd name="T156" fmla="*/ 702 h 70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4" h="702">
                    <a:moveTo>
                      <a:pt x="0" y="702"/>
                    </a:moveTo>
                    <a:lnTo>
                      <a:pt x="540" y="694"/>
                    </a:lnTo>
                    <a:lnTo>
                      <a:pt x="538" y="694"/>
                    </a:lnTo>
                    <a:lnTo>
                      <a:pt x="538" y="692"/>
                    </a:lnTo>
                    <a:lnTo>
                      <a:pt x="538" y="687"/>
                    </a:lnTo>
                    <a:lnTo>
                      <a:pt x="538" y="683"/>
                    </a:lnTo>
                    <a:lnTo>
                      <a:pt x="536" y="679"/>
                    </a:lnTo>
                    <a:lnTo>
                      <a:pt x="536" y="675"/>
                    </a:lnTo>
                    <a:lnTo>
                      <a:pt x="534" y="673"/>
                    </a:lnTo>
                    <a:lnTo>
                      <a:pt x="534" y="670"/>
                    </a:lnTo>
                    <a:lnTo>
                      <a:pt x="534" y="666"/>
                    </a:lnTo>
                    <a:lnTo>
                      <a:pt x="534" y="660"/>
                    </a:lnTo>
                    <a:lnTo>
                      <a:pt x="534" y="656"/>
                    </a:lnTo>
                    <a:lnTo>
                      <a:pt x="534" y="652"/>
                    </a:lnTo>
                    <a:lnTo>
                      <a:pt x="534" y="647"/>
                    </a:lnTo>
                    <a:lnTo>
                      <a:pt x="534" y="641"/>
                    </a:lnTo>
                    <a:lnTo>
                      <a:pt x="532" y="635"/>
                    </a:lnTo>
                    <a:lnTo>
                      <a:pt x="532" y="632"/>
                    </a:lnTo>
                    <a:lnTo>
                      <a:pt x="532" y="624"/>
                    </a:lnTo>
                    <a:lnTo>
                      <a:pt x="532" y="618"/>
                    </a:lnTo>
                    <a:lnTo>
                      <a:pt x="532" y="612"/>
                    </a:lnTo>
                    <a:lnTo>
                      <a:pt x="534" y="607"/>
                    </a:lnTo>
                    <a:lnTo>
                      <a:pt x="534" y="601"/>
                    </a:lnTo>
                    <a:lnTo>
                      <a:pt x="534" y="593"/>
                    </a:lnTo>
                    <a:lnTo>
                      <a:pt x="534" y="588"/>
                    </a:lnTo>
                    <a:lnTo>
                      <a:pt x="534" y="582"/>
                    </a:lnTo>
                    <a:lnTo>
                      <a:pt x="534" y="574"/>
                    </a:lnTo>
                    <a:lnTo>
                      <a:pt x="536" y="569"/>
                    </a:lnTo>
                    <a:lnTo>
                      <a:pt x="538" y="561"/>
                    </a:lnTo>
                    <a:lnTo>
                      <a:pt x="540" y="555"/>
                    </a:lnTo>
                    <a:lnTo>
                      <a:pt x="597" y="542"/>
                    </a:lnTo>
                    <a:lnTo>
                      <a:pt x="640" y="502"/>
                    </a:lnTo>
                    <a:lnTo>
                      <a:pt x="688" y="516"/>
                    </a:lnTo>
                    <a:lnTo>
                      <a:pt x="726" y="609"/>
                    </a:lnTo>
                    <a:lnTo>
                      <a:pt x="766" y="687"/>
                    </a:lnTo>
                    <a:lnTo>
                      <a:pt x="1144" y="679"/>
                    </a:lnTo>
                    <a:lnTo>
                      <a:pt x="1134" y="0"/>
                    </a:lnTo>
                    <a:lnTo>
                      <a:pt x="418" y="0"/>
                    </a:lnTo>
                    <a:lnTo>
                      <a:pt x="530" y="65"/>
                    </a:lnTo>
                    <a:lnTo>
                      <a:pt x="426" y="147"/>
                    </a:lnTo>
                    <a:lnTo>
                      <a:pt x="390" y="293"/>
                    </a:lnTo>
                    <a:lnTo>
                      <a:pt x="262" y="335"/>
                    </a:lnTo>
                    <a:lnTo>
                      <a:pt x="340" y="407"/>
                    </a:lnTo>
                    <a:lnTo>
                      <a:pt x="211" y="428"/>
                    </a:lnTo>
                    <a:lnTo>
                      <a:pt x="306" y="510"/>
                    </a:lnTo>
                    <a:lnTo>
                      <a:pt x="167" y="510"/>
                    </a:lnTo>
                    <a:lnTo>
                      <a:pt x="302" y="573"/>
                    </a:lnTo>
                    <a:lnTo>
                      <a:pt x="108" y="605"/>
                    </a:lnTo>
                    <a:lnTo>
                      <a:pt x="274" y="647"/>
                    </a:lnTo>
                    <a:lnTo>
                      <a:pt x="0" y="702"/>
                    </a:lnTo>
                    <a:close/>
                  </a:path>
                </a:pathLst>
              </a:custGeom>
              <a:solidFill>
                <a:srgbClr val="A67A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00" name="Freeform 13"/>
              <p:cNvSpPr>
                <a:spLocks/>
              </p:cNvSpPr>
              <p:nvPr/>
            </p:nvSpPr>
            <p:spPr bwMode="auto">
              <a:xfrm>
                <a:off x="1854187" y="2214554"/>
                <a:ext cx="931863" cy="555625"/>
              </a:xfrm>
              <a:custGeom>
                <a:avLst/>
                <a:gdLst>
                  <a:gd name="T0" fmla="*/ 2147483646 w 1174"/>
                  <a:gd name="T1" fmla="*/ 2147483646 h 702"/>
                  <a:gd name="T2" fmla="*/ 2147483646 w 1174"/>
                  <a:gd name="T3" fmla="*/ 2147483646 h 702"/>
                  <a:gd name="T4" fmla="*/ 2147483646 w 1174"/>
                  <a:gd name="T5" fmla="*/ 2147483646 h 702"/>
                  <a:gd name="T6" fmla="*/ 2147483646 w 1174"/>
                  <a:gd name="T7" fmla="*/ 2147483646 h 702"/>
                  <a:gd name="T8" fmla="*/ 2147483646 w 1174"/>
                  <a:gd name="T9" fmla="*/ 2147483646 h 702"/>
                  <a:gd name="T10" fmla="*/ 2147483646 w 1174"/>
                  <a:gd name="T11" fmla="*/ 2147483646 h 702"/>
                  <a:gd name="T12" fmla="*/ 2147483646 w 1174"/>
                  <a:gd name="T13" fmla="*/ 2147483646 h 702"/>
                  <a:gd name="T14" fmla="*/ 2147483646 w 1174"/>
                  <a:gd name="T15" fmla="*/ 2147483646 h 702"/>
                  <a:gd name="T16" fmla="*/ 2147483646 w 1174"/>
                  <a:gd name="T17" fmla="*/ 2147483646 h 702"/>
                  <a:gd name="T18" fmla="*/ 2147483646 w 1174"/>
                  <a:gd name="T19" fmla="*/ 2147483646 h 702"/>
                  <a:gd name="T20" fmla="*/ 2147483646 w 1174"/>
                  <a:gd name="T21" fmla="*/ 2147483646 h 702"/>
                  <a:gd name="T22" fmla="*/ 2147483646 w 1174"/>
                  <a:gd name="T23" fmla="*/ 2147483646 h 702"/>
                  <a:gd name="T24" fmla="*/ 2147483646 w 1174"/>
                  <a:gd name="T25" fmla="*/ 2147483646 h 702"/>
                  <a:gd name="T26" fmla="*/ 2147483646 w 1174"/>
                  <a:gd name="T27" fmla="*/ 2147483646 h 702"/>
                  <a:gd name="T28" fmla="*/ 2147483646 w 1174"/>
                  <a:gd name="T29" fmla="*/ 2147483646 h 702"/>
                  <a:gd name="T30" fmla="*/ 2147483646 w 1174"/>
                  <a:gd name="T31" fmla="*/ 2147483646 h 702"/>
                  <a:gd name="T32" fmla="*/ 0 w 1174"/>
                  <a:gd name="T33" fmla="*/ 2147483646 h 702"/>
                  <a:gd name="T34" fmla="*/ 2147483646 w 1174"/>
                  <a:gd name="T35" fmla="*/ 2147483646 h 702"/>
                  <a:gd name="T36" fmla="*/ 2147483646 w 1174"/>
                  <a:gd name="T37" fmla="*/ 2147483646 h 702"/>
                  <a:gd name="T38" fmla="*/ 2147483646 w 1174"/>
                  <a:gd name="T39" fmla="*/ 2147483646 h 702"/>
                  <a:gd name="T40" fmla="*/ 2147483646 w 1174"/>
                  <a:gd name="T41" fmla="*/ 2147483646 h 702"/>
                  <a:gd name="T42" fmla="*/ 2147483646 w 1174"/>
                  <a:gd name="T43" fmla="*/ 2147483646 h 702"/>
                  <a:gd name="T44" fmla="*/ 2147483646 w 1174"/>
                  <a:gd name="T45" fmla="*/ 2147483646 h 702"/>
                  <a:gd name="T46" fmla="*/ 2147483646 w 1174"/>
                  <a:gd name="T47" fmla="*/ 2147483646 h 702"/>
                  <a:gd name="T48" fmla="*/ 2147483646 w 1174"/>
                  <a:gd name="T49" fmla="*/ 2147483646 h 702"/>
                  <a:gd name="T50" fmla="*/ 2147483646 w 1174"/>
                  <a:gd name="T51" fmla="*/ 2147483646 h 702"/>
                  <a:gd name="T52" fmla="*/ 2147483646 w 1174"/>
                  <a:gd name="T53" fmla="*/ 2147483646 h 702"/>
                  <a:gd name="T54" fmla="*/ 2147483646 w 1174"/>
                  <a:gd name="T55" fmla="*/ 2147483646 h 702"/>
                  <a:gd name="T56" fmla="*/ 2147483646 w 1174"/>
                  <a:gd name="T57" fmla="*/ 2147483646 h 702"/>
                  <a:gd name="T58" fmla="*/ 2147483646 w 1174"/>
                  <a:gd name="T59" fmla="*/ 2147483646 h 702"/>
                  <a:gd name="T60" fmla="*/ 2147483646 w 1174"/>
                  <a:gd name="T61" fmla="*/ 2147483646 h 702"/>
                  <a:gd name="T62" fmla="*/ 2147483646 w 1174"/>
                  <a:gd name="T63" fmla="*/ 2147483646 h 702"/>
                  <a:gd name="T64" fmla="*/ 2147483646 w 1174"/>
                  <a:gd name="T65" fmla="*/ 2147483646 h 702"/>
                  <a:gd name="T66" fmla="*/ 2147483646 w 1174"/>
                  <a:gd name="T67" fmla="*/ 0 h 702"/>
                  <a:gd name="T68" fmla="*/ 2147483646 w 1174"/>
                  <a:gd name="T69" fmla="*/ 2147483646 h 702"/>
                  <a:gd name="T70" fmla="*/ 2147483646 w 1174"/>
                  <a:gd name="T71" fmla="*/ 2147483646 h 70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74"/>
                  <a:gd name="T109" fmla="*/ 0 h 702"/>
                  <a:gd name="T110" fmla="*/ 1174 w 1174"/>
                  <a:gd name="T111" fmla="*/ 702 h 70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74" h="702">
                    <a:moveTo>
                      <a:pt x="290" y="4"/>
                    </a:moveTo>
                    <a:lnTo>
                      <a:pt x="784" y="65"/>
                    </a:lnTo>
                    <a:lnTo>
                      <a:pt x="325" y="86"/>
                    </a:lnTo>
                    <a:lnTo>
                      <a:pt x="572" y="116"/>
                    </a:lnTo>
                    <a:lnTo>
                      <a:pt x="688" y="171"/>
                    </a:lnTo>
                    <a:lnTo>
                      <a:pt x="686" y="244"/>
                    </a:lnTo>
                    <a:lnTo>
                      <a:pt x="28" y="248"/>
                    </a:lnTo>
                    <a:lnTo>
                      <a:pt x="631" y="306"/>
                    </a:lnTo>
                    <a:lnTo>
                      <a:pt x="36" y="339"/>
                    </a:lnTo>
                    <a:lnTo>
                      <a:pt x="589" y="400"/>
                    </a:lnTo>
                    <a:lnTo>
                      <a:pt x="32" y="430"/>
                    </a:lnTo>
                    <a:lnTo>
                      <a:pt x="536" y="485"/>
                    </a:lnTo>
                    <a:lnTo>
                      <a:pt x="21" y="516"/>
                    </a:lnTo>
                    <a:lnTo>
                      <a:pt x="536" y="565"/>
                    </a:lnTo>
                    <a:lnTo>
                      <a:pt x="15" y="588"/>
                    </a:lnTo>
                    <a:lnTo>
                      <a:pt x="492" y="651"/>
                    </a:lnTo>
                    <a:lnTo>
                      <a:pt x="0" y="673"/>
                    </a:lnTo>
                    <a:lnTo>
                      <a:pt x="304" y="702"/>
                    </a:lnTo>
                    <a:lnTo>
                      <a:pt x="775" y="664"/>
                    </a:lnTo>
                    <a:lnTo>
                      <a:pt x="526" y="618"/>
                    </a:lnTo>
                    <a:lnTo>
                      <a:pt x="809" y="580"/>
                    </a:lnTo>
                    <a:lnTo>
                      <a:pt x="551" y="529"/>
                    </a:lnTo>
                    <a:lnTo>
                      <a:pt x="815" y="500"/>
                    </a:lnTo>
                    <a:lnTo>
                      <a:pt x="560" y="447"/>
                    </a:lnTo>
                    <a:lnTo>
                      <a:pt x="902" y="420"/>
                    </a:lnTo>
                    <a:lnTo>
                      <a:pt x="593" y="352"/>
                    </a:lnTo>
                    <a:lnTo>
                      <a:pt x="938" y="325"/>
                    </a:lnTo>
                    <a:lnTo>
                      <a:pt x="714" y="267"/>
                    </a:lnTo>
                    <a:lnTo>
                      <a:pt x="1100" y="228"/>
                    </a:lnTo>
                    <a:lnTo>
                      <a:pt x="729" y="158"/>
                    </a:lnTo>
                    <a:lnTo>
                      <a:pt x="1166" y="139"/>
                    </a:lnTo>
                    <a:lnTo>
                      <a:pt x="828" y="84"/>
                    </a:lnTo>
                    <a:lnTo>
                      <a:pt x="1174" y="44"/>
                    </a:lnTo>
                    <a:lnTo>
                      <a:pt x="716" y="0"/>
                    </a:lnTo>
                    <a:lnTo>
                      <a:pt x="290" y="4"/>
                    </a:lnTo>
                    <a:close/>
                  </a:path>
                </a:pathLst>
              </a:custGeom>
              <a:solidFill>
                <a:srgbClr val="8C5E2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01" name="Freeform 19"/>
              <p:cNvSpPr>
                <a:spLocks/>
              </p:cNvSpPr>
              <p:nvPr/>
            </p:nvSpPr>
            <p:spPr bwMode="auto">
              <a:xfrm>
                <a:off x="2695576" y="3906838"/>
                <a:ext cx="88900" cy="63500"/>
              </a:xfrm>
              <a:custGeom>
                <a:avLst/>
                <a:gdLst>
                  <a:gd name="T0" fmla="*/ 2147483646 w 112"/>
                  <a:gd name="T1" fmla="*/ 0 h 79"/>
                  <a:gd name="T2" fmla="*/ 2147483646 w 112"/>
                  <a:gd name="T3" fmla="*/ 2147483646 h 79"/>
                  <a:gd name="T4" fmla="*/ 2147483646 w 112"/>
                  <a:gd name="T5" fmla="*/ 2147483646 h 79"/>
                  <a:gd name="T6" fmla="*/ 2147483646 w 112"/>
                  <a:gd name="T7" fmla="*/ 2147483646 h 79"/>
                  <a:gd name="T8" fmla="*/ 2147483646 w 112"/>
                  <a:gd name="T9" fmla="*/ 2147483646 h 79"/>
                  <a:gd name="T10" fmla="*/ 2147483646 w 112"/>
                  <a:gd name="T11" fmla="*/ 2147483646 h 79"/>
                  <a:gd name="T12" fmla="*/ 2147483646 w 112"/>
                  <a:gd name="T13" fmla="*/ 2147483646 h 79"/>
                  <a:gd name="T14" fmla="*/ 2147483646 w 112"/>
                  <a:gd name="T15" fmla="*/ 2147483646 h 79"/>
                  <a:gd name="T16" fmla="*/ 2147483646 w 112"/>
                  <a:gd name="T17" fmla="*/ 2147483646 h 79"/>
                  <a:gd name="T18" fmla="*/ 2147483646 w 112"/>
                  <a:gd name="T19" fmla="*/ 2147483646 h 79"/>
                  <a:gd name="T20" fmla="*/ 2147483646 w 112"/>
                  <a:gd name="T21" fmla="*/ 2147483646 h 79"/>
                  <a:gd name="T22" fmla="*/ 2147483646 w 112"/>
                  <a:gd name="T23" fmla="*/ 2147483646 h 79"/>
                  <a:gd name="T24" fmla="*/ 2147483646 w 112"/>
                  <a:gd name="T25" fmla="*/ 2147483646 h 79"/>
                  <a:gd name="T26" fmla="*/ 2147483646 w 112"/>
                  <a:gd name="T27" fmla="*/ 2147483646 h 79"/>
                  <a:gd name="T28" fmla="*/ 2147483646 w 112"/>
                  <a:gd name="T29" fmla="*/ 2147483646 h 79"/>
                  <a:gd name="T30" fmla="*/ 2147483646 w 112"/>
                  <a:gd name="T31" fmla="*/ 2147483646 h 79"/>
                  <a:gd name="T32" fmla="*/ 2147483646 w 112"/>
                  <a:gd name="T33" fmla="*/ 2147483646 h 79"/>
                  <a:gd name="T34" fmla="*/ 2147483646 w 112"/>
                  <a:gd name="T35" fmla="*/ 2147483646 h 79"/>
                  <a:gd name="T36" fmla="*/ 2147483646 w 112"/>
                  <a:gd name="T37" fmla="*/ 2147483646 h 79"/>
                  <a:gd name="T38" fmla="*/ 2147483646 w 112"/>
                  <a:gd name="T39" fmla="*/ 2147483646 h 79"/>
                  <a:gd name="T40" fmla="*/ 2147483646 w 112"/>
                  <a:gd name="T41" fmla="*/ 2147483646 h 79"/>
                  <a:gd name="T42" fmla="*/ 2147483646 w 112"/>
                  <a:gd name="T43" fmla="*/ 2147483646 h 79"/>
                  <a:gd name="T44" fmla="*/ 2147483646 w 112"/>
                  <a:gd name="T45" fmla="*/ 2147483646 h 79"/>
                  <a:gd name="T46" fmla="*/ 2147483646 w 112"/>
                  <a:gd name="T47" fmla="*/ 2147483646 h 79"/>
                  <a:gd name="T48" fmla="*/ 2147483646 w 112"/>
                  <a:gd name="T49" fmla="*/ 2147483646 h 79"/>
                  <a:gd name="T50" fmla="*/ 2147483646 w 112"/>
                  <a:gd name="T51" fmla="*/ 2147483646 h 79"/>
                  <a:gd name="T52" fmla="*/ 2147483646 w 112"/>
                  <a:gd name="T53" fmla="*/ 2147483646 h 79"/>
                  <a:gd name="T54" fmla="*/ 2147483646 w 112"/>
                  <a:gd name="T55" fmla="*/ 2147483646 h 79"/>
                  <a:gd name="T56" fmla="*/ 2147483646 w 112"/>
                  <a:gd name="T57" fmla="*/ 2147483646 h 79"/>
                  <a:gd name="T58" fmla="*/ 0 w 112"/>
                  <a:gd name="T59" fmla="*/ 2147483646 h 79"/>
                  <a:gd name="T60" fmla="*/ 0 w 112"/>
                  <a:gd name="T61" fmla="*/ 2147483646 h 79"/>
                  <a:gd name="T62" fmla="*/ 2147483646 w 112"/>
                  <a:gd name="T63" fmla="*/ 2147483646 h 79"/>
                  <a:gd name="T64" fmla="*/ 2147483646 w 112"/>
                  <a:gd name="T65" fmla="*/ 2147483646 h 79"/>
                  <a:gd name="T66" fmla="*/ 2147483646 w 112"/>
                  <a:gd name="T67" fmla="*/ 2147483646 h 79"/>
                  <a:gd name="T68" fmla="*/ 2147483646 w 112"/>
                  <a:gd name="T69" fmla="*/ 2147483646 h 79"/>
                  <a:gd name="T70" fmla="*/ 2147483646 w 112"/>
                  <a:gd name="T71" fmla="*/ 2147483646 h 79"/>
                  <a:gd name="T72" fmla="*/ 2147483646 w 112"/>
                  <a:gd name="T73" fmla="*/ 2147483646 h 79"/>
                  <a:gd name="T74" fmla="*/ 2147483646 w 112"/>
                  <a:gd name="T75" fmla="*/ 2147483646 h 79"/>
                  <a:gd name="T76" fmla="*/ 2147483646 w 112"/>
                  <a:gd name="T77" fmla="*/ 2147483646 h 79"/>
                  <a:gd name="T78" fmla="*/ 2147483646 w 112"/>
                  <a:gd name="T79" fmla="*/ 2147483646 h 79"/>
                  <a:gd name="T80" fmla="*/ 2147483646 w 112"/>
                  <a:gd name="T81" fmla="*/ 2147483646 h 79"/>
                  <a:gd name="T82" fmla="*/ 2147483646 w 112"/>
                  <a:gd name="T83" fmla="*/ 2147483646 h 79"/>
                  <a:gd name="T84" fmla="*/ 2147483646 w 112"/>
                  <a:gd name="T85" fmla="*/ 2147483646 h 79"/>
                  <a:gd name="T86" fmla="*/ 2147483646 w 112"/>
                  <a:gd name="T87" fmla="*/ 2147483646 h 79"/>
                  <a:gd name="T88" fmla="*/ 2147483646 w 112"/>
                  <a:gd name="T89" fmla="*/ 2147483646 h 79"/>
                  <a:gd name="T90" fmla="*/ 2147483646 w 112"/>
                  <a:gd name="T91" fmla="*/ 2147483646 h 79"/>
                  <a:gd name="T92" fmla="*/ 2147483646 w 112"/>
                  <a:gd name="T93" fmla="*/ 2147483646 h 79"/>
                  <a:gd name="T94" fmla="*/ 2147483646 w 112"/>
                  <a:gd name="T95" fmla="*/ 2147483646 h 79"/>
                  <a:gd name="T96" fmla="*/ 2147483646 w 112"/>
                  <a:gd name="T97" fmla="*/ 2147483646 h 79"/>
                  <a:gd name="T98" fmla="*/ 2147483646 w 112"/>
                  <a:gd name="T99" fmla="*/ 2147483646 h 79"/>
                  <a:gd name="T100" fmla="*/ 2147483646 w 112"/>
                  <a:gd name="T101" fmla="*/ 2147483646 h 79"/>
                  <a:gd name="T102" fmla="*/ 2147483646 w 112"/>
                  <a:gd name="T103" fmla="*/ 2147483646 h 79"/>
                  <a:gd name="T104" fmla="*/ 2147483646 w 112"/>
                  <a:gd name="T105" fmla="*/ 0 h 79"/>
                  <a:gd name="T106" fmla="*/ 2147483646 w 112"/>
                  <a:gd name="T107" fmla="*/ 0 h 79"/>
                  <a:gd name="T108" fmla="*/ 2147483646 w 112"/>
                  <a:gd name="T109" fmla="*/ 0 h 7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2"/>
                  <a:gd name="T166" fmla="*/ 0 h 79"/>
                  <a:gd name="T167" fmla="*/ 112 w 112"/>
                  <a:gd name="T168" fmla="*/ 79 h 7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2" h="79">
                    <a:moveTo>
                      <a:pt x="93" y="0"/>
                    </a:moveTo>
                    <a:lnTo>
                      <a:pt x="112" y="72"/>
                    </a:lnTo>
                    <a:lnTo>
                      <a:pt x="110" y="72"/>
                    </a:lnTo>
                    <a:lnTo>
                      <a:pt x="106" y="74"/>
                    </a:lnTo>
                    <a:lnTo>
                      <a:pt x="102" y="74"/>
                    </a:lnTo>
                    <a:lnTo>
                      <a:pt x="100" y="76"/>
                    </a:lnTo>
                    <a:lnTo>
                      <a:pt x="97" y="76"/>
                    </a:lnTo>
                    <a:lnTo>
                      <a:pt x="93" y="78"/>
                    </a:lnTo>
                    <a:lnTo>
                      <a:pt x="89" y="78"/>
                    </a:lnTo>
                    <a:lnTo>
                      <a:pt x="83" y="79"/>
                    </a:lnTo>
                    <a:lnTo>
                      <a:pt x="80" y="79"/>
                    </a:lnTo>
                    <a:lnTo>
                      <a:pt x="74" y="79"/>
                    </a:lnTo>
                    <a:lnTo>
                      <a:pt x="68" y="79"/>
                    </a:lnTo>
                    <a:lnTo>
                      <a:pt x="62" y="79"/>
                    </a:lnTo>
                    <a:lnTo>
                      <a:pt x="59" y="79"/>
                    </a:lnTo>
                    <a:lnTo>
                      <a:pt x="53" y="78"/>
                    </a:lnTo>
                    <a:lnTo>
                      <a:pt x="45" y="76"/>
                    </a:lnTo>
                    <a:lnTo>
                      <a:pt x="40" y="74"/>
                    </a:lnTo>
                    <a:lnTo>
                      <a:pt x="34" y="72"/>
                    </a:lnTo>
                    <a:lnTo>
                      <a:pt x="30" y="70"/>
                    </a:lnTo>
                    <a:lnTo>
                      <a:pt x="26" y="66"/>
                    </a:lnTo>
                    <a:lnTo>
                      <a:pt x="21" y="62"/>
                    </a:lnTo>
                    <a:lnTo>
                      <a:pt x="19" y="59"/>
                    </a:lnTo>
                    <a:lnTo>
                      <a:pt x="15" y="55"/>
                    </a:lnTo>
                    <a:lnTo>
                      <a:pt x="11" y="51"/>
                    </a:lnTo>
                    <a:lnTo>
                      <a:pt x="9" y="47"/>
                    </a:lnTo>
                    <a:lnTo>
                      <a:pt x="7" y="43"/>
                    </a:lnTo>
                    <a:lnTo>
                      <a:pt x="5" y="41"/>
                    </a:lnTo>
                    <a:lnTo>
                      <a:pt x="2" y="34"/>
                    </a:lnTo>
                    <a:lnTo>
                      <a:pt x="0" y="30"/>
                    </a:lnTo>
                    <a:lnTo>
                      <a:pt x="4" y="30"/>
                    </a:lnTo>
                    <a:lnTo>
                      <a:pt x="5" y="30"/>
                    </a:lnTo>
                    <a:lnTo>
                      <a:pt x="9" y="30"/>
                    </a:lnTo>
                    <a:lnTo>
                      <a:pt x="13" y="30"/>
                    </a:lnTo>
                    <a:lnTo>
                      <a:pt x="17" y="30"/>
                    </a:lnTo>
                    <a:lnTo>
                      <a:pt x="21" y="30"/>
                    </a:lnTo>
                    <a:lnTo>
                      <a:pt x="24" y="30"/>
                    </a:lnTo>
                    <a:lnTo>
                      <a:pt x="30" y="30"/>
                    </a:lnTo>
                    <a:lnTo>
                      <a:pt x="36" y="30"/>
                    </a:lnTo>
                    <a:lnTo>
                      <a:pt x="40" y="28"/>
                    </a:lnTo>
                    <a:lnTo>
                      <a:pt x="45" y="28"/>
                    </a:lnTo>
                    <a:lnTo>
                      <a:pt x="51" y="26"/>
                    </a:lnTo>
                    <a:lnTo>
                      <a:pt x="57" y="26"/>
                    </a:lnTo>
                    <a:lnTo>
                      <a:pt x="61" y="22"/>
                    </a:lnTo>
                    <a:lnTo>
                      <a:pt x="66" y="21"/>
                    </a:lnTo>
                    <a:lnTo>
                      <a:pt x="70" y="19"/>
                    </a:lnTo>
                    <a:lnTo>
                      <a:pt x="74" y="17"/>
                    </a:lnTo>
                    <a:lnTo>
                      <a:pt x="80" y="13"/>
                    </a:lnTo>
                    <a:lnTo>
                      <a:pt x="85" y="9"/>
                    </a:lnTo>
                    <a:lnTo>
                      <a:pt x="89" y="5"/>
                    </a:lnTo>
                    <a:lnTo>
                      <a:pt x="91" y="2"/>
                    </a:lnTo>
                    <a:lnTo>
                      <a:pt x="93" y="0"/>
                    </a:lnTo>
                    <a:close/>
                  </a:path>
                </a:pathLst>
              </a:custGeom>
              <a:solidFill>
                <a:srgbClr val="599E2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02" name="Freeform 21"/>
              <p:cNvSpPr>
                <a:spLocks/>
              </p:cNvSpPr>
              <p:nvPr/>
            </p:nvSpPr>
            <p:spPr bwMode="auto">
              <a:xfrm>
                <a:off x="1579563" y="3181351"/>
                <a:ext cx="717550" cy="938213"/>
              </a:xfrm>
              <a:custGeom>
                <a:avLst/>
                <a:gdLst>
                  <a:gd name="T0" fmla="*/ 2147483646 w 902"/>
                  <a:gd name="T1" fmla="*/ 2147483646 h 1183"/>
                  <a:gd name="T2" fmla="*/ 2147483646 w 902"/>
                  <a:gd name="T3" fmla="*/ 2147483646 h 1183"/>
                  <a:gd name="T4" fmla="*/ 2147483646 w 902"/>
                  <a:gd name="T5" fmla="*/ 2147483646 h 1183"/>
                  <a:gd name="T6" fmla="*/ 2147483646 w 902"/>
                  <a:gd name="T7" fmla="*/ 2147483646 h 1183"/>
                  <a:gd name="T8" fmla="*/ 2147483646 w 902"/>
                  <a:gd name="T9" fmla="*/ 2147483646 h 1183"/>
                  <a:gd name="T10" fmla="*/ 2147483646 w 902"/>
                  <a:gd name="T11" fmla="*/ 2147483646 h 1183"/>
                  <a:gd name="T12" fmla="*/ 2147483646 w 902"/>
                  <a:gd name="T13" fmla="*/ 2147483646 h 1183"/>
                  <a:gd name="T14" fmla="*/ 2147483646 w 902"/>
                  <a:gd name="T15" fmla="*/ 2147483646 h 1183"/>
                  <a:gd name="T16" fmla="*/ 2147483646 w 902"/>
                  <a:gd name="T17" fmla="*/ 2147483646 h 1183"/>
                  <a:gd name="T18" fmla="*/ 2147483646 w 902"/>
                  <a:gd name="T19" fmla="*/ 2147483646 h 1183"/>
                  <a:gd name="T20" fmla="*/ 2147483646 w 902"/>
                  <a:gd name="T21" fmla="*/ 2147483646 h 1183"/>
                  <a:gd name="T22" fmla="*/ 2147483646 w 902"/>
                  <a:gd name="T23" fmla="*/ 2147483646 h 1183"/>
                  <a:gd name="T24" fmla="*/ 2147483646 w 902"/>
                  <a:gd name="T25" fmla="*/ 2147483646 h 1183"/>
                  <a:gd name="T26" fmla="*/ 2147483646 w 902"/>
                  <a:gd name="T27" fmla="*/ 2147483646 h 1183"/>
                  <a:gd name="T28" fmla="*/ 2147483646 w 902"/>
                  <a:gd name="T29" fmla="*/ 2147483646 h 1183"/>
                  <a:gd name="T30" fmla="*/ 2147483646 w 902"/>
                  <a:gd name="T31" fmla="*/ 2147483646 h 1183"/>
                  <a:gd name="T32" fmla="*/ 2147483646 w 902"/>
                  <a:gd name="T33" fmla="*/ 2147483646 h 1183"/>
                  <a:gd name="T34" fmla="*/ 2147483646 w 902"/>
                  <a:gd name="T35" fmla="*/ 2147483646 h 1183"/>
                  <a:gd name="T36" fmla="*/ 2147483646 w 902"/>
                  <a:gd name="T37" fmla="*/ 2147483646 h 1183"/>
                  <a:gd name="T38" fmla="*/ 2147483646 w 902"/>
                  <a:gd name="T39" fmla="*/ 2147483646 h 1183"/>
                  <a:gd name="T40" fmla="*/ 2147483646 w 902"/>
                  <a:gd name="T41" fmla="*/ 2147483646 h 1183"/>
                  <a:gd name="T42" fmla="*/ 2147483646 w 902"/>
                  <a:gd name="T43" fmla="*/ 2147483646 h 1183"/>
                  <a:gd name="T44" fmla="*/ 2147483646 w 902"/>
                  <a:gd name="T45" fmla="*/ 2147483646 h 1183"/>
                  <a:gd name="T46" fmla="*/ 2147483646 w 902"/>
                  <a:gd name="T47" fmla="*/ 2147483646 h 1183"/>
                  <a:gd name="T48" fmla="*/ 2147483646 w 902"/>
                  <a:gd name="T49" fmla="*/ 2147483646 h 1183"/>
                  <a:gd name="T50" fmla="*/ 2147483646 w 902"/>
                  <a:gd name="T51" fmla="*/ 2147483646 h 1183"/>
                  <a:gd name="T52" fmla="*/ 2147483646 w 902"/>
                  <a:gd name="T53" fmla="*/ 2147483646 h 1183"/>
                  <a:gd name="T54" fmla="*/ 2147483646 w 902"/>
                  <a:gd name="T55" fmla="*/ 2147483646 h 1183"/>
                  <a:gd name="T56" fmla="*/ 2147483646 w 902"/>
                  <a:gd name="T57" fmla="*/ 2147483646 h 1183"/>
                  <a:gd name="T58" fmla="*/ 2147483646 w 902"/>
                  <a:gd name="T59" fmla="*/ 2147483646 h 1183"/>
                  <a:gd name="T60" fmla="*/ 2147483646 w 902"/>
                  <a:gd name="T61" fmla="*/ 2147483646 h 1183"/>
                  <a:gd name="T62" fmla="*/ 2147483646 w 902"/>
                  <a:gd name="T63" fmla="*/ 2147483646 h 1183"/>
                  <a:gd name="T64" fmla="*/ 2147483646 w 902"/>
                  <a:gd name="T65" fmla="*/ 2147483646 h 1183"/>
                  <a:gd name="T66" fmla="*/ 2147483646 w 902"/>
                  <a:gd name="T67" fmla="*/ 2147483646 h 1183"/>
                  <a:gd name="T68" fmla="*/ 2147483646 w 902"/>
                  <a:gd name="T69" fmla="*/ 2147483646 h 1183"/>
                  <a:gd name="T70" fmla="*/ 2147483646 w 902"/>
                  <a:gd name="T71" fmla="*/ 2147483646 h 1183"/>
                  <a:gd name="T72" fmla="*/ 2147483646 w 902"/>
                  <a:gd name="T73" fmla="*/ 2147483646 h 1183"/>
                  <a:gd name="T74" fmla="*/ 2147483646 w 902"/>
                  <a:gd name="T75" fmla="*/ 2147483646 h 1183"/>
                  <a:gd name="T76" fmla="*/ 2147483646 w 902"/>
                  <a:gd name="T77" fmla="*/ 2147483646 h 1183"/>
                  <a:gd name="T78" fmla="*/ 2147483646 w 902"/>
                  <a:gd name="T79" fmla="*/ 2147483646 h 1183"/>
                  <a:gd name="T80" fmla="*/ 2147483646 w 902"/>
                  <a:gd name="T81" fmla="*/ 2147483646 h 1183"/>
                  <a:gd name="T82" fmla="*/ 2147483646 w 902"/>
                  <a:gd name="T83" fmla="*/ 2147483646 h 1183"/>
                  <a:gd name="T84" fmla="*/ 2147483646 w 902"/>
                  <a:gd name="T85" fmla="*/ 2147483646 h 1183"/>
                  <a:gd name="T86" fmla="*/ 2147483646 w 902"/>
                  <a:gd name="T87" fmla="*/ 2147483646 h 1183"/>
                  <a:gd name="T88" fmla="*/ 2147483646 w 902"/>
                  <a:gd name="T89" fmla="*/ 2147483646 h 1183"/>
                  <a:gd name="T90" fmla="*/ 2147483646 w 902"/>
                  <a:gd name="T91" fmla="*/ 2147483646 h 1183"/>
                  <a:gd name="T92" fmla="*/ 2147483646 w 902"/>
                  <a:gd name="T93" fmla="*/ 2147483646 h 1183"/>
                  <a:gd name="T94" fmla="*/ 2147483646 w 902"/>
                  <a:gd name="T95" fmla="*/ 2147483646 h 1183"/>
                  <a:gd name="T96" fmla="*/ 2147483646 w 902"/>
                  <a:gd name="T97" fmla="*/ 2147483646 h 1183"/>
                  <a:gd name="T98" fmla="*/ 2147483646 w 902"/>
                  <a:gd name="T99" fmla="*/ 2147483646 h 1183"/>
                  <a:gd name="T100" fmla="*/ 2147483646 w 902"/>
                  <a:gd name="T101" fmla="*/ 2147483646 h 1183"/>
                  <a:gd name="T102" fmla="*/ 2147483646 w 902"/>
                  <a:gd name="T103" fmla="*/ 2147483646 h 118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02"/>
                  <a:gd name="T157" fmla="*/ 0 h 1183"/>
                  <a:gd name="T158" fmla="*/ 902 w 902"/>
                  <a:gd name="T159" fmla="*/ 1183 h 118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02" h="1183">
                    <a:moveTo>
                      <a:pt x="898" y="103"/>
                    </a:moveTo>
                    <a:lnTo>
                      <a:pt x="895" y="107"/>
                    </a:lnTo>
                    <a:lnTo>
                      <a:pt x="891" y="111"/>
                    </a:lnTo>
                    <a:lnTo>
                      <a:pt x="885" y="114"/>
                    </a:lnTo>
                    <a:lnTo>
                      <a:pt x="881" y="120"/>
                    </a:lnTo>
                    <a:lnTo>
                      <a:pt x="878" y="124"/>
                    </a:lnTo>
                    <a:lnTo>
                      <a:pt x="874" y="130"/>
                    </a:lnTo>
                    <a:lnTo>
                      <a:pt x="868" y="135"/>
                    </a:lnTo>
                    <a:lnTo>
                      <a:pt x="864" y="141"/>
                    </a:lnTo>
                    <a:lnTo>
                      <a:pt x="860" y="145"/>
                    </a:lnTo>
                    <a:lnTo>
                      <a:pt x="857" y="150"/>
                    </a:lnTo>
                    <a:lnTo>
                      <a:pt x="853" y="156"/>
                    </a:lnTo>
                    <a:lnTo>
                      <a:pt x="849" y="162"/>
                    </a:lnTo>
                    <a:lnTo>
                      <a:pt x="843" y="169"/>
                    </a:lnTo>
                    <a:lnTo>
                      <a:pt x="840" y="175"/>
                    </a:lnTo>
                    <a:lnTo>
                      <a:pt x="836" y="181"/>
                    </a:lnTo>
                    <a:lnTo>
                      <a:pt x="832" y="187"/>
                    </a:lnTo>
                    <a:lnTo>
                      <a:pt x="828" y="192"/>
                    </a:lnTo>
                    <a:lnTo>
                      <a:pt x="824" y="200"/>
                    </a:lnTo>
                    <a:lnTo>
                      <a:pt x="821" y="204"/>
                    </a:lnTo>
                    <a:lnTo>
                      <a:pt x="817" y="211"/>
                    </a:lnTo>
                    <a:lnTo>
                      <a:pt x="813" y="217"/>
                    </a:lnTo>
                    <a:lnTo>
                      <a:pt x="809" y="221"/>
                    </a:lnTo>
                    <a:lnTo>
                      <a:pt x="805" y="226"/>
                    </a:lnTo>
                    <a:lnTo>
                      <a:pt x="803" y="232"/>
                    </a:lnTo>
                    <a:lnTo>
                      <a:pt x="800" y="238"/>
                    </a:lnTo>
                    <a:lnTo>
                      <a:pt x="798" y="244"/>
                    </a:lnTo>
                    <a:lnTo>
                      <a:pt x="794" y="247"/>
                    </a:lnTo>
                    <a:lnTo>
                      <a:pt x="790" y="253"/>
                    </a:lnTo>
                    <a:lnTo>
                      <a:pt x="788" y="259"/>
                    </a:lnTo>
                    <a:lnTo>
                      <a:pt x="784" y="263"/>
                    </a:lnTo>
                    <a:lnTo>
                      <a:pt x="783" y="268"/>
                    </a:lnTo>
                    <a:lnTo>
                      <a:pt x="781" y="272"/>
                    </a:lnTo>
                    <a:lnTo>
                      <a:pt x="777" y="276"/>
                    </a:lnTo>
                    <a:lnTo>
                      <a:pt x="773" y="283"/>
                    </a:lnTo>
                    <a:lnTo>
                      <a:pt x="767" y="289"/>
                    </a:lnTo>
                    <a:lnTo>
                      <a:pt x="764" y="295"/>
                    </a:lnTo>
                    <a:lnTo>
                      <a:pt x="758" y="303"/>
                    </a:lnTo>
                    <a:lnTo>
                      <a:pt x="752" y="310"/>
                    </a:lnTo>
                    <a:lnTo>
                      <a:pt x="748" y="314"/>
                    </a:lnTo>
                    <a:lnTo>
                      <a:pt x="746" y="318"/>
                    </a:lnTo>
                    <a:lnTo>
                      <a:pt x="743" y="322"/>
                    </a:lnTo>
                    <a:lnTo>
                      <a:pt x="741" y="325"/>
                    </a:lnTo>
                    <a:lnTo>
                      <a:pt x="737" y="329"/>
                    </a:lnTo>
                    <a:lnTo>
                      <a:pt x="733" y="335"/>
                    </a:lnTo>
                    <a:lnTo>
                      <a:pt x="729" y="339"/>
                    </a:lnTo>
                    <a:lnTo>
                      <a:pt x="726" y="342"/>
                    </a:lnTo>
                    <a:lnTo>
                      <a:pt x="722" y="346"/>
                    </a:lnTo>
                    <a:lnTo>
                      <a:pt x="718" y="352"/>
                    </a:lnTo>
                    <a:lnTo>
                      <a:pt x="714" y="358"/>
                    </a:lnTo>
                    <a:lnTo>
                      <a:pt x="710" y="361"/>
                    </a:lnTo>
                    <a:lnTo>
                      <a:pt x="707" y="367"/>
                    </a:lnTo>
                    <a:lnTo>
                      <a:pt x="703" y="371"/>
                    </a:lnTo>
                    <a:lnTo>
                      <a:pt x="699" y="377"/>
                    </a:lnTo>
                    <a:lnTo>
                      <a:pt x="695" y="380"/>
                    </a:lnTo>
                    <a:lnTo>
                      <a:pt x="689" y="386"/>
                    </a:lnTo>
                    <a:lnTo>
                      <a:pt x="686" y="392"/>
                    </a:lnTo>
                    <a:lnTo>
                      <a:pt x="682" y="396"/>
                    </a:lnTo>
                    <a:lnTo>
                      <a:pt x="678" y="403"/>
                    </a:lnTo>
                    <a:lnTo>
                      <a:pt x="672" y="407"/>
                    </a:lnTo>
                    <a:lnTo>
                      <a:pt x="669" y="413"/>
                    </a:lnTo>
                    <a:lnTo>
                      <a:pt x="663" y="418"/>
                    </a:lnTo>
                    <a:lnTo>
                      <a:pt x="659" y="422"/>
                    </a:lnTo>
                    <a:lnTo>
                      <a:pt x="653" y="428"/>
                    </a:lnTo>
                    <a:lnTo>
                      <a:pt x="650" y="434"/>
                    </a:lnTo>
                    <a:lnTo>
                      <a:pt x="644" y="439"/>
                    </a:lnTo>
                    <a:lnTo>
                      <a:pt x="640" y="445"/>
                    </a:lnTo>
                    <a:lnTo>
                      <a:pt x="634" y="451"/>
                    </a:lnTo>
                    <a:lnTo>
                      <a:pt x="631" y="456"/>
                    </a:lnTo>
                    <a:lnTo>
                      <a:pt x="625" y="460"/>
                    </a:lnTo>
                    <a:lnTo>
                      <a:pt x="621" y="468"/>
                    </a:lnTo>
                    <a:lnTo>
                      <a:pt x="615" y="472"/>
                    </a:lnTo>
                    <a:lnTo>
                      <a:pt x="612" y="477"/>
                    </a:lnTo>
                    <a:lnTo>
                      <a:pt x="606" y="483"/>
                    </a:lnTo>
                    <a:lnTo>
                      <a:pt x="602" y="489"/>
                    </a:lnTo>
                    <a:lnTo>
                      <a:pt x="596" y="495"/>
                    </a:lnTo>
                    <a:lnTo>
                      <a:pt x="593" y="500"/>
                    </a:lnTo>
                    <a:lnTo>
                      <a:pt x="587" y="506"/>
                    </a:lnTo>
                    <a:lnTo>
                      <a:pt x="581" y="512"/>
                    </a:lnTo>
                    <a:lnTo>
                      <a:pt x="577" y="517"/>
                    </a:lnTo>
                    <a:lnTo>
                      <a:pt x="572" y="521"/>
                    </a:lnTo>
                    <a:lnTo>
                      <a:pt x="566" y="527"/>
                    </a:lnTo>
                    <a:lnTo>
                      <a:pt x="562" y="534"/>
                    </a:lnTo>
                    <a:lnTo>
                      <a:pt x="556" y="538"/>
                    </a:lnTo>
                    <a:lnTo>
                      <a:pt x="553" y="544"/>
                    </a:lnTo>
                    <a:lnTo>
                      <a:pt x="547" y="550"/>
                    </a:lnTo>
                    <a:lnTo>
                      <a:pt x="543" y="555"/>
                    </a:lnTo>
                    <a:lnTo>
                      <a:pt x="537" y="559"/>
                    </a:lnTo>
                    <a:lnTo>
                      <a:pt x="534" y="565"/>
                    </a:lnTo>
                    <a:lnTo>
                      <a:pt x="528" y="571"/>
                    </a:lnTo>
                    <a:lnTo>
                      <a:pt x="524" y="576"/>
                    </a:lnTo>
                    <a:lnTo>
                      <a:pt x="518" y="580"/>
                    </a:lnTo>
                    <a:lnTo>
                      <a:pt x="515" y="586"/>
                    </a:lnTo>
                    <a:lnTo>
                      <a:pt x="509" y="591"/>
                    </a:lnTo>
                    <a:lnTo>
                      <a:pt x="505" y="597"/>
                    </a:lnTo>
                    <a:lnTo>
                      <a:pt x="499" y="601"/>
                    </a:lnTo>
                    <a:lnTo>
                      <a:pt x="496" y="607"/>
                    </a:lnTo>
                    <a:lnTo>
                      <a:pt x="490" y="612"/>
                    </a:lnTo>
                    <a:lnTo>
                      <a:pt x="486" y="618"/>
                    </a:lnTo>
                    <a:lnTo>
                      <a:pt x="480" y="622"/>
                    </a:lnTo>
                    <a:lnTo>
                      <a:pt x="477" y="628"/>
                    </a:lnTo>
                    <a:lnTo>
                      <a:pt x="471" y="633"/>
                    </a:lnTo>
                    <a:lnTo>
                      <a:pt x="467" y="639"/>
                    </a:lnTo>
                    <a:lnTo>
                      <a:pt x="461" y="643"/>
                    </a:lnTo>
                    <a:lnTo>
                      <a:pt x="458" y="648"/>
                    </a:lnTo>
                    <a:lnTo>
                      <a:pt x="452" y="654"/>
                    </a:lnTo>
                    <a:lnTo>
                      <a:pt x="448" y="660"/>
                    </a:lnTo>
                    <a:lnTo>
                      <a:pt x="444" y="666"/>
                    </a:lnTo>
                    <a:lnTo>
                      <a:pt x="439" y="669"/>
                    </a:lnTo>
                    <a:lnTo>
                      <a:pt x="435" y="675"/>
                    </a:lnTo>
                    <a:lnTo>
                      <a:pt x="431" y="681"/>
                    </a:lnTo>
                    <a:lnTo>
                      <a:pt x="425" y="687"/>
                    </a:lnTo>
                    <a:lnTo>
                      <a:pt x="420" y="692"/>
                    </a:lnTo>
                    <a:lnTo>
                      <a:pt x="416" y="696"/>
                    </a:lnTo>
                    <a:lnTo>
                      <a:pt x="412" y="704"/>
                    </a:lnTo>
                    <a:lnTo>
                      <a:pt x="406" y="707"/>
                    </a:lnTo>
                    <a:lnTo>
                      <a:pt x="403" y="713"/>
                    </a:lnTo>
                    <a:lnTo>
                      <a:pt x="397" y="719"/>
                    </a:lnTo>
                    <a:lnTo>
                      <a:pt x="393" y="725"/>
                    </a:lnTo>
                    <a:lnTo>
                      <a:pt x="389" y="730"/>
                    </a:lnTo>
                    <a:lnTo>
                      <a:pt x="385" y="736"/>
                    </a:lnTo>
                    <a:lnTo>
                      <a:pt x="380" y="740"/>
                    </a:lnTo>
                    <a:lnTo>
                      <a:pt x="376" y="747"/>
                    </a:lnTo>
                    <a:lnTo>
                      <a:pt x="372" y="751"/>
                    </a:lnTo>
                    <a:lnTo>
                      <a:pt x="368" y="757"/>
                    </a:lnTo>
                    <a:lnTo>
                      <a:pt x="363" y="763"/>
                    </a:lnTo>
                    <a:lnTo>
                      <a:pt x="359" y="768"/>
                    </a:lnTo>
                    <a:lnTo>
                      <a:pt x="355" y="772"/>
                    </a:lnTo>
                    <a:lnTo>
                      <a:pt x="351" y="780"/>
                    </a:lnTo>
                    <a:lnTo>
                      <a:pt x="347" y="783"/>
                    </a:lnTo>
                    <a:lnTo>
                      <a:pt x="342" y="791"/>
                    </a:lnTo>
                    <a:lnTo>
                      <a:pt x="338" y="795"/>
                    </a:lnTo>
                    <a:lnTo>
                      <a:pt x="334" y="801"/>
                    </a:lnTo>
                    <a:lnTo>
                      <a:pt x="330" y="806"/>
                    </a:lnTo>
                    <a:lnTo>
                      <a:pt x="327" y="812"/>
                    </a:lnTo>
                    <a:lnTo>
                      <a:pt x="323" y="818"/>
                    </a:lnTo>
                    <a:lnTo>
                      <a:pt x="319" y="823"/>
                    </a:lnTo>
                    <a:lnTo>
                      <a:pt x="315" y="829"/>
                    </a:lnTo>
                    <a:lnTo>
                      <a:pt x="311" y="835"/>
                    </a:lnTo>
                    <a:lnTo>
                      <a:pt x="308" y="840"/>
                    </a:lnTo>
                    <a:lnTo>
                      <a:pt x="304" y="844"/>
                    </a:lnTo>
                    <a:lnTo>
                      <a:pt x="300" y="850"/>
                    </a:lnTo>
                    <a:lnTo>
                      <a:pt x="296" y="858"/>
                    </a:lnTo>
                    <a:lnTo>
                      <a:pt x="292" y="861"/>
                    </a:lnTo>
                    <a:lnTo>
                      <a:pt x="289" y="867"/>
                    </a:lnTo>
                    <a:lnTo>
                      <a:pt x="285" y="873"/>
                    </a:lnTo>
                    <a:lnTo>
                      <a:pt x="283" y="879"/>
                    </a:lnTo>
                    <a:lnTo>
                      <a:pt x="279" y="884"/>
                    </a:lnTo>
                    <a:lnTo>
                      <a:pt x="275" y="890"/>
                    </a:lnTo>
                    <a:lnTo>
                      <a:pt x="273" y="896"/>
                    </a:lnTo>
                    <a:lnTo>
                      <a:pt x="270" y="901"/>
                    </a:lnTo>
                    <a:lnTo>
                      <a:pt x="266" y="907"/>
                    </a:lnTo>
                    <a:lnTo>
                      <a:pt x="264" y="913"/>
                    </a:lnTo>
                    <a:lnTo>
                      <a:pt x="260" y="918"/>
                    </a:lnTo>
                    <a:lnTo>
                      <a:pt x="258" y="924"/>
                    </a:lnTo>
                    <a:lnTo>
                      <a:pt x="254" y="928"/>
                    </a:lnTo>
                    <a:lnTo>
                      <a:pt x="251" y="934"/>
                    </a:lnTo>
                    <a:lnTo>
                      <a:pt x="247" y="939"/>
                    </a:lnTo>
                    <a:lnTo>
                      <a:pt x="243" y="945"/>
                    </a:lnTo>
                    <a:lnTo>
                      <a:pt x="239" y="951"/>
                    </a:lnTo>
                    <a:lnTo>
                      <a:pt x="235" y="956"/>
                    </a:lnTo>
                    <a:lnTo>
                      <a:pt x="232" y="962"/>
                    </a:lnTo>
                    <a:lnTo>
                      <a:pt x="228" y="970"/>
                    </a:lnTo>
                    <a:lnTo>
                      <a:pt x="224" y="975"/>
                    </a:lnTo>
                    <a:lnTo>
                      <a:pt x="218" y="981"/>
                    </a:lnTo>
                    <a:lnTo>
                      <a:pt x="214" y="987"/>
                    </a:lnTo>
                    <a:lnTo>
                      <a:pt x="211" y="993"/>
                    </a:lnTo>
                    <a:lnTo>
                      <a:pt x="205" y="998"/>
                    </a:lnTo>
                    <a:lnTo>
                      <a:pt x="199" y="1004"/>
                    </a:lnTo>
                    <a:lnTo>
                      <a:pt x="195" y="1012"/>
                    </a:lnTo>
                    <a:lnTo>
                      <a:pt x="190" y="1017"/>
                    </a:lnTo>
                    <a:lnTo>
                      <a:pt x="184" y="1023"/>
                    </a:lnTo>
                    <a:lnTo>
                      <a:pt x="180" y="1029"/>
                    </a:lnTo>
                    <a:lnTo>
                      <a:pt x="175" y="1034"/>
                    </a:lnTo>
                    <a:lnTo>
                      <a:pt x="169" y="1040"/>
                    </a:lnTo>
                    <a:lnTo>
                      <a:pt x="163" y="1046"/>
                    </a:lnTo>
                    <a:lnTo>
                      <a:pt x="157" y="1052"/>
                    </a:lnTo>
                    <a:lnTo>
                      <a:pt x="152" y="1057"/>
                    </a:lnTo>
                    <a:lnTo>
                      <a:pt x="148" y="1063"/>
                    </a:lnTo>
                    <a:lnTo>
                      <a:pt x="140" y="1069"/>
                    </a:lnTo>
                    <a:lnTo>
                      <a:pt x="137" y="1074"/>
                    </a:lnTo>
                    <a:lnTo>
                      <a:pt x="131" y="1080"/>
                    </a:lnTo>
                    <a:lnTo>
                      <a:pt x="125" y="1086"/>
                    </a:lnTo>
                    <a:lnTo>
                      <a:pt x="119" y="1091"/>
                    </a:lnTo>
                    <a:lnTo>
                      <a:pt x="114" y="1097"/>
                    </a:lnTo>
                    <a:lnTo>
                      <a:pt x="108" y="1103"/>
                    </a:lnTo>
                    <a:lnTo>
                      <a:pt x="104" y="1109"/>
                    </a:lnTo>
                    <a:lnTo>
                      <a:pt x="97" y="1112"/>
                    </a:lnTo>
                    <a:lnTo>
                      <a:pt x="91" y="1118"/>
                    </a:lnTo>
                    <a:lnTo>
                      <a:pt x="87" y="1124"/>
                    </a:lnTo>
                    <a:lnTo>
                      <a:pt x="81" y="1128"/>
                    </a:lnTo>
                    <a:lnTo>
                      <a:pt x="76" y="1133"/>
                    </a:lnTo>
                    <a:lnTo>
                      <a:pt x="72" y="1137"/>
                    </a:lnTo>
                    <a:lnTo>
                      <a:pt x="66" y="1143"/>
                    </a:lnTo>
                    <a:lnTo>
                      <a:pt x="62" y="1147"/>
                    </a:lnTo>
                    <a:lnTo>
                      <a:pt x="57" y="1150"/>
                    </a:lnTo>
                    <a:lnTo>
                      <a:pt x="51" y="1154"/>
                    </a:lnTo>
                    <a:lnTo>
                      <a:pt x="47" y="1160"/>
                    </a:lnTo>
                    <a:lnTo>
                      <a:pt x="43" y="1164"/>
                    </a:lnTo>
                    <a:lnTo>
                      <a:pt x="38" y="1167"/>
                    </a:lnTo>
                    <a:lnTo>
                      <a:pt x="34" y="1169"/>
                    </a:lnTo>
                    <a:lnTo>
                      <a:pt x="30" y="1173"/>
                    </a:lnTo>
                    <a:lnTo>
                      <a:pt x="28" y="1177"/>
                    </a:lnTo>
                    <a:lnTo>
                      <a:pt x="21" y="1183"/>
                    </a:lnTo>
                    <a:lnTo>
                      <a:pt x="0" y="1084"/>
                    </a:lnTo>
                    <a:lnTo>
                      <a:pt x="902" y="0"/>
                    </a:lnTo>
                    <a:lnTo>
                      <a:pt x="898" y="103"/>
                    </a:lnTo>
                    <a:close/>
                  </a:path>
                </a:pathLst>
              </a:custGeom>
              <a:solidFill>
                <a:srgbClr val="8A8A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03" name="Freeform 22"/>
              <p:cNvSpPr>
                <a:spLocks/>
              </p:cNvSpPr>
              <p:nvPr/>
            </p:nvSpPr>
            <p:spPr bwMode="auto">
              <a:xfrm>
                <a:off x="2320926" y="3181351"/>
                <a:ext cx="234950" cy="68263"/>
              </a:xfrm>
              <a:custGeom>
                <a:avLst/>
                <a:gdLst>
                  <a:gd name="T0" fmla="*/ 0 w 296"/>
                  <a:gd name="T1" fmla="*/ 0 h 88"/>
                  <a:gd name="T2" fmla="*/ 2147483646 w 296"/>
                  <a:gd name="T3" fmla="*/ 2147483646 h 88"/>
                  <a:gd name="T4" fmla="*/ 2147483646 w 296"/>
                  <a:gd name="T5" fmla="*/ 2147483646 h 88"/>
                  <a:gd name="T6" fmla="*/ 2147483646 w 296"/>
                  <a:gd name="T7" fmla="*/ 2147483646 h 88"/>
                  <a:gd name="T8" fmla="*/ 2147483646 w 296"/>
                  <a:gd name="T9" fmla="*/ 2147483646 h 88"/>
                  <a:gd name="T10" fmla="*/ 2147483646 w 296"/>
                  <a:gd name="T11" fmla="*/ 2147483646 h 88"/>
                  <a:gd name="T12" fmla="*/ 2147483646 w 296"/>
                  <a:gd name="T13" fmla="*/ 2147483646 h 88"/>
                  <a:gd name="T14" fmla="*/ 2147483646 w 296"/>
                  <a:gd name="T15" fmla="*/ 2147483646 h 88"/>
                  <a:gd name="T16" fmla="*/ 2147483646 w 296"/>
                  <a:gd name="T17" fmla="*/ 2147483646 h 88"/>
                  <a:gd name="T18" fmla="*/ 2147483646 w 296"/>
                  <a:gd name="T19" fmla="*/ 2147483646 h 88"/>
                  <a:gd name="T20" fmla="*/ 2147483646 w 296"/>
                  <a:gd name="T21" fmla="*/ 2147483646 h 88"/>
                  <a:gd name="T22" fmla="*/ 2147483646 w 296"/>
                  <a:gd name="T23" fmla="*/ 2147483646 h 88"/>
                  <a:gd name="T24" fmla="*/ 2147483646 w 296"/>
                  <a:gd name="T25" fmla="*/ 2147483646 h 88"/>
                  <a:gd name="T26" fmla="*/ 2147483646 w 296"/>
                  <a:gd name="T27" fmla="*/ 2147483646 h 88"/>
                  <a:gd name="T28" fmla="*/ 2147483646 w 296"/>
                  <a:gd name="T29" fmla="*/ 2147483646 h 88"/>
                  <a:gd name="T30" fmla="*/ 2147483646 w 296"/>
                  <a:gd name="T31" fmla="*/ 2147483646 h 88"/>
                  <a:gd name="T32" fmla="*/ 2147483646 w 296"/>
                  <a:gd name="T33" fmla="*/ 2147483646 h 88"/>
                  <a:gd name="T34" fmla="*/ 2147483646 w 296"/>
                  <a:gd name="T35" fmla="*/ 2147483646 h 88"/>
                  <a:gd name="T36" fmla="*/ 2147483646 w 296"/>
                  <a:gd name="T37" fmla="*/ 2147483646 h 88"/>
                  <a:gd name="T38" fmla="*/ 2147483646 w 296"/>
                  <a:gd name="T39" fmla="*/ 2147483646 h 88"/>
                  <a:gd name="T40" fmla="*/ 2147483646 w 296"/>
                  <a:gd name="T41" fmla="*/ 2147483646 h 88"/>
                  <a:gd name="T42" fmla="*/ 2147483646 w 296"/>
                  <a:gd name="T43" fmla="*/ 2147483646 h 88"/>
                  <a:gd name="T44" fmla="*/ 2147483646 w 296"/>
                  <a:gd name="T45" fmla="*/ 2147483646 h 88"/>
                  <a:gd name="T46" fmla="*/ 2147483646 w 296"/>
                  <a:gd name="T47" fmla="*/ 2147483646 h 88"/>
                  <a:gd name="T48" fmla="*/ 2147483646 w 296"/>
                  <a:gd name="T49" fmla="*/ 2147483646 h 88"/>
                  <a:gd name="T50" fmla="*/ 2147483646 w 296"/>
                  <a:gd name="T51" fmla="*/ 2147483646 h 88"/>
                  <a:gd name="T52" fmla="*/ 2147483646 w 296"/>
                  <a:gd name="T53" fmla="*/ 2147483646 h 88"/>
                  <a:gd name="T54" fmla="*/ 2147483646 w 296"/>
                  <a:gd name="T55" fmla="*/ 2147483646 h 88"/>
                  <a:gd name="T56" fmla="*/ 2147483646 w 296"/>
                  <a:gd name="T57" fmla="*/ 2147483646 h 88"/>
                  <a:gd name="T58" fmla="*/ 2147483646 w 296"/>
                  <a:gd name="T59" fmla="*/ 2147483646 h 88"/>
                  <a:gd name="T60" fmla="*/ 2147483646 w 296"/>
                  <a:gd name="T61" fmla="*/ 2147483646 h 88"/>
                  <a:gd name="T62" fmla="*/ 2147483646 w 296"/>
                  <a:gd name="T63" fmla="*/ 2147483646 h 88"/>
                  <a:gd name="T64" fmla="*/ 2147483646 w 296"/>
                  <a:gd name="T65" fmla="*/ 2147483646 h 88"/>
                  <a:gd name="T66" fmla="*/ 2147483646 w 296"/>
                  <a:gd name="T67" fmla="*/ 2147483646 h 88"/>
                  <a:gd name="T68" fmla="*/ 2147483646 w 296"/>
                  <a:gd name="T69" fmla="*/ 2147483646 h 88"/>
                  <a:gd name="T70" fmla="*/ 2147483646 w 296"/>
                  <a:gd name="T71" fmla="*/ 2147483646 h 88"/>
                  <a:gd name="T72" fmla="*/ 2147483646 w 296"/>
                  <a:gd name="T73" fmla="*/ 2147483646 h 88"/>
                  <a:gd name="T74" fmla="*/ 2147483646 w 296"/>
                  <a:gd name="T75" fmla="*/ 2147483646 h 88"/>
                  <a:gd name="T76" fmla="*/ 2147483646 w 296"/>
                  <a:gd name="T77" fmla="*/ 2147483646 h 88"/>
                  <a:gd name="T78" fmla="*/ 2147483646 w 296"/>
                  <a:gd name="T79" fmla="*/ 2147483646 h 88"/>
                  <a:gd name="T80" fmla="*/ 2147483646 w 296"/>
                  <a:gd name="T81" fmla="*/ 2147483646 h 88"/>
                  <a:gd name="T82" fmla="*/ 2147483646 w 296"/>
                  <a:gd name="T83" fmla="*/ 2147483646 h 88"/>
                  <a:gd name="T84" fmla="*/ 2147483646 w 296"/>
                  <a:gd name="T85" fmla="*/ 2147483646 h 88"/>
                  <a:gd name="T86" fmla="*/ 2147483646 w 296"/>
                  <a:gd name="T87" fmla="*/ 2147483646 h 88"/>
                  <a:gd name="T88" fmla="*/ 2147483646 w 296"/>
                  <a:gd name="T89" fmla="*/ 2147483646 h 88"/>
                  <a:gd name="T90" fmla="*/ 2147483646 w 296"/>
                  <a:gd name="T91" fmla="*/ 2147483646 h 88"/>
                  <a:gd name="T92" fmla="*/ 2147483646 w 296"/>
                  <a:gd name="T93" fmla="*/ 2147483646 h 88"/>
                  <a:gd name="T94" fmla="*/ 2147483646 w 296"/>
                  <a:gd name="T95" fmla="*/ 2147483646 h 88"/>
                  <a:gd name="T96" fmla="*/ 2147483646 w 296"/>
                  <a:gd name="T97" fmla="*/ 2147483646 h 88"/>
                  <a:gd name="T98" fmla="*/ 2147483646 w 296"/>
                  <a:gd name="T99" fmla="*/ 2147483646 h 88"/>
                  <a:gd name="T100" fmla="*/ 2147483646 w 296"/>
                  <a:gd name="T101" fmla="*/ 2147483646 h 88"/>
                  <a:gd name="T102" fmla="*/ 2147483646 w 296"/>
                  <a:gd name="T103" fmla="*/ 2147483646 h 88"/>
                  <a:gd name="T104" fmla="*/ 2147483646 w 296"/>
                  <a:gd name="T105" fmla="*/ 2147483646 h 88"/>
                  <a:gd name="T106" fmla="*/ 2147483646 w 296"/>
                  <a:gd name="T107" fmla="*/ 2147483646 h 88"/>
                  <a:gd name="T108" fmla="*/ 2147483646 w 296"/>
                  <a:gd name="T109" fmla="*/ 2147483646 h 88"/>
                  <a:gd name="T110" fmla="*/ 2147483646 w 296"/>
                  <a:gd name="T111" fmla="*/ 2147483646 h 88"/>
                  <a:gd name="T112" fmla="*/ 2147483646 w 296"/>
                  <a:gd name="T113" fmla="*/ 2147483646 h 88"/>
                  <a:gd name="T114" fmla="*/ 2147483646 w 296"/>
                  <a:gd name="T115" fmla="*/ 2147483646 h 88"/>
                  <a:gd name="T116" fmla="*/ 2147483646 w 296"/>
                  <a:gd name="T117" fmla="*/ 2147483646 h 88"/>
                  <a:gd name="T118" fmla="*/ 2147483646 w 296"/>
                  <a:gd name="T119" fmla="*/ 2147483646 h 88"/>
                  <a:gd name="T120" fmla="*/ 2147483646 w 296"/>
                  <a:gd name="T121" fmla="*/ 2147483646 h 88"/>
                  <a:gd name="T122" fmla="*/ 0 w 296"/>
                  <a:gd name="T123" fmla="*/ 0 h 88"/>
                  <a:gd name="T124" fmla="*/ 0 w 296"/>
                  <a:gd name="T125" fmla="*/ 0 h 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96"/>
                  <a:gd name="T190" fmla="*/ 0 h 88"/>
                  <a:gd name="T191" fmla="*/ 296 w 296"/>
                  <a:gd name="T192" fmla="*/ 88 h 8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96" h="88">
                    <a:moveTo>
                      <a:pt x="0" y="0"/>
                    </a:moveTo>
                    <a:lnTo>
                      <a:pt x="296" y="2"/>
                    </a:lnTo>
                    <a:lnTo>
                      <a:pt x="288" y="80"/>
                    </a:lnTo>
                    <a:lnTo>
                      <a:pt x="287" y="80"/>
                    </a:lnTo>
                    <a:lnTo>
                      <a:pt x="281" y="80"/>
                    </a:lnTo>
                    <a:lnTo>
                      <a:pt x="277" y="80"/>
                    </a:lnTo>
                    <a:lnTo>
                      <a:pt x="271" y="80"/>
                    </a:lnTo>
                    <a:lnTo>
                      <a:pt x="266" y="80"/>
                    </a:lnTo>
                    <a:lnTo>
                      <a:pt x="262" y="80"/>
                    </a:lnTo>
                    <a:lnTo>
                      <a:pt x="258" y="82"/>
                    </a:lnTo>
                    <a:lnTo>
                      <a:pt x="254" y="82"/>
                    </a:lnTo>
                    <a:lnTo>
                      <a:pt x="250" y="82"/>
                    </a:lnTo>
                    <a:lnTo>
                      <a:pt x="245" y="82"/>
                    </a:lnTo>
                    <a:lnTo>
                      <a:pt x="241" y="82"/>
                    </a:lnTo>
                    <a:lnTo>
                      <a:pt x="235" y="84"/>
                    </a:lnTo>
                    <a:lnTo>
                      <a:pt x="231" y="84"/>
                    </a:lnTo>
                    <a:lnTo>
                      <a:pt x="226" y="84"/>
                    </a:lnTo>
                    <a:lnTo>
                      <a:pt x="222" y="84"/>
                    </a:lnTo>
                    <a:lnTo>
                      <a:pt x="216" y="86"/>
                    </a:lnTo>
                    <a:lnTo>
                      <a:pt x="212" y="86"/>
                    </a:lnTo>
                    <a:lnTo>
                      <a:pt x="207" y="86"/>
                    </a:lnTo>
                    <a:lnTo>
                      <a:pt x="201" y="86"/>
                    </a:lnTo>
                    <a:lnTo>
                      <a:pt x="195" y="86"/>
                    </a:lnTo>
                    <a:lnTo>
                      <a:pt x="192" y="86"/>
                    </a:lnTo>
                    <a:lnTo>
                      <a:pt x="186" y="86"/>
                    </a:lnTo>
                    <a:lnTo>
                      <a:pt x="182" y="86"/>
                    </a:lnTo>
                    <a:lnTo>
                      <a:pt x="176" y="86"/>
                    </a:lnTo>
                    <a:lnTo>
                      <a:pt x="173" y="88"/>
                    </a:lnTo>
                    <a:lnTo>
                      <a:pt x="167" y="88"/>
                    </a:lnTo>
                    <a:lnTo>
                      <a:pt x="161" y="88"/>
                    </a:lnTo>
                    <a:lnTo>
                      <a:pt x="155" y="88"/>
                    </a:lnTo>
                    <a:lnTo>
                      <a:pt x="152" y="88"/>
                    </a:lnTo>
                    <a:lnTo>
                      <a:pt x="146" y="88"/>
                    </a:lnTo>
                    <a:lnTo>
                      <a:pt x="142" y="88"/>
                    </a:lnTo>
                    <a:lnTo>
                      <a:pt x="136" y="88"/>
                    </a:lnTo>
                    <a:lnTo>
                      <a:pt x="133" y="88"/>
                    </a:lnTo>
                    <a:lnTo>
                      <a:pt x="127" y="88"/>
                    </a:lnTo>
                    <a:lnTo>
                      <a:pt x="121" y="88"/>
                    </a:lnTo>
                    <a:lnTo>
                      <a:pt x="116" y="88"/>
                    </a:lnTo>
                    <a:lnTo>
                      <a:pt x="112" y="88"/>
                    </a:lnTo>
                    <a:lnTo>
                      <a:pt x="106" y="88"/>
                    </a:lnTo>
                    <a:lnTo>
                      <a:pt x="100" y="88"/>
                    </a:lnTo>
                    <a:lnTo>
                      <a:pt x="97" y="88"/>
                    </a:lnTo>
                    <a:lnTo>
                      <a:pt x="91" y="88"/>
                    </a:lnTo>
                    <a:lnTo>
                      <a:pt x="85" y="86"/>
                    </a:lnTo>
                    <a:lnTo>
                      <a:pt x="79" y="86"/>
                    </a:lnTo>
                    <a:lnTo>
                      <a:pt x="76" y="86"/>
                    </a:lnTo>
                    <a:lnTo>
                      <a:pt x="70" y="86"/>
                    </a:lnTo>
                    <a:lnTo>
                      <a:pt x="64" y="84"/>
                    </a:lnTo>
                    <a:lnTo>
                      <a:pt x="59" y="84"/>
                    </a:lnTo>
                    <a:lnTo>
                      <a:pt x="53" y="82"/>
                    </a:lnTo>
                    <a:lnTo>
                      <a:pt x="49" y="82"/>
                    </a:lnTo>
                    <a:lnTo>
                      <a:pt x="43" y="82"/>
                    </a:lnTo>
                    <a:lnTo>
                      <a:pt x="38" y="80"/>
                    </a:lnTo>
                    <a:lnTo>
                      <a:pt x="32" y="80"/>
                    </a:lnTo>
                    <a:lnTo>
                      <a:pt x="26" y="78"/>
                    </a:lnTo>
                    <a:lnTo>
                      <a:pt x="22" y="78"/>
                    </a:lnTo>
                    <a:lnTo>
                      <a:pt x="17" y="76"/>
                    </a:lnTo>
                    <a:lnTo>
                      <a:pt x="11" y="76"/>
                    </a:lnTo>
                    <a:lnTo>
                      <a:pt x="5" y="74"/>
                    </a:lnTo>
                    <a:lnTo>
                      <a:pt x="0" y="0"/>
                    </a:lnTo>
                    <a:close/>
                  </a:path>
                </a:pathLst>
              </a:custGeom>
              <a:solidFill>
                <a:srgbClr val="8A8A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04" name="Freeform 23"/>
              <p:cNvSpPr>
                <a:spLocks/>
              </p:cNvSpPr>
              <p:nvPr/>
            </p:nvSpPr>
            <p:spPr bwMode="auto">
              <a:xfrm>
                <a:off x="2797176" y="3179763"/>
                <a:ext cx="263525" cy="60325"/>
              </a:xfrm>
              <a:custGeom>
                <a:avLst/>
                <a:gdLst>
                  <a:gd name="T0" fmla="*/ 2147483646 w 333"/>
                  <a:gd name="T1" fmla="*/ 0 h 76"/>
                  <a:gd name="T2" fmla="*/ 2147483646 w 333"/>
                  <a:gd name="T3" fmla="*/ 2147483646 h 76"/>
                  <a:gd name="T4" fmla="*/ 2147483646 w 333"/>
                  <a:gd name="T5" fmla="*/ 2147483646 h 76"/>
                  <a:gd name="T6" fmla="*/ 2147483646 w 333"/>
                  <a:gd name="T7" fmla="*/ 2147483646 h 76"/>
                  <a:gd name="T8" fmla="*/ 2147483646 w 333"/>
                  <a:gd name="T9" fmla="*/ 2147483646 h 76"/>
                  <a:gd name="T10" fmla="*/ 2147483646 w 333"/>
                  <a:gd name="T11" fmla="*/ 2147483646 h 76"/>
                  <a:gd name="T12" fmla="*/ 2147483646 w 333"/>
                  <a:gd name="T13" fmla="*/ 2147483646 h 76"/>
                  <a:gd name="T14" fmla="*/ 2147483646 w 333"/>
                  <a:gd name="T15" fmla="*/ 2147483646 h 76"/>
                  <a:gd name="T16" fmla="*/ 2147483646 w 333"/>
                  <a:gd name="T17" fmla="*/ 2147483646 h 76"/>
                  <a:gd name="T18" fmla="*/ 2147483646 w 333"/>
                  <a:gd name="T19" fmla="*/ 2147483646 h 76"/>
                  <a:gd name="T20" fmla="*/ 2147483646 w 333"/>
                  <a:gd name="T21" fmla="*/ 2147483646 h 76"/>
                  <a:gd name="T22" fmla="*/ 2147483646 w 333"/>
                  <a:gd name="T23" fmla="*/ 2147483646 h 76"/>
                  <a:gd name="T24" fmla="*/ 2147483646 w 333"/>
                  <a:gd name="T25" fmla="*/ 2147483646 h 76"/>
                  <a:gd name="T26" fmla="*/ 2147483646 w 333"/>
                  <a:gd name="T27" fmla="*/ 2147483646 h 76"/>
                  <a:gd name="T28" fmla="*/ 2147483646 w 333"/>
                  <a:gd name="T29" fmla="*/ 2147483646 h 76"/>
                  <a:gd name="T30" fmla="*/ 2147483646 w 333"/>
                  <a:gd name="T31" fmla="*/ 2147483646 h 76"/>
                  <a:gd name="T32" fmla="*/ 2147483646 w 333"/>
                  <a:gd name="T33" fmla="*/ 2147483646 h 76"/>
                  <a:gd name="T34" fmla="*/ 2147483646 w 333"/>
                  <a:gd name="T35" fmla="*/ 2147483646 h 76"/>
                  <a:gd name="T36" fmla="*/ 2147483646 w 333"/>
                  <a:gd name="T37" fmla="*/ 2147483646 h 76"/>
                  <a:gd name="T38" fmla="*/ 2147483646 w 333"/>
                  <a:gd name="T39" fmla="*/ 2147483646 h 76"/>
                  <a:gd name="T40" fmla="*/ 2147483646 w 333"/>
                  <a:gd name="T41" fmla="*/ 2147483646 h 76"/>
                  <a:gd name="T42" fmla="*/ 2147483646 w 333"/>
                  <a:gd name="T43" fmla="*/ 2147483646 h 76"/>
                  <a:gd name="T44" fmla="*/ 2147483646 w 333"/>
                  <a:gd name="T45" fmla="*/ 2147483646 h 76"/>
                  <a:gd name="T46" fmla="*/ 2147483646 w 333"/>
                  <a:gd name="T47" fmla="*/ 2147483646 h 76"/>
                  <a:gd name="T48" fmla="*/ 2147483646 w 333"/>
                  <a:gd name="T49" fmla="*/ 2147483646 h 76"/>
                  <a:gd name="T50" fmla="*/ 2147483646 w 333"/>
                  <a:gd name="T51" fmla="*/ 2147483646 h 76"/>
                  <a:gd name="T52" fmla="*/ 2147483646 w 333"/>
                  <a:gd name="T53" fmla="*/ 2147483646 h 76"/>
                  <a:gd name="T54" fmla="*/ 2147483646 w 333"/>
                  <a:gd name="T55" fmla="*/ 2147483646 h 76"/>
                  <a:gd name="T56" fmla="*/ 2147483646 w 333"/>
                  <a:gd name="T57" fmla="*/ 2147483646 h 76"/>
                  <a:gd name="T58" fmla="*/ 2147483646 w 333"/>
                  <a:gd name="T59" fmla="*/ 2147483646 h 76"/>
                  <a:gd name="T60" fmla="*/ 2147483646 w 333"/>
                  <a:gd name="T61" fmla="*/ 2147483646 h 76"/>
                  <a:gd name="T62" fmla="*/ 0 w 333"/>
                  <a:gd name="T63" fmla="*/ 2147483646 h 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33"/>
                  <a:gd name="T97" fmla="*/ 0 h 76"/>
                  <a:gd name="T98" fmla="*/ 333 w 333"/>
                  <a:gd name="T99" fmla="*/ 76 h 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33" h="76">
                    <a:moveTo>
                      <a:pt x="0" y="2"/>
                    </a:moveTo>
                    <a:lnTo>
                      <a:pt x="331" y="0"/>
                    </a:lnTo>
                    <a:lnTo>
                      <a:pt x="333" y="55"/>
                    </a:lnTo>
                    <a:lnTo>
                      <a:pt x="331" y="55"/>
                    </a:lnTo>
                    <a:lnTo>
                      <a:pt x="329" y="55"/>
                    </a:lnTo>
                    <a:lnTo>
                      <a:pt x="325" y="55"/>
                    </a:lnTo>
                    <a:lnTo>
                      <a:pt x="319" y="55"/>
                    </a:lnTo>
                    <a:lnTo>
                      <a:pt x="314" y="55"/>
                    </a:lnTo>
                    <a:lnTo>
                      <a:pt x="306" y="55"/>
                    </a:lnTo>
                    <a:lnTo>
                      <a:pt x="302" y="55"/>
                    </a:lnTo>
                    <a:lnTo>
                      <a:pt x="296" y="57"/>
                    </a:lnTo>
                    <a:lnTo>
                      <a:pt x="293" y="57"/>
                    </a:lnTo>
                    <a:lnTo>
                      <a:pt x="289" y="57"/>
                    </a:lnTo>
                    <a:lnTo>
                      <a:pt x="283" y="57"/>
                    </a:lnTo>
                    <a:lnTo>
                      <a:pt x="277" y="57"/>
                    </a:lnTo>
                    <a:lnTo>
                      <a:pt x="272" y="57"/>
                    </a:lnTo>
                    <a:lnTo>
                      <a:pt x="266" y="59"/>
                    </a:lnTo>
                    <a:lnTo>
                      <a:pt x="260" y="59"/>
                    </a:lnTo>
                    <a:lnTo>
                      <a:pt x="255" y="59"/>
                    </a:lnTo>
                    <a:lnTo>
                      <a:pt x="247" y="61"/>
                    </a:lnTo>
                    <a:lnTo>
                      <a:pt x="241" y="61"/>
                    </a:lnTo>
                    <a:lnTo>
                      <a:pt x="236" y="61"/>
                    </a:lnTo>
                    <a:lnTo>
                      <a:pt x="228" y="63"/>
                    </a:lnTo>
                    <a:lnTo>
                      <a:pt x="220" y="63"/>
                    </a:lnTo>
                    <a:lnTo>
                      <a:pt x="215" y="63"/>
                    </a:lnTo>
                    <a:lnTo>
                      <a:pt x="207" y="65"/>
                    </a:lnTo>
                    <a:lnTo>
                      <a:pt x="200" y="65"/>
                    </a:lnTo>
                    <a:lnTo>
                      <a:pt x="192" y="67"/>
                    </a:lnTo>
                    <a:lnTo>
                      <a:pt x="186" y="67"/>
                    </a:lnTo>
                    <a:lnTo>
                      <a:pt x="181" y="67"/>
                    </a:lnTo>
                    <a:lnTo>
                      <a:pt x="177" y="67"/>
                    </a:lnTo>
                    <a:lnTo>
                      <a:pt x="175" y="69"/>
                    </a:lnTo>
                    <a:lnTo>
                      <a:pt x="171" y="69"/>
                    </a:lnTo>
                    <a:lnTo>
                      <a:pt x="163" y="69"/>
                    </a:lnTo>
                    <a:lnTo>
                      <a:pt x="158" y="71"/>
                    </a:lnTo>
                    <a:lnTo>
                      <a:pt x="150" y="71"/>
                    </a:lnTo>
                    <a:lnTo>
                      <a:pt x="144" y="73"/>
                    </a:lnTo>
                    <a:lnTo>
                      <a:pt x="139" y="73"/>
                    </a:lnTo>
                    <a:lnTo>
                      <a:pt x="133" y="74"/>
                    </a:lnTo>
                    <a:lnTo>
                      <a:pt x="127" y="74"/>
                    </a:lnTo>
                    <a:lnTo>
                      <a:pt x="122" y="74"/>
                    </a:lnTo>
                    <a:lnTo>
                      <a:pt x="116" y="74"/>
                    </a:lnTo>
                    <a:lnTo>
                      <a:pt x="112" y="74"/>
                    </a:lnTo>
                    <a:lnTo>
                      <a:pt x="106" y="74"/>
                    </a:lnTo>
                    <a:lnTo>
                      <a:pt x="101" y="76"/>
                    </a:lnTo>
                    <a:lnTo>
                      <a:pt x="97" y="76"/>
                    </a:lnTo>
                    <a:lnTo>
                      <a:pt x="93" y="76"/>
                    </a:lnTo>
                    <a:lnTo>
                      <a:pt x="87" y="76"/>
                    </a:lnTo>
                    <a:lnTo>
                      <a:pt x="84" y="76"/>
                    </a:lnTo>
                    <a:lnTo>
                      <a:pt x="78" y="76"/>
                    </a:lnTo>
                    <a:lnTo>
                      <a:pt x="74" y="76"/>
                    </a:lnTo>
                    <a:lnTo>
                      <a:pt x="68" y="74"/>
                    </a:lnTo>
                    <a:lnTo>
                      <a:pt x="65" y="74"/>
                    </a:lnTo>
                    <a:lnTo>
                      <a:pt x="59" y="74"/>
                    </a:lnTo>
                    <a:lnTo>
                      <a:pt x="55" y="74"/>
                    </a:lnTo>
                    <a:lnTo>
                      <a:pt x="49" y="73"/>
                    </a:lnTo>
                    <a:lnTo>
                      <a:pt x="44" y="73"/>
                    </a:lnTo>
                    <a:lnTo>
                      <a:pt x="38" y="71"/>
                    </a:lnTo>
                    <a:lnTo>
                      <a:pt x="32" y="71"/>
                    </a:lnTo>
                    <a:lnTo>
                      <a:pt x="27" y="69"/>
                    </a:lnTo>
                    <a:lnTo>
                      <a:pt x="21" y="67"/>
                    </a:lnTo>
                    <a:lnTo>
                      <a:pt x="15" y="67"/>
                    </a:lnTo>
                    <a:lnTo>
                      <a:pt x="8" y="65"/>
                    </a:lnTo>
                    <a:lnTo>
                      <a:pt x="0" y="2"/>
                    </a:lnTo>
                    <a:close/>
                  </a:path>
                </a:pathLst>
              </a:custGeom>
              <a:solidFill>
                <a:srgbClr val="8A8A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05" name="Freeform 25"/>
              <p:cNvSpPr>
                <a:spLocks/>
              </p:cNvSpPr>
              <p:nvPr/>
            </p:nvSpPr>
            <p:spPr bwMode="auto">
              <a:xfrm>
                <a:off x="2054226" y="2181226"/>
                <a:ext cx="88900" cy="84138"/>
              </a:xfrm>
              <a:custGeom>
                <a:avLst/>
                <a:gdLst>
                  <a:gd name="T0" fmla="*/ 2147483646 w 112"/>
                  <a:gd name="T1" fmla="*/ 0 h 104"/>
                  <a:gd name="T2" fmla="*/ 2147483646 w 112"/>
                  <a:gd name="T3" fmla="*/ 0 h 104"/>
                  <a:gd name="T4" fmla="*/ 2147483646 w 112"/>
                  <a:gd name="T5" fmla="*/ 0 h 104"/>
                  <a:gd name="T6" fmla="*/ 2147483646 w 112"/>
                  <a:gd name="T7" fmla="*/ 0 h 104"/>
                  <a:gd name="T8" fmla="*/ 2147483646 w 112"/>
                  <a:gd name="T9" fmla="*/ 2147483646 h 104"/>
                  <a:gd name="T10" fmla="*/ 2147483646 w 112"/>
                  <a:gd name="T11" fmla="*/ 2147483646 h 104"/>
                  <a:gd name="T12" fmla="*/ 2147483646 w 112"/>
                  <a:gd name="T13" fmla="*/ 2147483646 h 104"/>
                  <a:gd name="T14" fmla="*/ 2147483646 w 112"/>
                  <a:gd name="T15" fmla="*/ 2147483646 h 104"/>
                  <a:gd name="T16" fmla="*/ 2147483646 w 112"/>
                  <a:gd name="T17" fmla="*/ 2147483646 h 104"/>
                  <a:gd name="T18" fmla="*/ 2147483646 w 112"/>
                  <a:gd name="T19" fmla="*/ 2147483646 h 104"/>
                  <a:gd name="T20" fmla="*/ 2147483646 w 112"/>
                  <a:gd name="T21" fmla="*/ 2147483646 h 104"/>
                  <a:gd name="T22" fmla="*/ 2147483646 w 112"/>
                  <a:gd name="T23" fmla="*/ 2147483646 h 104"/>
                  <a:gd name="T24" fmla="*/ 2147483646 w 112"/>
                  <a:gd name="T25" fmla="*/ 2147483646 h 104"/>
                  <a:gd name="T26" fmla="*/ 2147483646 w 112"/>
                  <a:gd name="T27" fmla="*/ 2147483646 h 104"/>
                  <a:gd name="T28" fmla="*/ 2147483646 w 112"/>
                  <a:gd name="T29" fmla="*/ 2147483646 h 104"/>
                  <a:gd name="T30" fmla="*/ 2147483646 w 112"/>
                  <a:gd name="T31" fmla="*/ 2147483646 h 104"/>
                  <a:gd name="T32" fmla="*/ 2147483646 w 112"/>
                  <a:gd name="T33" fmla="*/ 2147483646 h 104"/>
                  <a:gd name="T34" fmla="*/ 2147483646 w 112"/>
                  <a:gd name="T35" fmla="*/ 2147483646 h 104"/>
                  <a:gd name="T36" fmla="*/ 2147483646 w 112"/>
                  <a:gd name="T37" fmla="*/ 2147483646 h 104"/>
                  <a:gd name="T38" fmla="*/ 2147483646 w 112"/>
                  <a:gd name="T39" fmla="*/ 2147483646 h 104"/>
                  <a:gd name="T40" fmla="*/ 2147483646 w 112"/>
                  <a:gd name="T41" fmla="*/ 2147483646 h 104"/>
                  <a:gd name="T42" fmla="*/ 2147483646 w 112"/>
                  <a:gd name="T43" fmla="*/ 2147483646 h 104"/>
                  <a:gd name="T44" fmla="*/ 2147483646 w 112"/>
                  <a:gd name="T45" fmla="*/ 2147483646 h 104"/>
                  <a:gd name="T46" fmla="*/ 2147483646 w 112"/>
                  <a:gd name="T47" fmla="*/ 2147483646 h 104"/>
                  <a:gd name="T48" fmla="*/ 2147483646 w 112"/>
                  <a:gd name="T49" fmla="*/ 2147483646 h 104"/>
                  <a:gd name="T50" fmla="*/ 2147483646 w 112"/>
                  <a:gd name="T51" fmla="*/ 2147483646 h 104"/>
                  <a:gd name="T52" fmla="*/ 2147483646 w 112"/>
                  <a:gd name="T53" fmla="*/ 2147483646 h 104"/>
                  <a:gd name="T54" fmla="*/ 2147483646 w 112"/>
                  <a:gd name="T55" fmla="*/ 2147483646 h 104"/>
                  <a:gd name="T56" fmla="*/ 2147483646 w 112"/>
                  <a:gd name="T57" fmla="*/ 2147483646 h 104"/>
                  <a:gd name="T58" fmla="*/ 2147483646 w 112"/>
                  <a:gd name="T59" fmla="*/ 2147483646 h 104"/>
                  <a:gd name="T60" fmla="*/ 2147483646 w 112"/>
                  <a:gd name="T61" fmla="*/ 2147483646 h 104"/>
                  <a:gd name="T62" fmla="*/ 2147483646 w 112"/>
                  <a:gd name="T63" fmla="*/ 2147483646 h 104"/>
                  <a:gd name="T64" fmla="*/ 2147483646 w 112"/>
                  <a:gd name="T65" fmla="*/ 2147483646 h 104"/>
                  <a:gd name="T66" fmla="*/ 0 w 112"/>
                  <a:gd name="T67" fmla="*/ 2147483646 h 10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2"/>
                  <a:gd name="T103" fmla="*/ 0 h 104"/>
                  <a:gd name="T104" fmla="*/ 112 w 112"/>
                  <a:gd name="T105" fmla="*/ 104 h 10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2" h="104">
                    <a:moveTo>
                      <a:pt x="0" y="2"/>
                    </a:moveTo>
                    <a:lnTo>
                      <a:pt x="2" y="0"/>
                    </a:lnTo>
                    <a:lnTo>
                      <a:pt x="4" y="0"/>
                    </a:lnTo>
                    <a:lnTo>
                      <a:pt x="8" y="0"/>
                    </a:lnTo>
                    <a:lnTo>
                      <a:pt x="16" y="0"/>
                    </a:lnTo>
                    <a:lnTo>
                      <a:pt x="21" y="0"/>
                    </a:lnTo>
                    <a:lnTo>
                      <a:pt x="29" y="0"/>
                    </a:lnTo>
                    <a:lnTo>
                      <a:pt x="33" y="0"/>
                    </a:lnTo>
                    <a:lnTo>
                      <a:pt x="36" y="0"/>
                    </a:lnTo>
                    <a:lnTo>
                      <a:pt x="40" y="2"/>
                    </a:lnTo>
                    <a:lnTo>
                      <a:pt x="46" y="2"/>
                    </a:lnTo>
                    <a:lnTo>
                      <a:pt x="50" y="2"/>
                    </a:lnTo>
                    <a:lnTo>
                      <a:pt x="54" y="4"/>
                    </a:lnTo>
                    <a:lnTo>
                      <a:pt x="57" y="4"/>
                    </a:lnTo>
                    <a:lnTo>
                      <a:pt x="63" y="5"/>
                    </a:lnTo>
                    <a:lnTo>
                      <a:pt x="67" y="5"/>
                    </a:lnTo>
                    <a:lnTo>
                      <a:pt x="71" y="7"/>
                    </a:lnTo>
                    <a:lnTo>
                      <a:pt x="74" y="7"/>
                    </a:lnTo>
                    <a:lnTo>
                      <a:pt x="78" y="11"/>
                    </a:lnTo>
                    <a:lnTo>
                      <a:pt x="84" y="13"/>
                    </a:lnTo>
                    <a:lnTo>
                      <a:pt x="92" y="17"/>
                    </a:lnTo>
                    <a:lnTo>
                      <a:pt x="95" y="23"/>
                    </a:lnTo>
                    <a:lnTo>
                      <a:pt x="99" y="30"/>
                    </a:lnTo>
                    <a:lnTo>
                      <a:pt x="99" y="36"/>
                    </a:lnTo>
                    <a:lnTo>
                      <a:pt x="101" y="42"/>
                    </a:lnTo>
                    <a:lnTo>
                      <a:pt x="103" y="49"/>
                    </a:lnTo>
                    <a:lnTo>
                      <a:pt x="103" y="55"/>
                    </a:lnTo>
                    <a:lnTo>
                      <a:pt x="105" y="63"/>
                    </a:lnTo>
                    <a:lnTo>
                      <a:pt x="107" y="68"/>
                    </a:lnTo>
                    <a:lnTo>
                      <a:pt x="107" y="74"/>
                    </a:lnTo>
                    <a:lnTo>
                      <a:pt x="109" y="80"/>
                    </a:lnTo>
                    <a:lnTo>
                      <a:pt x="109" y="85"/>
                    </a:lnTo>
                    <a:lnTo>
                      <a:pt x="111" y="89"/>
                    </a:lnTo>
                    <a:lnTo>
                      <a:pt x="111" y="93"/>
                    </a:lnTo>
                    <a:lnTo>
                      <a:pt x="112" y="97"/>
                    </a:lnTo>
                    <a:lnTo>
                      <a:pt x="112" y="102"/>
                    </a:lnTo>
                    <a:lnTo>
                      <a:pt x="112" y="104"/>
                    </a:lnTo>
                    <a:lnTo>
                      <a:pt x="86" y="102"/>
                    </a:lnTo>
                    <a:lnTo>
                      <a:pt x="86" y="99"/>
                    </a:lnTo>
                    <a:lnTo>
                      <a:pt x="84" y="93"/>
                    </a:lnTo>
                    <a:lnTo>
                      <a:pt x="82" y="89"/>
                    </a:lnTo>
                    <a:lnTo>
                      <a:pt x="82" y="85"/>
                    </a:lnTo>
                    <a:lnTo>
                      <a:pt x="82" y="80"/>
                    </a:lnTo>
                    <a:lnTo>
                      <a:pt x="80" y="76"/>
                    </a:lnTo>
                    <a:lnTo>
                      <a:pt x="78" y="70"/>
                    </a:lnTo>
                    <a:lnTo>
                      <a:pt x="76" y="64"/>
                    </a:lnTo>
                    <a:lnTo>
                      <a:pt x="76" y="61"/>
                    </a:lnTo>
                    <a:lnTo>
                      <a:pt x="74" y="55"/>
                    </a:lnTo>
                    <a:lnTo>
                      <a:pt x="73" y="51"/>
                    </a:lnTo>
                    <a:lnTo>
                      <a:pt x="73" y="47"/>
                    </a:lnTo>
                    <a:lnTo>
                      <a:pt x="71" y="43"/>
                    </a:lnTo>
                    <a:lnTo>
                      <a:pt x="69" y="42"/>
                    </a:lnTo>
                    <a:lnTo>
                      <a:pt x="67" y="38"/>
                    </a:lnTo>
                    <a:lnTo>
                      <a:pt x="63" y="36"/>
                    </a:lnTo>
                    <a:lnTo>
                      <a:pt x="57" y="34"/>
                    </a:lnTo>
                    <a:lnTo>
                      <a:pt x="54" y="32"/>
                    </a:lnTo>
                    <a:lnTo>
                      <a:pt x="48" y="30"/>
                    </a:lnTo>
                    <a:lnTo>
                      <a:pt x="42" y="28"/>
                    </a:lnTo>
                    <a:lnTo>
                      <a:pt x="36" y="26"/>
                    </a:lnTo>
                    <a:lnTo>
                      <a:pt x="33" y="24"/>
                    </a:lnTo>
                    <a:lnTo>
                      <a:pt x="25" y="23"/>
                    </a:lnTo>
                    <a:lnTo>
                      <a:pt x="21" y="21"/>
                    </a:lnTo>
                    <a:lnTo>
                      <a:pt x="16" y="21"/>
                    </a:lnTo>
                    <a:lnTo>
                      <a:pt x="12" y="19"/>
                    </a:lnTo>
                    <a:lnTo>
                      <a:pt x="8" y="19"/>
                    </a:lnTo>
                    <a:lnTo>
                      <a:pt x="6" y="17"/>
                    </a:lnTo>
                    <a:lnTo>
                      <a:pt x="4" y="17"/>
                    </a:lnTo>
                    <a:lnTo>
                      <a:pt x="0" y="2"/>
                    </a:lnTo>
                    <a:close/>
                  </a:path>
                </a:pathLst>
              </a:custGeom>
              <a:solidFill>
                <a:srgbClr val="8A8A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06" name="Freeform 35"/>
              <p:cNvSpPr>
                <a:spLocks/>
              </p:cNvSpPr>
              <p:nvPr/>
            </p:nvSpPr>
            <p:spPr bwMode="auto">
              <a:xfrm>
                <a:off x="2751138" y="2173288"/>
                <a:ext cx="304800" cy="536575"/>
              </a:xfrm>
              <a:custGeom>
                <a:avLst/>
                <a:gdLst>
                  <a:gd name="T0" fmla="*/ 2147483646 w 386"/>
                  <a:gd name="T1" fmla="*/ 0 h 677"/>
                  <a:gd name="T2" fmla="*/ 2147483646 w 386"/>
                  <a:gd name="T3" fmla="*/ 0 h 677"/>
                  <a:gd name="T4" fmla="*/ 2147483646 w 386"/>
                  <a:gd name="T5" fmla="*/ 2147483646 h 677"/>
                  <a:gd name="T6" fmla="*/ 2147483646 w 386"/>
                  <a:gd name="T7" fmla="*/ 2147483646 h 677"/>
                  <a:gd name="T8" fmla="*/ 2147483646 w 386"/>
                  <a:gd name="T9" fmla="*/ 2147483646 h 677"/>
                  <a:gd name="T10" fmla="*/ 0 w 386"/>
                  <a:gd name="T11" fmla="*/ 2147483646 h 677"/>
                  <a:gd name="T12" fmla="*/ 2147483646 w 386"/>
                  <a:gd name="T13" fmla="*/ 2147483646 h 677"/>
                  <a:gd name="T14" fmla="*/ 0 w 386"/>
                  <a:gd name="T15" fmla="*/ 2147483646 h 677"/>
                  <a:gd name="T16" fmla="*/ 2147483646 w 386"/>
                  <a:gd name="T17" fmla="*/ 2147483646 h 677"/>
                  <a:gd name="T18" fmla="*/ 2147483646 w 386"/>
                  <a:gd name="T19" fmla="*/ 2147483646 h 677"/>
                  <a:gd name="T20" fmla="*/ 2147483646 w 386"/>
                  <a:gd name="T21" fmla="*/ 2147483646 h 677"/>
                  <a:gd name="T22" fmla="*/ 2147483646 w 386"/>
                  <a:gd name="T23" fmla="*/ 2147483646 h 677"/>
                  <a:gd name="T24" fmla="*/ 2147483646 w 386"/>
                  <a:gd name="T25" fmla="*/ 2147483646 h 677"/>
                  <a:gd name="T26" fmla="*/ 2147483646 w 386"/>
                  <a:gd name="T27" fmla="*/ 2147483646 h 677"/>
                  <a:gd name="T28" fmla="*/ 2147483646 w 386"/>
                  <a:gd name="T29" fmla="*/ 2147483646 h 677"/>
                  <a:gd name="T30" fmla="*/ 2147483646 w 386"/>
                  <a:gd name="T31" fmla="*/ 2147483646 h 677"/>
                  <a:gd name="T32" fmla="*/ 2147483646 w 386"/>
                  <a:gd name="T33" fmla="*/ 2147483646 h 677"/>
                  <a:gd name="T34" fmla="*/ 2147483646 w 386"/>
                  <a:gd name="T35" fmla="*/ 0 h 677"/>
                  <a:gd name="T36" fmla="*/ 2147483646 w 386"/>
                  <a:gd name="T37" fmla="*/ 0 h 6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6"/>
                  <a:gd name="T58" fmla="*/ 0 h 677"/>
                  <a:gd name="T59" fmla="*/ 386 w 386"/>
                  <a:gd name="T60" fmla="*/ 677 h 6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6" h="677">
                    <a:moveTo>
                      <a:pt x="169" y="0"/>
                    </a:moveTo>
                    <a:lnTo>
                      <a:pt x="386" y="0"/>
                    </a:lnTo>
                    <a:lnTo>
                      <a:pt x="386" y="677"/>
                    </a:lnTo>
                    <a:lnTo>
                      <a:pt x="17" y="645"/>
                    </a:lnTo>
                    <a:lnTo>
                      <a:pt x="354" y="609"/>
                    </a:lnTo>
                    <a:lnTo>
                      <a:pt x="0" y="557"/>
                    </a:lnTo>
                    <a:lnTo>
                      <a:pt x="361" y="523"/>
                    </a:lnTo>
                    <a:lnTo>
                      <a:pt x="0" y="478"/>
                    </a:lnTo>
                    <a:lnTo>
                      <a:pt x="361" y="434"/>
                    </a:lnTo>
                    <a:lnTo>
                      <a:pt x="59" y="386"/>
                    </a:lnTo>
                    <a:lnTo>
                      <a:pt x="371" y="341"/>
                    </a:lnTo>
                    <a:lnTo>
                      <a:pt x="118" y="278"/>
                    </a:lnTo>
                    <a:lnTo>
                      <a:pt x="376" y="238"/>
                    </a:lnTo>
                    <a:lnTo>
                      <a:pt x="165" y="198"/>
                    </a:lnTo>
                    <a:lnTo>
                      <a:pt x="382" y="147"/>
                    </a:lnTo>
                    <a:lnTo>
                      <a:pt x="177" y="94"/>
                    </a:lnTo>
                    <a:lnTo>
                      <a:pt x="367" y="50"/>
                    </a:lnTo>
                    <a:lnTo>
                      <a:pt x="169" y="0"/>
                    </a:lnTo>
                    <a:close/>
                  </a:path>
                </a:pathLst>
              </a:custGeom>
              <a:solidFill>
                <a:srgbClr val="C299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07" name="Freeform 38"/>
              <p:cNvSpPr>
                <a:spLocks/>
              </p:cNvSpPr>
              <p:nvPr/>
            </p:nvSpPr>
            <p:spPr bwMode="auto">
              <a:xfrm>
                <a:off x="1500167" y="2765426"/>
                <a:ext cx="1071570" cy="1163640"/>
              </a:xfrm>
              <a:custGeom>
                <a:avLst/>
                <a:gdLst>
                  <a:gd name="T0" fmla="*/ 2147483646 w 1007"/>
                  <a:gd name="T1" fmla="*/ 0 h 1210"/>
                  <a:gd name="T2" fmla="*/ 2147483646 w 1007"/>
                  <a:gd name="T3" fmla="*/ 2147483646 h 1210"/>
                  <a:gd name="T4" fmla="*/ 2147483646 w 1007"/>
                  <a:gd name="T5" fmla="*/ 2147483646 h 1210"/>
                  <a:gd name="T6" fmla="*/ 2147483646 w 1007"/>
                  <a:gd name="T7" fmla="*/ 2147483646 h 1210"/>
                  <a:gd name="T8" fmla="*/ 2147483646 w 1007"/>
                  <a:gd name="T9" fmla="*/ 2147483646 h 1210"/>
                  <a:gd name="T10" fmla="*/ 2147483646 w 1007"/>
                  <a:gd name="T11" fmla="*/ 2147483646 h 1210"/>
                  <a:gd name="T12" fmla="*/ 2147483646 w 1007"/>
                  <a:gd name="T13" fmla="*/ 2147483646 h 1210"/>
                  <a:gd name="T14" fmla="*/ 2147483646 w 1007"/>
                  <a:gd name="T15" fmla="*/ 2147483646 h 1210"/>
                  <a:gd name="T16" fmla="*/ 2147483646 w 1007"/>
                  <a:gd name="T17" fmla="*/ 2147483646 h 1210"/>
                  <a:gd name="T18" fmla="*/ 2147483646 w 1007"/>
                  <a:gd name="T19" fmla="*/ 2147483646 h 1210"/>
                  <a:gd name="T20" fmla="*/ 2147483646 w 1007"/>
                  <a:gd name="T21" fmla="*/ 2147483646 h 1210"/>
                  <a:gd name="T22" fmla="*/ 2147483646 w 1007"/>
                  <a:gd name="T23" fmla="*/ 2147483646 h 1210"/>
                  <a:gd name="T24" fmla="*/ 2147483646 w 1007"/>
                  <a:gd name="T25" fmla="*/ 2147483646 h 1210"/>
                  <a:gd name="T26" fmla="*/ 2147483646 w 1007"/>
                  <a:gd name="T27" fmla="*/ 2147483646 h 1210"/>
                  <a:gd name="T28" fmla="*/ 2147483646 w 1007"/>
                  <a:gd name="T29" fmla="*/ 2147483646 h 1210"/>
                  <a:gd name="T30" fmla="*/ 2147483646 w 1007"/>
                  <a:gd name="T31" fmla="*/ 2147483646 h 1210"/>
                  <a:gd name="T32" fmla="*/ 2147483646 w 1007"/>
                  <a:gd name="T33" fmla="*/ 2147483646 h 1210"/>
                  <a:gd name="T34" fmla="*/ 0 w 1007"/>
                  <a:gd name="T35" fmla="*/ 2147483646 h 1210"/>
                  <a:gd name="T36" fmla="*/ 2147483646 w 1007"/>
                  <a:gd name="T37" fmla="*/ 2147483646 h 1210"/>
                  <a:gd name="T38" fmla="*/ 2147483646 w 1007"/>
                  <a:gd name="T39" fmla="*/ 2147483646 h 1210"/>
                  <a:gd name="T40" fmla="*/ 2147483646 w 1007"/>
                  <a:gd name="T41" fmla="*/ 0 h 1210"/>
                  <a:gd name="T42" fmla="*/ 2147483646 w 1007"/>
                  <a:gd name="T43" fmla="*/ 0 h 12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07"/>
                  <a:gd name="T67" fmla="*/ 0 h 1210"/>
                  <a:gd name="T68" fmla="*/ 1007 w 1007"/>
                  <a:gd name="T69" fmla="*/ 1210 h 12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07" h="1210">
                    <a:moveTo>
                      <a:pt x="190" y="0"/>
                    </a:moveTo>
                    <a:lnTo>
                      <a:pt x="181" y="301"/>
                    </a:lnTo>
                    <a:lnTo>
                      <a:pt x="437" y="137"/>
                    </a:lnTo>
                    <a:lnTo>
                      <a:pt x="262" y="364"/>
                    </a:lnTo>
                    <a:lnTo>
                      <a:pt x="557" y="145"/>
                    </a:lnTo>
                    <a:lnTo>
                      <a:pt x="374" y="390"/>
                    </a:lnTo>
                    <a:lnTo>
                      <a:pt x="654" y="166"/>
                    </a:lnTo>
                    <a:lnTo>
                      <a:pt x="475" y="430"/>
                    </a:lnTo>
                    <a:lnTo>
                      <a:pt x="785" y="185"/>
                    </a:lnTo>
                    <a:lnTo>
                      <a:pt x="623" y="426"/>
                    </a:lnTo>
                    <a:lnTo>
                      <a:pt x="918" y="181"/>
                    </a:lnTo>
                    <a:lnTo>
                      <a:pt x="783" y="405"/>
                    </a:lnTo>
                    <a:lnTo>
                      <a:pt x="1003" y="210"/>
                    </a:lnTo>
                    <a:lnTo>
                      <a:pt x="910" y="407"/>
                    </a:lnTo>
                    <a:lnTo>
                      <a:pt x="1007" y="324"/>
                    </a:lnTo>
                    <a:lnTo>
                      <a:pt x="1003" y="468"/>
                    </a:lnTo>
                    <a:lnTo>
                      <a:pt x="648" y="470"/>
                    </a:lnTo>
                    <a:lnTo>
                      <a:pt x="0" y="1210"/>
                    </a:lnTo>
                    <a:lnTo>
                      <a:pt x="2" y="907"/>
                    </a:lnTo>
                    <a:lnTo>
                      <a:pt x="139" y="42"/>
                    </a:lnTo>
                    <a:lnTo>
                      <a:pt x="190" y="0"/>
                    </a:lnTo>
                    <a:close/>
                  </a:path>
                </a:pathLst>
              </a:custGeom>
              <a:solidFill>
                <a:srgbClr val="8778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08" name="Freeform 39"/>
              <p:cNvSpPr>
                <a:spLocks/>
              </p:cNvSpPr>
              <p:nvPr/>
            </p:nvSpPr>
            <p:spPr bwMode="auto">
              <a:xfrm>
                <a:off x="1428728" y="2749551"/>
                <a:ext cx="787423" cy="1393829"/>
              </a:xfrm>
              <a:custGeom>
                <a:avLst/>
                <a:gdLst>
                  <a:gd name="T0" fmla="*/ 0 w 654"/>
                  <a:gd name="T1" fmla="*/ 2147483646 h 1349"/>
                  <a:gd name="T2" fmla="*/ 2147483646 w 654"/>
                  <a:gd name="T3" fmla="*/ 2147483646 h 1349"/>
                  <a:gd name="T4" fmla="*/ 2147483646 w 654"/>
                  <a:gd name="T5" fmla="*/ 2147483646 h 1349"/>
                  <a:gd name="T6" fmla="*/ 2147483646 w 654"/>
                  <a:gd name="T7" fmla="*/ 2147483646 h 1349"/>
                  <a:gd name="T8" fmla="*/ 2147483646 w 654"/>
                  <a:gd name="T9" fmla="*/ 2147483646 h 1349"/>
                  <a:gd name="T10" fmla="*/ 2147483646 w 654"/>
                  <a:gd name="T11" fmla="*/ 2147483646 h 1349"/>
                  <a:gd name="T12" fmla="*/ 2147483646 w 654"/>
                  <a:gd name="T13" fmla="*/ 2147483646 h 1349"/>
                  <a:gd name="T14" fmla="*/ 2147483646 w 654"/>
                  <a:gd name="T15" fmla="*/ 2147483646 h 1349"/>
                  <a:gd name="T16" fmla="*/ 2147483646 w 654"/>
                  <a:gd name="T17" fmla="*/ 2147483646 h 1349"/>
                  <a:gd name="T18" fmla="*/ 2147483646 w 654"/>
                  <a:gd name="T19" fmla="*/ 2147483646 h 1349"/>
                  <a:gd name="T20" fmla="*/ 2147483646 w 654"/>
                  <a:gd name="T21" fmla="*/ 2147483646 h 1349"/>
                  <a:gd name="T22" fmla="*/ 2147483646 w 654"/>
                  <a:gd name="T23" fmla="*/ 2147483646 h 1349"/>
                  <a:gd name="T24" fmla="*/ 2147483646 w 654"/>
                  <a:gd name="T25" fmla="*/ 2147483646 h 1349"/>
                  <a:gd name="T26" fmla="*/ 2147483646 w 654"/>
                  <a:gd name="T27" fmla="*/ 2147483646 h 1349"/>
                  <a:gd name="T28" fmla="*/ 2147483646 w 654"/>
                  <a:gd name="T29" fmla="*/ 2147483646 h 1349"/>
                  <a:gd name="T30" fmla="*/ 2147483646 w 654"/>
                  <a:gd name="T31" fmla="*/ 2147483646 h 1349"/>
                  <a:gd name="T32" fmla="*/ 2147483646 w 654"/>
                  <a:gd name="T33" fmla="*/ 2147483646 h 1349"/>
                  <a:gd name="T34" fmla="*/ 2147483646 w 654"/>
                  <a:gd name="T35" fmla="*/ 2147483646 h 1349"/>
                  <a:gd name="T36" fmla="*/ 2147483646 w 654"/>
                  <a:gd name="T37" fmla="*/ 2147483646 h 1349"/>
                  <a:gd name="T38" fmla="*/ 2147483646 w 654"/>
                  <a:gd name="T39" fmla="*/ 2147483646 h 1349"/>
                  <a:gd name="T40" fmla="*/ 2147483646 w 654"/>
                  <a:gd name="T41" fmla="*/ 2147483646 h 1349"/>
                  <a:gd name="T42" fmla="*/ 2147483646 w 654"/>
                  <a:gd name="T43" fmla="*/ 2147483646 h 1349"/>
                  <a:gd name="T44" fmla="*/ 2147483646 w 654"/>
                  <a:gd name="T45" fmla="*/ 2147483646 h 1349"/>
                  <a:gd name="T46" fmla="*/ 2147483646 w 654"/>
                  <a:gd name="T47" fmla="*/ 2147483646 h 1349"/>
                  <a:gd name="T48" fmla="*/ 2147483646 w 654"/>
                  <a:gd name="T49" fmla="*/ 2147483646 h 1349"/>
                  <a:gd name="T50" fmla="*/ 2147483646 w 654"/>
                  <a:gd name="T51" fmla="*/ 2147483646 h 1349"/>
                  <a:gd name="T52" fmla="*/ 2147483646 w 654"/>
                  <a:gd name="T53" fmla="*/ 2147483646 h 1349"/>
                  <a:gd name="T54" fmla="*/ 2147483646 w 654"/>
                  <a:gd name="T55" fmla="*/ 2147483646 h 1349"/>
                  <a:gd name="T56" fmla="*/ 2147483646 w 654"/>
                  <a:gd name="T57" fmla="*/ 2147483646 h 1349"/>
                  <a:gd name="T58" fmla="*/ 2147483646 w 654"/>
                  <a:gd name="T59" fmla="*/ 2147483646 h 1349"/>
                  <a:gd name="T60" fmla="*/ 2147483646 w 654"/>
                  <a:gd name="T61" fmla="*/ 2147483646 h 1349"/>
                  <a:gd name="T62" fmla="*/ 2147483646 w 654"/>
                  <a:gd name="T63" fmla="*/ 2147483646 h 1349"/>
                  <a:gd name="T64" fmla="*/ 2147483646 w 654"/>
                  <a:gd name="T65" fmla="*/ 2147483646 h 1349"/>
                  <a:gd name="T66" fmla="*/ 2147483646 w 654"/>
                  <a:gd name="T67" fmla="*/ 2147483646 h 1349"/>
                  <a:gd name="T68" fmla="*/ 2147483646 w 654"/>
                  <a:gd name="T69" fmla="*/ 2147483646 h 1349"/>
                  <a:gd name="T70" fmla="*/ 2147483646 w 654"/>
                  <a:gd name="T71" fmla="*/ 2147483646 h 1349"/>
                  <a:gd name="T72" fmla="*/ 2147483646 w 654"/>
                  <a:gd name="T73" fmla="*/ 2147483646 h 1349"/>
                  <a:gd name="T74" fmla="*/ 2147483646 w 654"/>
                  <a:gd name="T75" fmla="*/ 2147483646 h 1349"/>
                  <a:gd name="T76" fmla="*/ 2147483646 w 654"/>
                  <a:gd name="T77" fmla="*/ 2147483646 h 1349"/>
                  <a:gd name="T78" fmla="*/ 2147483646 w 654"/>
                  <a:gd name="T79" fmla="*/ 2147483646 h 1349"/>
                  <a:gd name="T80" fmla="*/ 2147483646 w 654"/>
                  <a:gd name="T81" fmla="*/ 2147483646 h 1349"/>
                  <a:gd name="T82" fmla="*/ 2147483646 w 654"/>
                  <a:gd name="T83" fmla="*/ 2147483646 h 1349"/>
                  <a:gd name="T84" fmla="*/ 2147483646 w 654"/>
                  <a:gd name="T85" fmla="*/ 2147483646 h 1349"/>
                  <a:gd name="T86" fmla="*/ 2147483646 w 654"/>
                  <a:gd name="T87" fmla="*/ 2147483646 h 1349"/>
                  <a:gd name="T88" fmla="*/ 2147483646 w 654"/>
                  <a:gd name="T89" fmla="*/ 2147483646 h 1349"/>
                  <a:gd name="T90" fmla="*/ 2147483646 w 654"/>
                  <a:gd name="T91" fmla="*/ 2147483646 h 1349"/>
                  <a:gd name="T92" fmla="*/ 2147483646 w 654"/>
                  <a:gd name="T93" fmla="*/ 2147483646 h 1349"/>
                  <a:gd name="T94" fmla="*/ 2147483646 w 654"/>
                  <a:gd name="T95" fmla="*/ 2147483646 h 1349"/>
                  <a:gd name="T96" fmla="*/ 2147483646 w 654"/>
                  <a:gd name="T97" fmla="*/ 2147483646 h 1349"/>
                  <a:gd name="T98" fmla="*/ 2147483646 w 654"/>
                  <a:gd name="T99" fmla="*/ 2147483646 h 1349"/>
                  <a:gd name="T100" fmla="*/ 2147483646 w 654"/>
                  <a:gd name="T101" fmla="*/ 2147483646 h 1349"/>
                  <a:gd name="T102" fmla="*/ 2147483646 w 654"/>
                  <a:gd name="T103" fmla="*/ 2147483646 h 1349"/>
                  <a:gd name="T104" fmla="*/ 2147483646 w 654"/>
                  <a:gd name="T105" fmla="*/ 2147483646 h 1349"/>
                  <a:gd name="T106" fmla="*/ 2147483646 w 654"/>
                  <a:gd name="T107" fmla="*/ 2147483646 h 1349"/>
                  <a:gd name="T108" fmla="*/ 2147483646 w 654"/>
                  <a:gd name="T109" fmla="*/ 2147483646 h 1349"/>
                  <a:gd name="T110" fmla="*/ 2147483646 w 654"/>
                  <a:gd name="T111" fmla="*/ 2147483646 h 1349"/>
                  <a:gd name="T112" fmla="*/ 2147483646 w 654"/>
                  <a:gd name="T113" fmla="*/ 2147483646 h 1349"/>
                  <a:gd name="T114" fmla="*/ 2147483646 w 654"/>
                  <a:gd name="T115" fmla="*/ 2147483646 h 1349"/>
                  <a:gd name="T116" fmla="*/ 2147483646 w 654"/>
                  <a:gd name="T117" fmla="*/ 2147483646 h 1349"/>
                  <a:gd name="T118" fmla="*/ 2147483646 w 654"/>
                  <a:gd name="T119" fmla="*/ 0 h 1349"/>
                  <a:gd name="T120" fmla="*/ 0 w 654"/>
                  <a:gd name="T121" fmla="*/ 2147483646 h 1349"/>
                  <a:gd name="T122" fmla="*/ 0 w 654"/>
                  <a:gd name="T123" fmla="*/ 2147483646 h 13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54"/>
                  <a:gd name="T187" fmla="*/ 0 h 1349"/>
                  <a:gd name="T188" fmla="*/ 654 w 654"/>
                  <a:gd name="T189" fmla="*/ 1349 h 13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54" h="1349">
                    <a:moveTo>
                      <a:pt x="0" y="1349"/>
                    </a:moveTo>
                    <a:lnTo>
                      <a:pt x="6" y="1342"/>
                    </a:lnTo>
                    <a:lnTo>
                      <a:pt x="11" y="1332"/>
                    </a:lnTo>
                    <a:lnTo>
                      <a:pt x="19" y="1323"/>
                    </a:lnTo>
                    <a:lnTo>
                      <a:pt x="27" y="1311"/>
                    </a:lnTo>
                    <a:lnTo>
                      <a:pt x="34" y="1300"/>
                    </a:lnTo>
                    <a:lnTo>
                      <a:pt x="44" y="1287"/>
                    </a:lnTo>
                    <a:lnTo>
                      <a:pt x="53" y="1273"/>
                    </a:lnTo>
                    <a:lnTo>
                      <a:pt x="65" y="1258"/>
                    </a:lnTo>
                    <a:lnTo>
                      <a:pt x="76" y="1245"/>
                    </a:lnTo>
                    <a:lnTo>
                      <a:pt x="87" y="1228"/>
                    </a:lnTo>
                    <a:lnTo>
                      <a:pt x="101" y="1212"/>
                    </a:lnTo>
                    <a:lnTo>
                      <a:pt x="112" y="1193"/>
                    </a:lnTo>
                    <a:lnTo>
                      <a:pt x="125" y="1176"/>
                    </a:lnTo>
                    <a:lnTo>
                      <a:pt x="139" y="1157"/>
                    </a:lnTo>
                    <a:lnTo>
                      <a:pt x="152" y="1138"/>
                    </a:lnTo>
                    <a:lnTo>
                      <a:pt x="167" y="1119"/>
                    </a:lnTo>
                    <a:lnTo>
                      <a:pt x="182" y="1098"/>
                    </a:lnTo>
                    <a:lnTo>
                      <a:pt x="196" y="1077"/>
                    </a:lnTo>
                    <a:lnTo>
                      <a:pt x="213" y="1058"/>
                    </a:lnTo>
                    <a:lnTo>
                      <a:pt x="228" y="1036"/>
                    </a:lnTo>
                    <a:lnTo>
                      <a:pt x="243" y="1015"/>
                    </a:lnTo>
                    <a:lnTo>
                      <a:pt x="260" y="992"/>
                    </a:lnTo>
                    <a:lnTo>
                      <a:pt x="275" y="971"/>
                    </a:lnTo>
                    <a:lnTo>
                      <a:pt x="293" y="948"/>
                    </a:lnTo>
                    <a:lnTo>
                      <a:pt x="308" y="927"/>
                    </a:lnTo>
                    <a:lnTo>
                      <a:pt x="325" y="904"/>
                    </a:lnTo>
                    <a:lnTo>
                      <a:pt x="342" y="884"/>
                    </a:lnTo>
                    <a:lnTo>
                      <a:pt x="357" y="861"/>
                    </a:lnTo>
                    <a:lnTo>
                      <a:pt x="374" y="838"/>
                    </a:lnTo>
                    <a:lnTo>
                      <a:pt x="389" y="815"/>
                    </a:lnTo>
                    <a:lnTo>
                      <a:pt x="407" y="794"/>
                    </a:lnTo>
                    <a:lnTo>
                      <a:pt x="422" y="771"/>
                    </a:lnTo>
                    <a:lnTo>
                      <a:pt x="439" y="750"/>
                    </a:lnTo>
                    <a:lnTo>
                      <a:pt x="454" y="730"/>
                    </a:lnTo>
                    <a:lnTo>
                      <a:pt x="471" y="709"/>
                    </a:lnTo>
                    <a:lnTo>
                      <a:pt x="484" y="688"/>
                    </a:lnTo>
                    <a:lnTo>
                      <a:pt x="500" y="669"/>
                    </a:lnTo>
                    <a:lnTo>
                      <a:pt x="515" y="648"/>
                    </a:lnTo>
                    <a:lnTo>
                      <a:pt x="530" y="629"/>
                    </a:lnTo>
                    <a:lnTo>
                      <a:pt x="543" y="610"/>
                    </a:lnTo>
                    <a:lnTo>
                      <a:pt x="557" y="591"/>
                    </a:lnTo>
                    <a:lnTo>
                      <a:pt x="570" y="576"/>
                    </a:lnTo>
                    <a:lnTo>
                      <a:pt x="583" y="558"/>
                    </a:lnTo>
                    <a:lnTo>
                      <a:pt x="595" y="541"/>
                    </a:lnTo>
                    <a:lnTo>
                      <a:pt x="606" y="526"/>
                    </a:lnTo>
                    <a:lnTo>
                      <a:pt x="616" y="511"/>
                    </a:lnTo>
                    <a:lnTo>
                      <a:pt x="627" y="498"/>
                    </a:lnTo>
                    <a:lnTo>
                      <a:pt x="636" y="484"/>
                    </a:lnTo>
                    <a:lnTo>
                      <a:pt x="646" y="471"/>
                    </a:lnTo>
                    <a:lnTo>
                      <a:pt x="654" y="462"/>
                    </a:lnTo>
                    <a:lnTo>
                      <a:pt x="122" y="1001"/>
                    </a:lnTo>
                    <a:lnTo>
                      <a:pt x="560" y="391"/>
                    </a:lnTo>
                    <a:lnTo>
                      <a:pt x="112" y="815"/>
                    </a:lnTo>
                    <a:lnTo>
                      <a:pt x="456" y="359"/>
                    </a:lnTo>
                    <a:lnTo>
                      <a:pt x="135" y="640"/>
                    </a:lnTo>
                    <a:lnTo>
                      <a:pt x="353" y="330"/>
                    </a:lnTo>
                    <a:lnTo>
                      <a:pt x="171" y="469"/>
                    </a:lnTo>
                    <a:lnTo>
                      <a:pt x="279" y="5"/>
                    </a:lnTo>
                    <a:lnTo>
                      <a:pt x="192" y="0"/>
                    </a:lnTo>
                    <a:lnTo>
                      <a:pt x="0" y="13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09" name="Freeform 51"/>
              <p:cNvSpPr>
                <a:spLocks/>
              </p:cNvSpPr>
              <p:nvPr/>
            </p:nvSpPr>
            <p:spPr bwMode="auto">
              <a:xfrm>
                <a:off x="2343151" y="3890963"/>
                <a:ext cx="265113" cy="282575"/>
              </a:xfrm>
              <a:custGeom>
                <a:avLst/>
                <a:gdLst>
                  <a:gd name="T0" fmla="*/ 2147483646 w 335"/>
                  <a:gd name="T1" fmla="*/ 2147483646 h 355"/>
                  <a:gd name="T2" fmla="*/ 2147483646 w 335"/>
                  <a:gd name="T3" fmla="*/ 2147483646 h 355"/>
                  <a:gd name="T4" fmla="*/ 2147483646 w 335"/>
                  <a:gd name="T5" fmla="*/ 2147483646 h 355"/>
                  <a:gd name="T6" fmla="*/ 2147483646 w 335"/>
                  <a:gd name="T7" fmla="*/ 2147483646 h 355"/>
                  <a:gd name="T8" fmla="*/ 2147483646 w 335"/>
                  <a:gd name="T9" fmla="*/ 2147483646 h 355"/>
                  <a:gd name="T10" fmla="*/ 2147483646 w 335"/>
                  <a:gd name="T11" fmla="*/ 2147483646 h 355"/>
                  <a:gd name="T12" fmla="*/ 2147483646 w 335"/>
                  <a:gd name="T13" fmla="*/ 2147483646 h 355"/>
                  <a:gd name="T14" fmla="*/ 2147483646 w 335"/>
                  <a:gd name="T15" fmla="*/ 2147483646 h 355"/>
                  <a:gd name="T16" fmla="*/ 2147483646 w 335"/>
                  <a:gd name="T17" fmla="*/ 2147483646 h 355"/>
                  <a:gd name="T18" fmla="*/ 2147483646 w 335"/>
                  <a:gd name="T19" fmla="*/ 2147483646 h 355"/>
                  <a:gd name="T20" fmla="*/ 2147483646 w 335"/>
                  <a:gd name="T21" fmla="*/ 2147483646 h 355"/>
                  <a:gd name="T22" fmla="*/ 2147483646 w 335"/>
                  <a:gd name="T23" fmla="*/ 2147483646 h 355"/>
                  <a:gd name="T24" fmla="*/ 2147483646 w 335"/>
                  <a:gd name="T25" fmla="*/ 2147483646 h 355"/>
                  <a:gd name="T26" fmla="*/ 2147483646 w 335"/>
                  <a:gd name="T27" fmla="*/ 2147483646 h 355"/>
                  <a:gd name="T28" fmla="*/ 2147483646 w 335"/>
                  <a:gd name="T29" fmla="*/ 2147483646 h 355"/>
                  <a:gd name="T30" fmla="*/ 2147483646 w 335"/>
                  <a:gd name="T31" fmla="*/ 2147483646 h 355"/>
                  <a:gd name="T32" fmla="*/ 2147483646 w 335"/>
                  <a:gd name="T33" fmla="*/ 2147483646 h 355"/>
                  <a:gd name="T34" fmla="*/ 2147483646 w 335"/>
                  <a:gd name="T35" fmla="*/ 2147483646 h 355"/>
                  <a:gd name="T36" fmla="*/ 2147483646 w 335"/>
                  <a:gd name="T37" fmla="*/ 2147483646 h 355"/>
                  <a:gd name="T38" fmla="*/ 2147483646 w 335"/>
                  <a:gd name="T39" fmla="*/ 2147483646 h 355"/>
                  <a:gd name="T40" fmla="*/ 2147483646 w 335"/>
                  <a:gd name="T41" fmla="*/ 2147483646 h 355"/>
                  <a:gd name="T42" fmla="*/ 2147483646 w 335"/>
                  <a:gd name="T43" fmla="*/ 2147483646 h 355"/>
                  <a:gd name="T44" fmla="*/ 2147483646 w 335"/>
                  <a:gd name="T45" fmla="*/ 2147483646 h 355"/>
                  <a:gd name="T46" fmla="*/ 2147483646 w 335"/>
                  <a:gd name="T47" fmla="*/ 2147483646 h 355"/>
                  <a:gd name="T48" fmla="*/ 2147483646 w 335"/>
                  <a:gd name="T49" fmla="*/ 2147483646 h 355"/>
                  <a:gd name="T50" fmla="*/ 2147483646 w 335"/>
                  <a:gd name="T51" fmla="*/ 2147483646 h 355"/>
                  <a:gd name="T52" fmla="*/ 2147483646 w 335"/>
                  <a:gd name="T53" fmla="*/ 2147483646 h 355"/>
                  <a:gd name="T54" fmla="*/ 2147483646 w 335"/>
                  <a:gd name="T55" fmla="*/ 2147483646 h 355"/>
                  <a:gd name="T56" fmla="*/ 2147483646 w 335"/>
                  <a:gd name="T57" fmla="*/ 2147483646 h 355"/>
                  <a:gd name="T58" fmla="*/ 2147483646 w 335"/>
                  <a:gd name="T59" fmla="*/ 2147483646 h 355"/>
                  <a:gd name="T60" fmla="*/ 2147483646 w 335"/>
                  <a:gd name="T61" fmla="*/ 2147483646 h 355"/>
                  <a:gd name="T62" fmla="*/ 2147483646 w 335"/>
                  <a:gd name="T63" fmla="*/ 2147483646 h 355"/>
                  <a:gd name="T64" fmla="*/ 2147483646 w 335"/>
                  <a:gd name="T65" fmla="*/ 2147483646 h 355"/>
                  <a:gd name="T66" fmla="*/ 2147483646 w 335"/>
                  <a:gd name="T67" fmla="*/ 2147483646 h 355"/>
                  <a:gd name="T68" fmla="*/ 2147483646 w 335"/>
                  <a:gd name="T69" fmla="*/ 2147483646 h 355"/>
                  <a:gd name="T70" fmla="*/ 2147483646 w 335"/>
                  <a:gd name="T71" fmla="*/ 2147483646 h 355"/>
                  <a:gd name="T72" fmla="*/ 0 w 335"/>
                  <a:gd name="T73" fmla="*/ 2147483646 h 355"/>
                  <a:gd name="T74" fmla="*/ 2147483646 w 335"/>
                  <a:gd name="T75" fmla="*/ 2147483646 h 355"/>
                  <a:gd name="T76" fmla="*/ 2147483646 w 335"/>
                  <a:gd name="T77" fmla="*/ 2147483646 h 355"/>
                  <a:gd name="T78" fmla="*/ 2147483646 w 335"/>
                  <a:gd name="T79" fmla="*/ 2147483646 h 355"/>
                  <a:gd name="T80" fmla="*/ 2147483646 w 335"/>
                  <a:gd name="T81" fmla="*/ 2147483646 h 355"/>
                  <a:gd name="T82" fmla="*/ 2147483646 w 335"/>
                  <a:gd name="T83" fmla="*/ 2147483646 h 355"/>
                  <a:gd name="T84" fmla="*/ 2147483646 w 335"/>
                  <a:gd name="T85" fmla="*/ 2147483646 h 355"/>
                  <a:gd name="T86" fmla="*/ 2147483646 w 335"/>
                  <a:gd name="T87" fmla="*/ 2147483646 h 355"/>
                  <a:gd name="T88" fmla="*/ 2147483646 w 335"/>
                  <a:gd name="T89" fmla="*/ 2147483646 h 355"/>
                  <a:gd name="T90" fmla="*/ 2147483646 w 335"/>
                  <a:gd name="T91" fmla="*/ 2147483646 h 355"/>
                  <a:gd name="T92" fmla="*/ 2147483646 w 335"/>
                  <a:gd name="T93" fmla="*/ 2147483646 h 355"/>
                  <a:gd name="T94" fmla="*/ 2147483646 w 335"/>
                  <a:gd name="T95" fmla="*/ 2147483646 h 355"/>
                  <a:gd name="T96" fmla="*/ 2147483646 w 335"/>
                  <a:gd name="T97" fmla="*/ 2147483646 h 355"/>
                  <a:gd name="T98" fmla="*/ 2147483646 w 335"/>
                  <a:gd name="T99" fmla="*/ 2147483646 h 355"/>
                  <a:gd name="T100" fmla="*/ 2147483646 w 335"/>
                  <a:gd name="T101" fmla="*/ 0 h 355"/>
                  <a:gd name="T102" fmla="*/ 2147483646 w 335"/>
                  <a:gd name="T103" fmla="*/ 2147483646 h 3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5"/>
                  <a:gd name="T157" fmla="*/ 0 h 355"/>
                  <a:gd name="T158" fmla="*/ 335 w 335"/>
                  <a:gd name="T159" fmla="*/ 355 h 3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5" h="355">
                    <a:moveTo>
                      <a:pt x="112" y="9"/>
                    </a:moveTo>
                    <a:lnTo>
                      <a:pt x="118" y="15"/>
                    </a:lnTo>
                    <a:lnTo>
                      <a:pt x="124" y="22"/>
                    </a:lnTo>
                    <a:lnTo>
                      <a:pt x="126" y="24"/>
                    </a:lnTo>
                    <a:lnTo>
                      <a:pt x="126" y="28"/>
                    </a:lnTo>
                    <a:lnTo>
                      <a:pt x="127" y="32"/>
                    </a:lnTo>
                    <a:lnTo>
                      <a:pt x="127" y="38"/>
                    </a:lnTo>
                    <a:lnTo>
                      <a:pt x="127" y="40"/>
                    </a:lnTo>
                    <a:lnTo>
                      <a:pt x="127" y="43"/>
                    </a:lnTo>
                    <a:lnTo>
                      <a:pt x="127" y="47"/>
                    </a:lnTo>
                    <a:lnTo>
                      <a:pt x="127" y="51"/>
                    </a:lnTo>
                    <a:lnTo>
                      <a:pt x="126" y="57"/>
                    </a:lnTo>
                    <a:lnTo>
                      <a:pt x="126" y="60"/>
                    </a:lnTo>
                    <a:lnTo>
                      <a:pt x="124" y="64"/>
                    </a:lnTo>
                    <a:lnTo>
                      <a:pt x="124" y="68"/>
                    </a:lnTo>
                    <a:lnTo>
                      <a:pt x="120" y="72"/>
                    </a:lnTo>
                    <a:lnTo>
                      <a:pt x="118" y="76"/>
                    </a:lnTo>
                    <a:lnTo>
                      <a:pt x="116" y="79"/>
                    </a:lnTo>
                    <a:lnTo>
                      <a:pt x="114" y="83"/>
                    </a:lnTo>
                    <a:lnTo>
                      <a:pt x="110" y="89"/>
                    </a:lnTo>
                    <a:lnTo>
                      <a:pt x="108" y="93"/>
                    </a:lnTo>
                    <a:lnTo>
                      <a:pt x="105" y="97"/>
                    </a:lnTo>
                    <a:lnTo>
                      <a:pt x="103" y="100"/>
                    </a:lnTo>
                    <a:lnTo>
                      <a:pt x="99" y="104"/>
                    </a:lnTo>
                    <a:lnTo>
                      <a:pt x="97" y="108"/>
                    </a:lnTo>
                    <a:lnTo>
                      <a:pt x="95" y="112"/>
                    </a:lnTo>
                    <a:lnTo>
                      <a:pt x="91" y="116"/>
                    </a:lnTo>
                    <a:lnTo>
                      <a:pt x="89" y="121"/>
                    </a:lnTo>
                    <a:lnTo>
                      <a:pt x="86" y="125"/>
                    </a:lnTo>
                    <a:lnTo>
                      <a:pt x="84" y="129"/>
                    </a:lnTo>
                    <a:lnTo>
                      <a:pt x="82" y="133"/>
                    </a:lnTo>
                    <a:lnTo>
                      <a:pt x="74" y="140"/>
                    </a:lnTo>
                    <a:lnTo>
                      <a:pt x="70" y="148"/>
                    </a:lnTo>
                    <a:lnTo>
                      <a:pt x="67" y="154"/>
                    </a:lnTo>
                    <a:lnTo>
                      <a:pt x="63" y="161"/>
                    </a:lnTo>
                    <a:lnTo>
                      <a:pt x="59" y="169"/>
                    </a:lnTo>
                    <a:lnTo>
                      <a:pt x="55" y="175"/>
                    </a:lnTo>
                    <a:lnTo>
                      <a:pt x="51" y="182"/>
                    </a:lnTo>
                    <a:lnTo>
                      <a:pt x="50" y="190"/>
                    </a:lnTo>
                    <a:lnTo>
                      <a:pt x="48" y="195"/>
                    </a:lnTo>
                    <a:lnTo>
                      <a:pt x="46" y="201"/>
                    </a:lnTo>
                    <a:lnTo>
                      <a:pt x="44" y="207"/>
                    </a:lnTo>
                    <a:lnTo>
                      <a:pt x="44" y="213"/>
                    </a:lnTo>
                    <a:lnTo>
                      <a:pt x="42" y="218"/>
                    </a:lnTo>
                    <a:lnTo>
                      <a:pt x="42" y="224"/>
                    </a:lnTo>
                    <a:lnTo>
                      <a:pt x="42" y="230"/>
                    </a:lnTo>
                    <a:lnTo>
                      <a:pt x="44" y="235"/>
                    </a:lnTo>
                    <a:lnTo>
                      <a:pt x="44" y="239"/>
                    </a:lnTo>
                    <a:lnTo>
                      <a:pt x="46" y="245"/>
                    </a:lnTo>
                    <a:lnTo>
                      <a:pt x="46" y="249"/>
                    </a:lnTo>
                    <a:lnTo>
                      <a:pt x="48" y="254"/>
                    </a:lnTo>
                    <a:lnTo>
                      <a:pt x="50" y="258"/>
                    </a:lnTo>
                    <a:lnTo>
                      <a:pt x="51" y="264"/>
                    </a:lnTo>
                    <a:lnTo>
                      <a:pt x="55" y="268"/>
                    </a:lnTo>
                    <a:lnTo>
                      <a:pt x="59" y="271"/>
                    </a:lnTo>
                    <a:lnTo>
                      <a:pt x="63" y="275"/>
                    </a:lnTo>
                    <a:lnTo>
                      <a:pt x="65" y="279"/>
                    </a:lnTo>
                    <a:lnTo>
                      <a:pt x="70" y="283"/>
                    </a:lnTo>
                    <a:lnTo>
                      <a:pt x="74" y="289"/>
                    </a:lnTo>
                    <a:lnTo>
                      <a:pt x="78" y="290"/>
                    </a:lnTo>
                    <a:lnTo>
                      <a:pt x="84" y="294"/>
                    </a:lnTo>
                    <a:lnTo>
                      <a:pt x="89" y="298"/>
                    </a:lnTo>
                    <a:lnTo>
                      <a:pt x="95" y="302"/>
                    </a:lnTo>
                    <a:lnTo>
                      <a:pt x="101" y="306"/>
                    </a:lnTo>
                    <a:lnTo>
                      <a:pt x="107" y="308"/>
                    </a:lnTo>
                    <a:lnTo>
                      <a:pt x="110" y="308"/>
                    </a:lnTo>
                    <a:lnTo>
                      <a:pt x="114" y="309"/>
                    </a:lnTo>
                    <a:lnTo>
                      <a:pt x="118" y="311"/>
                    </a:lnTo>
                    <a:lnTo>
                      <a:pt x="122" y="313"/>
                    </a:lnTo>
                    <a:lnTo>
                      <a:pt x="126" y="313"/>
                    </a:lnTo>
                    <a:lnTo>
                      <a:pt x="131" y="313"/>
                    </a:lnTo>
                    <a:lnTo>
                      <a:pt x="135" y="315"/>
                    </a:lnTo>
                    <a:lnTo>
                      <a:pt x="139" y="315"/>
                    </a:lnTo>
                    <a:lnTo>
                      <a:pt x="143" y="315"/>
                    </a:lnTo>
                    <a:lnTo>
                      <a:pt x="148" y="317"/>
                    </a:lnTo>
                    <a:lnTo>
                      <a:pt x="152" y="317"/>
                    </a:lnTo>
                    <a:lnTo>
                      <a:pt x="158" y="317"/>
                    </a:lnTo>
                    <a:lnTo>
                      <a:pt x="162" y="317"/>
                    </a:lnTo>
                    <a:lnTo>
                      <a:pt x="167" y="319"/>
                    </a:lnTo>
                    <a:lnTo>
                      <a:pt x="171" y="319"/>
                    </a:lnTo>
                    <a:lnTo>
                      <a:pt x="177" y="319"/>
                    </a:lnTo>
                    <a:lnTo>
                      <a:pt x="181" y="319"/>
                    </a:lnTo>
                    <a:lnTo>
                      <a:pt x="186" y="319"/>
                    </a:lnTo>
                    <a:lnTo>
                      <a:pt x="192" y="319"/>
                    </a:lnTo>
                    <a:lnTo>
                      <a:pt x="198" y="321"/>
                    </a:lnTo>
                    <a:lnTo>
                      <a:pt x="202" y="321"/>
                    </a:lnTo>
                    <a:lnTo>
                      <a:pt x="207" y="321"/>
                    </a:lnTo>
                    <a:lnTo>
                      <a:pt x="211" y="321"/>
                    </a:lnTo>
                    <a:lnTo>
                      <a:pt x="217" y="321"/>
                    </a:lnTo>
                    <a:lnTo>
                      <a:pt x="221" y="321"/>
                    </a:lnTo>
                    <a:lnTo>
                      <a:pt x="226" y="321"/>
                    </a:lnTo>
                    <a:lnTo>
                      <a:pt x="232" y="321"/>
                    </a:lnTo>
                    <a:lnTo>
                      <a:pt x="238" y="321"/>
                    </a:lnTo>
                    <a:lnTo>
                      <a:pt x="241" y="319"/>
                    </a:lnTo>
                    <a:lnTo>
                      <a:pt x="245" y="319"/>
                    </a:lnTo>
                    <a:lnTo>
                      <a:pt x="251" y="319"/>
                    </a:lnTo>
                    <a:lnTo>
                      <a:pt x="257" y="319"/>
                    </a:lnTo>
                    <a:lnTo>
                      <a:pt x="260" y="317"/>
                    </a:lnTo>
                    <a:lnTo>
                      <a:pt x="264" y="317"/>
                    </a:lnTo>
                    <a:lnTo>
                      <a:pt x="270" y="317"/>
                    </a:lnTo>
                    <a:lnTo>
                      <a:pt x="274" y="317"/>
                    </a:lnTo>
                    <a:lnTo>
                      <a:pt x="278" y="317"/>
                    </a:lnTo>
                    <a:lnTo>
                      <a:pt x="281" y="315"/>
                    </a:lnTo>
                    <a:lnTo>
                      <a:pt x="285" y="315"/>
                    </a:lnTo>
                    <a:lnTo>
                      <a:pt x="289" y="315"/>
                    </a:lnTo>
                    <a:lnTo>
                      <a:pt x="293" y="315"/>
                    </a:lnTo>
                    <a:lnTo>
                      <a:pt x="297" y="315"/>
                    </a:lnTo>
                    <a:lnTo>
                      <a:pt x="300" y="315"/>
                    </a:lnTo>
                    <a:lnTo>
                      <a:pt x="304" y="315"/>
                    </a:lnTo>
                    <a:lnTo>
                      <a:pt x="310" y="313"/>
                    </a:lnTo>
                    <a:lnTo>
                      <a:pt x="316" y="313"/>
                    </a:lnTo>
                    <a:lnTo>
                      <a:pt x="321" y="313"/>
                    </a:lnTo>
                    <a:lnTo>
                      <a:pt x="325" y="313"/>
                    </a:lnTo>
                    <a:lnTo>
                      <a:pt x="331" y="311"/>
                    </a:lnTo>
                    <a:lnTo>
                      <a:pt x="335" y="311"/>
                    </a:lnTo>
                    <a:lnTo>
                      <a:pt x="331" y="311"/>
                    </a:lnTo>
                    <a:lnTo>
                      <a:pt x="325" y="315"/>
                    </a:lnTo>
                    <a:lnTo>
                      <a:pt x="321" y="315"/>
                    </a:lnTo>
                    <a:lnTo>
                      <a:pt x="316" y="317"/>
                    </a:lnTo>
                    <a:lnTo>
                      <a:pt x="310" y="321"/>
                    </a:lnTo>
                    <a:lnTo>
                      <a:pt x="304" y="323"/>
                    </a:lnTo>
                    <a:lnTo>
                      <a:pt x="300" y="323"/>
                    </a:lnTo>
                    <a:lnTo>
                      <a:pt x="295" y="325"/>
                    </a:lnTo>
                    <a:lnTo>
                      <a:pt x="291" y="327"/>
                    </a:lnTo>
                    <a:lnTo>
                      <a:pt x="287" y="327"/>
                    </a:lnTo>
                    <a:lnTo>
                      <a:pt x="283" y="329"/>
                    </a:lnTo>
                    <a:lnTo>
                      <a:pt x="279" y="330"/>
                    </a:lnTo>
                    <a:lnTo>
                      <a:pt x="276" y="330"/>
                    </a:lnTo>
                    <a:lnTo>
                      <a:pt x="270" y="332"/>
                    </a:lnTo>
                    <a:lnTo>
                      <a:pt x="266" y="334"/>
                    </a:lnTo>
                    <a:lnTo>
                      <a:pt x="260" y="336"/>
                    </a:lnTo>
                    <a:lnTo>
                      <a:pt x="257" y="336"/>
                    </a:lnTo>
                    <a:lnTo>
                      <a:pt x="251" y="338"/>
                    </a:lnTo>
                    <a:lnTo>
                      <a:pt x="245" y="340"/>
                    </a:lnTo>
                    <a:lnTo>
                      <a:pt x="241" y="342"/>
                    </a:lnTo>
                    <a:lnTo>
                      <a:pt x="236" y="342"/>
                    </a:lnTo>
                    <a:lnTo>
                      <a:pt x="232" y="344"/>
                    </a:lnTo>
                    <a:lnTo>
                      <a:pt x="224" y="346"/>
                    </a:lnTo>
                    <a:lnTo>
                      <a:pt x="219" y="346"/>
                    </a:lnTo>
                    <a:lnTo>
                      <a:pt x="215" y="346"/>
                    </a:lnTo>
                    <a:lnTo>
                      <a:pt x="209" y="348"/>
                    </a:lnTo>
                    <a:lnTo>
                      <a:pt x="202" y="348"/>
                    </a:lnTo>
                    <a:lnTo>
                      <a:pt x="198" y="349"/>
                    </a:lnTo>
                    <a:lnTo>
                      <a:pt x="192" y="349"/>
                    </a:lnTo>
                    <a:lnTo>
                      <a:pt x="186" y="351"/>
                    </a:lnTo>
                    <a:lnTo>
                      <a:pt x="181" y="351"/>
                    </a:lnTo>
                    <a:lnTo>
                      <a:pt x="173" y="353"/>
                    </a:lnTo>
                    <a:lnTo>
                      <a:pt x="167" y="353"/>
                    </a:lnTo>
                    <a:lnTo>
                      <a:pt x="164" y="353"/>
                    </a:lnTo>
                    <a:lnTo>
                      <a:pt x="156" y="353"/>
                    </a:lnTo>
                    <a:lnTo>
                      <a:pt x="150" y="353"/>
                    </a:lnTo>
                    <a:lnTo>
                      <a:pt x="145" y="353"/>
                    </a:lnTo>
                    <a:lnTo>
                      <a:pt x="141" y="355"/>
                    </a:lnTo>
                    <a:lnTo>
                      <a:pt x="133" y="353"/>
                    </a:lnTo>
                    <a:lnTo>
                      <a:pt x="127" y="353"/>
                    </a:lnTo>
                    <a:lnTo>
                      <a:pt x="122" y="353"/>
                    </a:lnTo>
                    <a:lnTo>
                      <a:pt x="116" y="353"/>
                    </a:lnTo>
                    <a:lnTo>
                      <a:pt x="110" y="351"/>
                    </a:lnTo>
                    <a:lnTo>
                      <a:pt x="105" y="349"/>
                    </a:lnTo>
                    <a:lnTo>
                      <a:pt x="99" y="349"/>
                    </a:lnTo>
                    <a:lnTo>
                      <a:pt x="95" y="349"/>
                    </a:lnTo>
                    <a:lnTo>
                      <a:pt x="89" y="348"/>
                    </a:lnTo>
                    <a:lnTo>
                      <a:pt x="84" y="346"/>
                    </a:lnTo>
                    <a:lnTo>
                      <a:pt x="78" y="344"/>
                    </a:lnTo>
                    <a:lnTo>
                      <a:pt x="74" y="342"/>
                    </a:lnTo>
                    <a:lnTo>
                      <a:pt x="69" y="340"/>
                    </a:lnTo>
                    <a:lnTo>
                      <a:pt x="65" y="338"/>
                    </a:lnTo>
                    <a:lnTo>
                      <a:pt x="59" y="334"/>
                    </a:lnTo>
                    <a:lnTo>
                      <a:pt x="55" y="332"/>
                    </a:lnTo>
                    <a:lnTo>
                      <a:pt x="50" y="330"/>
                    </a:lnTo>
                    <a:lnTo>
                      <a:pt x="46" y="327"/>
                    </a:lnTo>
                    <a:lnTo>
                      <a:pt x="42" y="323"/>
                    </a:lnTo>
                    <a:lnTo>
                      <a:pt x="38" y="321"/>
                    </a:lnTo>
                    <a:lnTo>
                      <a:pt x="31" y="315"/>
                    </a:lnTo>
                    <a:lnTo>
                      <a:pt x="25" y="308"/>
                    </a:lnTo>
                    <a:lnTo>
                      <a:pt x="19" y="302"/>
                    </a:lnTo>
                    <a:lnTo>
                      <a:pt x="13" y="296"/>
                    </a:lnTo>
                    <a:lnTo>
                      <a:pt x="10" y="289"/>
                    </a:lnTo>
                    <a:lnTo>
                      <a:pt x="8" y="283"/>
                    </a:lnTo>
                    <a:lnTo>
                      <a:pt x="4" y="275"/>
                    </a:lnTo>
                    <a:lnTo>
                      <a:pt x="2" y="268"/>
                    </a:lnTo>
                    <a:lnTo>
                      <a:pt x="0" y="260"/>
                    </a:lnTo>
                    <a:lnTo>
                      <a:pt x="0" y="254"/>
                    </a:lnTo>
                    <a:lnTo>
                      <a:pt x="0" y="247"/>
                    </a:lnTo>
                    <a:lnTo>
                      <a:pt x="0" y="239"/>
                    </a:lnTo>
                    <a:lnTo>
                      <a:pt x="0" y="232"/>
                    </a:lnTo>
                    <a:lnTo>
                      <a:pt x="2" y="226"/>
                    </a:lnTo>
                    <a:lnTo>
                      <a:pt x="2" y="222"/>
                    </a:lnTo>
                    <a:lnTo>
                      <a:pt x="4" y="216"/>
                    </a:lnTo>
                    <a:lnTo>
                      <a:pt x="4" y="214"/>
                    </a:lnTo>
                    <a:lnTo>
                      <a:pt x="6" y="211"/>
                    </a:lnTo>
                    <a:lnTo>
                      <a:pt x="8" y="203"/>
                    </a:lnTo>
                    <a:lnTo>
                      <a:pt x="12" y="195"/>
                    </a:lnTo>
                    <a:lnTo>
                      <a:pt x="13" y="188"/>
                    </a:lnTo>
                    <a:lnTo>
                      <a:pt x="15" y="182"/>
                    </a:lnTo>
                    <a:lnTo>
                      <a:pt x="19" y="175"/>
                    </a:lnTo>
                    <a:lnTo>
                      <a:pt x="23" y="169"/>
                    </a:lnTo>
                    <a:lnTo>
                      <a:pt x="27" y="163"/>
                    </a:lnTo>
                    <a:lnTo>
                      <a:pt x="31" y="156"/>
                    </a:lnTo>
                    <a:lnTo>
                      <a:pt x="34" y="150"/>
                    </a:lnTo>
                    <a:lnTo>
                      <a:pt x="38" y="144"/>
                    </a:lnTo>
                    <a:lnTo>
                      <a:pt x="42" y="138"/>
                    </a:lnTo>
                    <a:lnTo>
                      <a:pt x="48" y="135"/>
                    </a:lnTo>
                    <a:lnTo>
                      <a:pt x="51" y="129"/>
                    </a:lnTo>
                    <a:lnTo>
                      <a:pt x="55" y="125"/>
                    </a:lnTo>
                    <a:lnTo>
                      <a:pt x="57" y="119"/>
                    </a:lnTo>
                    <a:lnTo>
                      <a:pt x="61" y="114"/>
                    </a:lnTo>
                    <a:lnTo>
                      <a:pt x="65" y="110"/>
                    </a:lnTo>
                    <a:lnTo>
                      <a:pt x="67" y="106"/>
                    </a:lnTo>
                    <a:lnTo>
                      <a:pt x="70" y="100"/>
                    </a:lnTo>
                    <a:lnTo>
                      <a:pt x="72" y="97"/>
                    </a:lnTo>
                    <a:lnTo>
                      <a:pt x="74" y="91"/>
                    </a:lnTo>
                    <a:lnTo>
                      <a:pt x="76" y="87"/>
                    </a:lnTo>
                    <a:lnTo>
                      <a:pt x="78" y="83"/>
                    </a:lnTo>
                    <a:lnTo>
                      <a:pt x="80" y="79"/>
                    </a:lnTo>
                    <a:lnTo>
                      <a:pt x="80" y="76"/>
                    </a:lnTo>
                    <a:lnTo>
                      <a:pt x="82" y="72"/>
                    </a:lnTo>
                    <a:lnTo>
                      <a:pt x="82" y="64"/>
                    </a:lnTo>
                    <a:lnTo>
                      <a:pt x="80" y="57"/>
                    </a:lnTo>
                    <a:lnTo>
                      <a:pt x="76" y="49"/>
                    </a:lnTo>
                    <a:lnTo>
                      <a:pt x="72" y="45"/>
                    </a:lnTo>
                    <a:lnTo>
                      <a:pt x="69" y="41"/>
                    </a:lnTo>
                    <a:lnTo>
                      <a:pt x="65" y="38"/>
                    </a:lnTo>
                    <a:lnTo>
                      <a:pt x="61" y="36"/>
                    </a:lnTo>
                    <a:lnTo>
                      <a:pt x="57" y="34"/>
                    </a:lnTo>
                    <a:lnTo>
                      <a:pt x="51" y="32"/>
                    </a:lnTo>
                    <a:lnTo>
                      <a:pt x="46" y="30"/>
                    </a:lnTo>
                    <a:lnTo>
                      <a:pt x="40" y="26"/>
                    </a:lnTo>
                    <a:lnTo>
                      <a:pt x="34" y="26"/>
                    </a:lnTo>
                    <a:lnTo>
                      <a:pt x="31" y="24"/>
                    </a:lnTo>
                    <a:lnTo>
                      <a:pt x="27" y="24"/>
                    </a:lnTo>
                    <a:lnTo>
                      <a:pt x="23" y="22"/>
                    </a:lnTo>
                    <a:lnTo>
                      <a:pt x="19" y="22"/>
                    </a:lnTo>
                    <a:lnTo>
                      <a:pt x="15" y="22"/>
                    </a:lnTo>
                    <a:lnTo>
                      <a:pt x="12" y="22"/>
                    </a:lnTo>
                    <a:lnTo>
                      <a:pt x="6" y="22"/>
                    </a:lnTo>
                    <a:lnTo>
                      <a:pt x="2" y="22"/>
                    </a:lnTo>
                    <a:lnTo>
                      <a:pt x="8" y="13"/>
                    </a:lnTo>
                    <a:lnTo>
                      <a:pt x="8" y="11"/>
                    </a:lnTo>
                    <a:lnTo>
                      <a:pt x="10" y="11"/>
                    </a:lnTo>
                    <a:lnTo>
                      <a:pt x="13" y="9"/>
                    </a:lnTo>
                    <a:lnTo>
                      <a:pt x="19" y="7"/>
                    </a:lnTo>
                    <a:lnTo>
                      <a:pt x="25" y="7"/>
                    </a:lnTo>
                    <a:lnTo>
                      <a:pt x="32" y="5"/>
                    </a:lnTo>
                    <a:lnTo>
                      <a:pt x="36" y="3"/>
                    </a:lnTo>
                    <a:lnTo>
                      <a:pt x="40" y="3"/>
                    </a:lnTo>
                    <a:lnTo>
                      <a:pt x="46" y="2"/>
                    </a:lnTo>
                    <a:lnTo>
                      <a:pt x="50" y="2"/>
                    </a:lnTo>
                    <a:lnTo>
                      <a:pt x="53" y="2"/>
                    </a:lnTo>
                    <a:lnTo>
                      <a:pt x="57" y="2"/>
                    </a:lnTo>
                    <a:lnTo>
                      <a:pt x="63" y="0"/>
                    </a:lnTo>
                    <a:lnTo>
                      <a:pt x="67" y="0"/>
                    </a:lnTo>
                    <a:lnTo>
                      <a:pt x="70" y="0"/>
                    </a:lnTo>
                    <a:lnTo>
                      <a:pt x="74" y="0"/>
                    </a:lnTo>
                    <a:lnTo>
                      <a:pt x="80" y="0"/>
                    </a:lnTo>
                    <a:lnTo>
                      <a:pt x="84" y="0"/>
                    </a:lnTo>
                    <a:lnTo>
                      <a:pt x="88" y="0"/>
                    </a:lnTo>
                    <a:lnTo>
                      <a:pt x="91" y="2"/>
                    </a:lnTo>
                    <a:lnTo>
                      <a:pt x="95" y="2"/>
                    </a:lnTo>
                    <a:lnTo>
                      <a:pt x="99" y="3"/>
                    </a:lnTo>
                    <a:lnTo>
                      <a:pt x="107" y="5"/>
                    </a:lnTo>
                    <a:lnTo>
                      <a:pt x="112" y="9"/>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10" name="Freeform 52"/>
              <p:cNvSpPr>
                <a:spLocks/>
              </p:cNvSpPr>
              <p:nvPr/>
            </p:nvSpPr>
            <p:spPr bwMode="auto">
              <a:xfrm>
                <a:off x="2797176" y="3978276"/>
                <a:ext cx="147638" cy="95250"/>
              </a:xfrm>
              <a:custGeom>
                <a:avLst/>
                <a:gdLst>
                  <a:gd name="T0" fmla="*/ 0 w 186"/>
                  <a:gd name="T1" fmla="*/ 2147483646 h 120"/>
                  <a:gd name="T2" fmla="*/ 2147483646 w 186"/>
                  <a:gd name="T3" fmla="*/ 2147483646 h 120"/>
                  <a:gd name="T4" fmla="*/ 2147483646 w 186"/>
                  <a:gd name="T5" fmla="*/ 2147483646 h 120"/>
                  <a:gd name="T6" fmla="*/ 2147483646 w 186"/>
                  <a:gd name="T7" fmla="*/ 2147483646 h 120"/>
                  <a:gd name="T8" fmla="*/ 2147483646 w 186"/>
                  <a:gd name="T9" fmla="*/ 2147483646 h 120"/>
                  <a:gd name="T10" fmla="*/ 2147483646 w 186"/>
                  <a:gd name="T11" fmla="*/ 2147483646 h 120"/>
                  <a:gd name="T12" fmla="*/ 2147483646 w 186"/>
                  <a:gd name="T13" fmla="*/ 2147483646 h 120"/>
                  <a:gd name="T14" fmla="*/ 2147483646 w 186"/>
                  <a:gd name="T15" fmla="*/ 2147483646 h 120"/>
                  <a:gd name="T16" fmla="*/ 2147483646 w 186"/>
                  <a:gd name="T17" fmla="*/ 2147483646 h 120"/>
                  <a:gd name="T18" fmla="*/ 2147483646 w 186"/>
                  <a:gd name="T19" fmla="*/ 2147483646 h 120"/>
                  <a:gd name="T20" fmla="*/ 2147483646 w 186"/>
                  <a:gd name="T21" fmla="*/ 2147483646 h 120"/>
                  <a:gd name="T22" fmla="*/ 2147483646 w 186"/>
                  <a:gd name="T23" fmla="*/ 2147483646 h 120"/>
                  <a:gd name="T24" fmla="*/ 2147483646 w 186"/>
                  <a:gd name="T25" fmla="*/ 2147483646 h 120"/>
                  <a:gd name="T26" fmla="*/ 2147483646 w 186"/>
                  <a:gd name="T27" fmla="*/ 2147483646 h 120"/>
                  <a:gd name="T28" fmla="*/ 2147483646 w 186"/>
                  <a:gd name="T29" fmla="*/ 2147483646 h 120"/>
                  <a:gd name="T30" fmla="*/ 2147483646 w 186"/>
                  <a:gd name="T31" fmla="*/ 2147483646 h 120"/>
                  <a:gd name="T32" fmla="*/ 2147483646 w 186"/>
                  <a:gd name="T33" fmla="*/ 2147483646 h 120"/>
                  <a:gd name="T34" fmla="*/ 2147483646 w 186"/>
                  <a:gd name="T35" fmla="*/ 2147483646 h 120"/>
                  <a:gd name="T36" fmla="*/ 2147483646 w 186"/>
                  <a:gd name="T37" fmla="*/ 2147483646 h 120"/>
                  <a:gd name="T38" fmla="*/ 2147483646 w 186"/>
                  <a:gd name="T39" fmla="*/ 2147483646 h 120"/>
                  <a:gd name="T40" fmla="*/ 2147483646 w 186"/>
                  <a:gd name="T41" fmla="*/ 2147483646 h 120"/>
                  <a:gd name="T42" fmla="*/ 2147483646 w 186"/>
                  <a:gd name="T43" fmla="*/ 0 h 120"/>
                  <a:gd name="T44" fmla="*/ 2147483646 w 186"/>
                  <a:gd name="T45" fmla="*/ 2147483646 h 120"/>
                  <a:gd name="T46" fmla="*/ 2147483646 w 186"/>
                  <a:gd name="T47" fmla="*/ 2147483646 h 120"/>
                  <a:gd name="T48" fmla="*/ 2147483646 w 186"/>
                  <a:gd name="T49" fmla="*/ 2147483646 h 120"/>
                  <a:gd name="T50" fmla="*/ 2147483646 w 186"/>
                  <a:gd name="T51" fmla="*/ 2147483646 h 120"/>
                  <a:gd name="T52" fmla="*/ 2147483646 w 186"/>
                  <a:gd name="T53" fmla="*/ 2147483646 h 120"/>
                  <a:gd name="T54" fmla="*/ 2147483646 w 186"/>
                  <a:gd name="T55" fmla="*/ 2147483646 h 120"/>
                  <a:gd name="T56" fmla="*/ 2147483646 w 186"/>
                  <a:gd name="T57" fmla="*/ 2147483646 h 120"/>
                  <a:gd name="T58" fmla="*/ 2147483646 w 186"/>
                  <a:gd name="T59" fmla="*/ 2147483646 h 120"/>
                  <a:gd name="T60" fmla="*/ 2147483646 w 186"/>
                  <a:gd name="T61" fmla="*/ 2147483646 h 120"/>
                  <a:gd name="T62" fmla="*/ 2147483646 w 186"/>
                  <a:gd name="T63" fmla="*/ 2147483646 h 120"/>
                  <a:gd name="T64" fmla="*/ 2147483646 w 186"/>
                  <a:gd name="T65" fmla="*/ 2147483646 h 120"/>
                  <a:gd name="T66" fmla="*/ 2147483646 w 186"/>
                  <a:gd name="T67" fmla="*/ 2147483646 h 120"/>
                  <a:gd name="T68" fmla="*/ 2147483646 w 186"/>
                  <a:gd name="T69" fmla="*/ 2147483646 h 120"/>
                  <a:gd name="T70" fmla="*/ 2147483646 w 186"/>
                  <a:gd name="T71" fmla="*/ 2147483646 h 120"/>
                  <a:gd name="T72" fmla="*/ 2147483646 w 186"/>
                  <a:gd name="T73" fmla="*/ 2147483646 h 120"/>
                  <a:gd name="T74" fmla="*/ 2147483646 w 186"/>
                  <a:gd name="T75" fmla="*/ 2147483646 h 120"/>
                  <a:gd name="T76" fmla="*/ 2147483646 w 186"/>
                  <a:gd name="T77" fmla="*/ 2147483646 h 120"/>
                  <a:gd name="T78" fmla="*/ 2147483646 w 186"/>
                  <a:gd name="T79" fmla="*/ 2147483646 h 120"/>
                  <a:gd name="T80" fmla="*/ 2147483646 w 186"/>
                  <a:gd name="T81" fmla="*/ 2147483646 h 120"/>
                  <a:gd name="T82" fmla="*/ 2147483646 w 186"/>
                  <a:gd name="T83" fmla="*/ 2147483646 h 120"/>
                  <a:gd name="T84" fmla="*/ 2147483646 w 186"/>
                  <a:gd name="T85" fmla="*/ 2147483646 h 120"/>
                  <a:gd name="T86" fmla="*/ 2147483646 w 186"/>
                  <a:gd name="T87" fmla="*/ 2147483646 h 120"/>
                  <a:gd name="T88" fmla="*/ 2147483646 w 186"/>
                  <a:gd name="T89" fmla="*/ 2147483646 h 120"/>
                  <a:gd name="T90" fmla="*/ 2147483646 w 186"/>
                  <a:gd name="T91" fmla="*/ 2147483646 h 120"/>
                  <a:gd name="T92" fmla="*/ 2147483646 w 186"/>
                  <a:gd name="T93" fmla="*/ 2147483646 h 120"/>
                  <a:gd name="T94" fmla="*/ 2147483646 w 186"/>
                  <a:gd name="T95" fmla="*/ 2147483646 h 120"/>
                  <a:gd name="T96" fmla="*/ 2147483646 w 186"/>
                  <a:gd name="T97" fmla="*/ 2147483646 h 120"/>
                  <a:gd name="T98" fmla="*/ 2147483646 w 186"/>
                  <a:gd name="T99" fmla="*/ 2147483646 h 120"/>
                  <a:gd name="T100" fmla="*/ 0 w 186"/>
                  <a:gd name="T101" fmla="*/ 2147483646 h 120"/>
                  <a:gd name="T102" fmla="*/ 0 w 186"/>
                  <a:gd name="T103" fmla="*/ 2147483646 h 1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6"/>
                  <a:gd name="T157" fmla="*/ 0 h 120"/>
                  <a:gd name="T158" fmla="*/ 186 w 186"/>
                  <a:gd name="T159" fmla="*/ 120 h 1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6" h="120">
                    <a:moveTo>
                      <a:pt x="0" y="85"/>
                    </a:moveTo>
                    <a:lnTo>
                      <a:pt x="0" y="85"/>
                    </a:lnTo>
                    <a:lnTo>
                      <a:pt x="8" y="87"/>
                    </a:lnTo>
                    <a:lnTo>
                      <a:pt x="10" y="89"/>
                    </a:lnTo>
                    <a:lnTo>
                      <a:pt x="15" y="91"/>
                    </a:lnTo>
                    <a:lnTo>
                      <a:pt x="21" y="93"/>
                    </a:lnTo>
                    <a:lnTo>
                      <a:pt x="29" y="95"/>
                    </a:lnTo>
                    <a:lnTo>
                      <a:pt x="32" y="95"/>
                    </a:lnTo>
                    <a:lnTo>
                      <a:pt x="34" y="95"/>
                    </a:lnTo>
                    <a:lnTo>
                      <a:pt x="40" y="97"/>
                    </a:lnTo>
                    <a:lnTo>
                      <a:pt x="44" y="97"/>
                    </a:lnTo>
                    <a:lnTo>
                      <a:pt x="48" y="97"/>
                    </a:lnTo>
                    <a:lnTo>
                      <a:pt x="51" y="97"/>
                    </a:lnTo>
                    <a:lnTo>
                      <a:pt x="57" y="97"/>
                    </a:lnTo>
                    <a:lnTo>
                      <a:pt x="61" y="99"/>
                    </a:lnTo>
                    <a:lnTo>
                      <a:pt x="65" y="97"/>
                    </a:lnTo>
                    <a:lnTo>
                      <a:pt x="70" y="97"/>
                    </a:lnTo>
                    <a:lnTo>
                      <a:pt x="74" y="97"/>
                    </a:lnTo>
                    <a:lnTo>
                      <a:pt x="80" y="97"/>
                    </a:lnTo>
                    <a:lnTo>
                      <a:pt x="84" y="95"/>
                    </a:lnTo>
                    <a:lnTo>
                      <a:pt x="89" y="95"/>
                    </a:lnTo>
                    <a:lnTo>
                      <a:pt x="95" y="93"/>
                    </a:lnTo>
                    <a:lnTo>
                      <a:pt x="101" y="91"/>
                    </a:lnTo>
                    <a:lnTo>
                      <a:pt x="105" y="89"/>
                    </a:lnTo>
                    <a:lnTo>
                      <a:pt x="110" y="87"/>
                    </a:lnTo>
                    <a:lnTo>
                      <a:pt x="114" y="85"/>
                    </a:lnTo>
                    <a:lnTo>
                      <a:pt x="120" y="84"/>
                    </a:lnTo>
                    <a:lnTo>
                      <a:pt x="124" y="82"/>
                    </a:lnTo>
                    <a:lnTo>
                      <a:pt x="127" y="80"/>
                    </a:lnTo>
                    <a:lnTo>
                      <a:pt x="131" y="76"/>
                    </a:lnTo>
                    <a:lnTo>
                      <a:pt x="135" y="74"/>
                    </a:lnTo>
                    <a:lnTo>
                      <a:pt x="141" y="68"/>
                    </a:lnTo>
                    <a:lnTo>
                      <a:pt x="146" y="63"/>
                    </a:lnTo>
                    <a:lnTo>
                      <a:pt x="152" y="57"/>
                    </a:lnTo>
                    <a:lnTo>
                      <a:pt x="158" y="51"/>
                    </a:lnTo>
                    <a:lnTo>
                      <a:pt x="162" y="44"/>
                    </a:lnTo>
                    <a:lnTo>
                      <a:pt x="163" y="38"/>
                    </a:lnTo>
                    <a:lnTo>
                      <a:pt x="165" y="30"/>
                    </a:lnTo>
                    <a:lnTo>
                      <a:pt x="169" y="25"/>
                    </a:lnTo>
                    <a:lnTo>
                      <a:pt x="169" y="19"/>
                    </a:lnTo>
                    <a:lnTo>
                      <a:pt x="169" y="11"/>
                    </a:lnTo>
                    <a:lnTo>
                      <a:pt x="169" y="6"/>
                    </a:lnTo>
                    <a:lnTo>
                      <a:pt x="169" y="0"/>
                    </a:lnTo>
                    <a:lnTo>
                      <a:pt x="171" y="0"/>
                    </a:lnTo>
                    <a:lnTo>
                      <a:pt x="173" y="4"/>
                    </a:lnTo>
                    <a:lnTo>
                      <a:pt x="175" y="6"/>
                    </a:lnTo>
                    <a:lnTo>
                      <a:pt x="177" y="7"/>
                    </a:lnTo>
                    <a:lnTo>
                      <a:pt x="179" y="11"/>
                    </a:lnTo>
                    <a:lnTo>
                      <a:pt x="181" y="15"/>
                    </a:lnTo>
                    <a:lnTo>
                      <a:pt x="182" y="19"/>
                    </a:lnTo>
                    <a:lnTo>
                      <a:pt x="184" y="23"/>
                    </a:lnTo>
                    <a:lnTo>
                      <a:pt x="184" y="26"/>
                    </a:lnTo>
                    <a:lnTo>
                      <a:pt x="186" y="32"/>
                    </a:lnTo>
                    <a:lnTo>
                      <a:pt x="186" y="38"/>
                    </a:lnTo>
                    <a:lnTo>
                      <a:pt x="186" y="46"/>
                    </a:lnTo>
                    <a:lnTo>
                      <a:pt x="186" y="47"/>
                    </a:lnTo>
                    <a:lnTo>
                      <a:pt x="186" y="51"/>
                    </a:lnTo>
                    <a:lnTo>
                      <a:pt x="186" y="55"/>
                    </a:lnTo>
                    <a:lnTo>
                      <a:pt x="186" y="61"/>
                    </a:lnTo>
                    <a:lnTo>
                      <a:pt x="182" y="66"/>
                    </a:lnTo>
                    <a:lnTo>
                      <a:pt x="179" y="72"/>
                    </a:lnTo>
                    <a:lnTo>
                      <a:pt x="175" y="80"/>
                    </a:lnTo>
                    <a:lnTo>
                      <a:pt x="169" y="85"/>
                    </a:lnTo>
                    <a:lnTo>
                      <a:pt x="165" y="87"/>
                    </a:lnTo>
                    <a:lnTo>
                      <a:pt x="162" y="91"/>
                    </a:lnTo>
                    <a:lnTo>
                      <a:pt x="158" y="93"/>
                    </a:lnTo>
                    <a:lnTo>
                      <a:pt x="154" y="97"/>
                    </a:lnTo>
                    <a:lnTo>
                      <a:pt x="150" y="99"/>
                    </a:lnTo>
                    <a:lnTo>
                      <a:pt x="146" y="101"/>
                    </a:lnTo>
                    <a:lnTo>
                      <a:pt x="143" y="104"/>
                    </a:lnTo>
                    <a:lnTo>
                      <a:pt x="139" y="106"/>
                    </a:lnTo>
                    <a:lnTo>
                      <a:pt x="133" y="108"/>
                    </a:lnTo>
                    <a:lnTo>
                      <a:pt x="129" y="110"/>
                    </a:lnTo>
                    <a:lnTo>
                      <a:pt x="124" y="112"/>
                    </a:lnTo>
                    <a:lnTo>
                      <a:pt x="120" y="114"/>
                    </a:lnTo>
                    <a:lnTo>
                      <a:pt x="114" y="114"/>
                    </a:lnTo>
                    <a:lnTo>
                      <a:pt x="108" y="116"/>
                    </a:lnTo>
                    <a:lnTo>
                      <a:pt x="105" y="118"/>
                    </a:lnTo>
                    <a:lnTo>
                      <a:pt x="99" y="118"/>
                    </a:lnTo>
                    <a:lnTo>
                      <a:pt x="93" y="120"/>
                    </a:lnTo>
                    <a:lnTo>
                      <a:pt x="89" y="120"/>
                    </a:lnTo>
                    <a:lnTo>
                      <a:pt x="84" y="120"/>
                    </a:lnTo>
                    <a:lnTo>
                      <a:pt x="78" y="120"/>
                    </a:lnTo>
                    <a:lnTo>
                      <a:pt x="74" y="120"/>
                    </a:lnTo>
                    <a:lnTo>
                      <a:pt x="68" y="120"/>
                    </a:lnTo>
                    <a:lnTo>
                      <a:pt x="63" y="120"/>
                    </a:lnTo>
                    <a:lnTo>
                      <a:pt x="59" y="120"/>
                    </a:lnTo>
                    <a:lnTo>
                      <a:pt x="53" y="118"/>
                    </a:lnTo>
                    <a:lnTo>
                      <a:pt x="49" y="118"/>
                    </a:lnTo>
                    <a:lnTo>
                      <a:pt x="46" y="116"/>
                    </a:lnTo>
                    <a:lnTo>
                      <a:pt x="42" y="116"/>
                    </a:lnTo>
                    <a:lnTo>
                      <a:pt x="36" y="114"/>
                    </a:lnTo>
                    <a:lnTo>
                      <a:pt x="34" y="112"/>
                    </a:lnTo>
                    <a:lnTo>
                      <a:pt x="30" y="110"/>
                    </a:lnTo>
                    <a:lnTo>
                      <a:pt x="27" y="110"/>
                    </a:lnTo>
                    <a:lnTo>
                      <a:pt x="21" y="106"/>
                    </a:lnTo>
                    <a:lnTo>
                      <a:pt x="17" y="104"/>
                    </a:lnTo>
                    <a:lnTo>
                      <a:pt x="11" y="101"/>
                    </a:lnTo>
                    <a:lnTo>
                      <a:pt x="10" y="99"/>
                    </a:lnTo>
                    <a:lnTo>
                      <a:pt x="4" y="93"/>
                    </a:lnTo>
                    <a:lnTo>
                      <a:pt x="0" y="89"/>
                    </a:lnTo>
                    <a:lnTo>
                      <a:pt x="0" y="85"/>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11" name="Freeform 53"/>
              <p:cNvSpPr>
                <a:spLocks/>
              </p:cNvSpPr>
              <p:nvPr/>
            </p:nvSpPr>
            <p:spPr bwMode="auto">
              <a:xfrm>
                <a:off x="2911476" y="3773488"/>
                <a:ext cx="136525" cy="215900"/>
              </a:xfrm>
              <a:custGeom>
                <a:avLst/>
                <a:gdLst>
                  <a:gd name="T0" fmla="*/ 0 w 171"/>
                  <a:gd name="T1" fmla="*/ 2147483646 h 272"/>
                  <a:gd name="T2" fmla="*/ 0 w 171"/>
                  <a:gd name="T3" fmla="*/ 2147483646 h 272"/>
                  <a:gd name="T4" fmla="*/ 2147483646 w 171"/>
                  <a:gd name="T5" fmla="*/ 2147483646 h 272"/>
                  <a:gd name="T6" fmla="*/ 2147483646 w 171"/>
                  <a:gd name="T7" fmla="*/ 2147483646 h 272"/>
                  <a:gd name="T8" fmla="*/ 2147483646 w 171"/>
                  <a:gd name="T9" fmla="*/ 2147483646 h 272"/>
                  <a:gd name="T10" fmla="*/ 2147483646 w 171"/>
                  <a:gd name="T11" fmla="*/ 2147483646 h 272"/>
                  <a:gd name="T12" fmla="*/ 2147483646 w 171"/>
                  <a:gd name="T13" fmla="*/ 2147483646 h 272"/>
                  <a:gd name="T14" fmla="*/ 2147483646 w 171"/>
                  <a:gd name="T15" fmla="*/ 2147483646 h 272"/>
                  <a:gd name="T16" fmla="*/ 2147483646 w 171"/>
                  <a:gd name="T17" fmla="*/ 2147483646 h 272"/>
                  <a:gd name="T18" fmla="*/ 2147483646 w 171"/>
                  <a:gd name="T19" fmla="*/ 2147483646 h 272"/>
                  <a:gd name="T20" fmla="*/ 2147483646 w 171"/>
                  <a:gd name="T21" fmla="*/ 2147483646 h 272"/>
                  <a:gd name="T22" fmla="*/ 2147483646 w 171"/>
                  <a:gd name="T23" fmla="*/ 2147483646 h 272"/>
                  <a:gd name="T24" fmla="*/ 2147483646 w 171"/>
                  <a:gd name="T25" fmla="*/ 2147483646 h 272"/>
                  <a:gd name="T26" fmla="*/ 2147483646 w 171"/>
                  <a:gd name="T27" fmla="*/ 2147483646 h 272"/>
                  <a:gd name="T28" fmla="*/ 2147483646 w 171"/>
                  <a:gd name="T29" fmla="*/ 2147483646 h 272"/>
                  <a:gd name="T30" fmla="*/ 2147483646 w 171"/>
                  <a:gd name="T31" fmla="*/ 2147483646 h 272"/>
                  <a:gd name="T32" fmla="*/ 2147483646 w 171"/>
                  <a:gd name="T33" fmla="*/ 0 h 272"/>
                  <a:gd name="T34" fmla="*/ 2147483646 w 171"/>
                  <a:gd name="T35" fmla="*/ 0 h 272"/>
                  <a:gd name="T36" fmla="*/ 2147483646 w 171"/>
                  <a:gd name="T37" fmla="*/ 2147483646 h 272"/>
                  <a:gd name="T38" fmla="*/ 2147483646 w 171"/>
                  <a:gd name="T39" fmla="*/ 2147483646 h 272"/>
                  <a:gd name="T40" fmla="*/ 2147483646 w 171"/>
                  <a:gd name="T41" fmla="*/ 2147483646 h 272"/>
                  <a:gd name="T42" fmla="*/ 2147483646 w 171"/>
                  <a:gd name="T43" fmla="*/ 2147483646 h 272"/>
                  <a:gd name="T44" fmla="*/ 2147483646 w 171"/>
                  <a:gd name="T45" fmla="*/ 2147483646 h 272"/>
                  <a:gd name="T46" fmla="*/ 2147483646 w 171"/>
                  <a:gd name="T47" fmla="*/ 2147483646 h 272"/>
                  <a:gd name="T48" fmla="*/ 2147483646 w 171"/>
                  <a:gd name="T49" fmla="*/ 2147483646 h 272"/>
                  <a:gd name="T50" fmla="*/ 2147483646 w 171"/>
                  <a:gd name="T51" fmla="*/ 2147483646 h 272"/>
                  <a:gd name="T52" fmla="*/ 2147483646 w 171"/>
                  <a:gd name="T53" fmla="*/ 2147483646 h 272"/>
                  <a:gd name="T54" fmla="*/ 2147483646 w 171"/>
                  <a:gd name="T55" fmla="*/ 2147483646 h 272"/>
                  <a:gd name="T56" fmla="*/ 2147483646 w 171"/>
                  <a:gd name="T57" fmla="*/ 2147483646 h 272"/>
                  <a:gd name="T58" fmla="*/ 2147483646 w 171"/>
                  <a:gd name="T59" fmla="*/ 2147483646 h 272"/>
                  <a:gd name="T60" fmla="*/ 2147483646 w 171"/>
                  <a:gd name="T61" fmla="*/ 2147483646 h 272"/>
                  <a:gd name="T62" fmla="*/ 2147483646 w 171"/>
                  <a:gd name="T63" fmla="*/ 2147483646 h 272"/>
                  <a:gd name="T64" fmla="*/ 2147483646 w 171"/>
                  <a:gd name="T65" fmla="*/ 2147483646 h 272"/>
                  <a:gd name="T66" fmla="*/ 2147483646 w 171"/>
                  <a:gd name="T67" fmla="*/ 2147483646 h 272"/>
                  <a:gd name="T68" fmla="*/ 2147483646 w 171"/>
                  <a:gd name="T69" fmla="*/ 2147483646 h 272"/>
                  <a:gd name="T70" fmla="*/ 2147483646 w 171"/>
                  <a:gd name="T71" fmla="*/ 2147483646 h 272"/>
                  <a:gd name="T72" fmla="*/ 2147483646 w 171"/>
                  <a:gd name="T73" fmla="*/ 2147483646 h 272"/>
                  <a:gd name="T74" fmla="*/ 2147483646 w 171"/>
                  <a:gd name="T75" fmla="*/ 2147483646 h 272"/>
                  <a:gd name="T76" fmla="*/ 2147483646 w 171"/>
                  <a:gd name="T77" fmla="*/ 2147483646 h 272"/>
                  <a:gd name="T78" fmla="*/ 2147483646 w 171"/>
                  <a:gd name="T79" fmla="*/ 2147483646 h 272"/>
                  <a:gd name="T80" fmla="*/ 2147483646 w 171"/>
                  <a:gd name="T81" fmla="*/ 2147483646 h 272"/>
                  <a:gd name="T82" fmla="*/ 2147483646 w 171"/>
                  <a:gd name="T83" fmla="*/ 2147483646 h 272"/>
                  <a:gd name="T84" fmla="*/ 2147483646 w 171"/>
                  <a:gd name="T85" fmla="*/ 2147483646 h 272"/>
                  <a:gd name="T86" fmla="*/ 2147483646 w 171"/>
                  <a:gd name="T87" fmla="*/ 2147483646 h 2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1"/>
                  <a:gd name="T133" fmla="*/ 0 h 272"/>
                  <a:gd name="T134" fmla="*/ 171 w 171"/>
                  <a:gd name="T135" fmla="*/ 272 h 2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1" h="272">
                    <a:moveTo>
                      <a:pt x="12" y="272"/>
                    </a:moveTo>
                    <a:lnTo>
                      <a:pt x="0" y="251"/>
                    </a:lnTo>
                    <a:lnTo>
                      <a:pt x="0" y="246"/>
                    </a:lnTo>
                    <a:lnTo>
                      <a:pt x="0" y="240"/>
                    </a:lnTo>
                    <a:lnTo>
                      <a:pt x="0" y="236"/>
                    </a:lnTo>
                    <a:lnTo>
                      <a:pt x="0" y="230"/>
                    </a:lnTo>
                    <a:lnTo>
                      <a:pt x="0" y="225"/>
                    </a:lnTo>
                    <a:lnTo>
                      <a:pt x="2" y="219"/>
                    </a:lnTo>
                    <a:lnTo>
                      <a:pt x="2" y="211"/>
                    </a:lnTo>
                    <a:lnTo>
                      <a:pt x="2" y="206"/>
                    </a:lnTo>
                    <a:lnTo>
                      <a:pt x="2" y="200"/>
                    </a:lnTo>
                    <a:lnTo>
                      <a:pt x="4" y="192"/>
                    </a:lnTo>
                    <a:lnTo>
                      <a:pt x="4" y="187"/>
                    </a:lnTo>
                    <a:lnTo>
                      <a:pt x="6" y="179"/>
                    </a:lnTo>
                    <a:lnTo>
                      <a:pt x="6" y="171"/>
                    </a:lnTo>
                    <a:lnTo>
                      <a:pt x="8" y="164"/>
                    </a:lnTo>
                    <a:lnTo>
                      <a:pt x="8" y="156"/>
                    </a:lnTo>
                    <a:lnTo>
                      <a:pt x="10" y="151"/>
                    </a:lnTo>
                    <a:lnTo>
                      <a:pt x="10" y="147"/>
                    </a:lnTo>
                    <a:lnTo>
                      <a:pt x="12" y="141"/>
                    </a:lnTo>
                    <a:lnTo>
                      <a:pt x="12" y="137"/>
                    </a:lnTo>
                    <a:lnTo>
                      <a:pt x="14" y="133"/>
                    </a:lnTo>
                    <a:lnTo>
                      <a:pt x="16" y="128"/>
                    </a:lnTo>
                    <a:lnTo>
                      <a:pt x="18" y="120"/>
                    </a:lnTo>
                    <a:lnTo>
                      <a:pt x="18" y="116"/>
                    </a:lnTo>
                    <a:lnTo>
                      <a:pt x="19" y="113"/>
                    </a:lnTo>
                    <a:lnTo>
                      <a:pt x="19" y="107"/>
                    </a:lnTo>
                    <a:lnTo>
                      <a:pt x="21" y="105"/>
                    </a:lnTo>
                    <a:lnTo>
                      <a:pt x="23" y="97"/>
                    </a:lnTo>
                    <a:lnTo>
                      <a:pt x="27" y="90"/>
                    </a:lnTo>
                    <a:lnTo>
                      <a:pt x="29" y="82"/>
                    </a:lnTo>
                    <a:lnTo>
                      <a:pt x="33" y="74"/>
                    </a:lnTo>
                    <a:lnTo>
                      <a:pt x="35" y="69"/>
                    </a:lnTo>
                    <a:lnTo>
                      <a:pt x="38" y="61"/>
                    </a:lnTo>
                    <a:lnTo>
                      <a:pt x="42" y="54"/>
                    </a:lnTo>
                    <a:lnTo>
                      <a:pt x="46" y="48"/>
                    </a:lnTo>
                    <a:lnTo>
                      <a:pt x="50" y="40"/>
                    </a:lnTo>
                    <a:lnTo>
                      <a:pt x="56" y="35"/>
                    </a:lnTo>
                    <a:lnTo>
                      <a:pt x="59" y="29"/>
                    </a:lnTo>
                    <a:lnTo>
                      <a:pt x="63" y="25"/>
                    </a:lnTo>
                    <a:lnTo>
                      <a:pt x="67" y="21"/>
                    </a:lnTo>
                    <a:lnTo>
                      <a:pt x="71" y="17"/>
                    </a:lnTo>
                    <a:lnTo>
                      <a:pt x="75" y="14"/>
                    </a:lnTo>
                    <a:lnTo>
                      <a:pt x="80" y="10"/>
                    </a:lnTo>
                    <a:lnTo>
                      <a:pt x="84" y="8"/>
                    </a:lnTo>
                    <a:lnTo>
                      <a:pt x="90" y="6"/>
                    </a:lnTo>
                    <a:lnTo>
                      <a:pt x="94" y="4"/>
                    </a:lnTo>
                    <a:lnTo>
                      <a:pt x="99" y="2"/>
                    </a:lnTo>
                    <a:lnTo>
                      <a:pt x="103" y="0"/>
                    </a:lnTo>
                    <a:lnTo>
                      <a:pt x="109" y="0"/>
                    </a:lnTo>
                    <a:lnTo>
                      <a:pt x="113" y="0"/>
                    </a:lnTo>
                    <a:lnTo>
                      <a:pt x="116" y="0"/>
                    </a:lnTo>
                    <a:lnTo>
                      <a:pt x="122" y="0"/>
                    </a:lnTo>
                    <a:lnTo>
                      <a:pt x="126" y="0"/>
                    </a:lnTo>
                    <a:lnTo>
                      <a:pt x="130" y="0"/>
                    </a:lnTo>
                    <a:lnTo>
                      <a:pt x="133" y="2"/>
                    </a:lnTo>
                    <a:lnTo>
                      <a:pt x="137" y="4"/>
                    </a:lnTo>
                    <a:lnTo>
                      <a:pt x="143" y="6"/>
                    </a:lnTo>
                    <a:lnTo>
                      <a:pt x="145" y="8"/>
                    </a:lnTo>
                    <a:lnTo>
                      <a:pt x="149" y="10"/>
                    </a:lnTo>
                    <a:lnTo>
                      <a:pt x="152" y="14"/>
                    </a:lnTo>
                    <a:lnTo>
                      <a:pt x="156" y="16"/>
                    </a:lnTo>
                    <a:lnTo>
                      <a:pt x="158" y="19"/>
                    </a:lnTo>
                    <a:lnTo>
                      <a:pt x="162" y="23"/>
                    </a:lnTo>
                    <a:lnTo>
                      <a:pt x="164" y="27"/>
                    </a:lnTo>
                    <a:lnTo>
                      <a:pt x="166" y="31"/>
                    </a:lnTo>
                    <a:lnTo>
                      <a:pt x="168" y="35"/>
                    </a:lnTo>
                    <a:lnTo>
                      <a:pt x="170" y="38"/>
                    </a:lnTo>
                    <a:lnTo>
                      <a:pt x="170" y="44"/>
                    </a:lnTo>
                    <a:lnTo>
                      <a:pt x="171" y="50"/>
                    </a:lnTo>
                    <a:lnTo>
                      <a:pt x="149" y="55"/>
                    </a:lnTo>
                    <a:lnTo>
                      <a:pt x="147" y="55"/>
                    </a:lnTo>
                    <a:lnTo>
                      <a:pt x="143" y="52"/>
                    </a:lnTo>
                    <a:lnTo>
                      <a:pt x="137" y="46"/>
                    </a:lnTo>
                    <a:lnTo>
                      <a:pt x="132" y="44"/>
                    </a:lnTo>
                    <a:lnTo>
                      <a:pt x="128" y="40"/>
                    </a:lnTo>
                    <a:lnTo>
                      <a:pt x="124" y="38"/>
                    </a:lnTo>
                    <a:lnTo>
                      <a:pt x="118" y="38"/>
                    </a:lnTo>
                    <a:lnTo>
                      <a:pt x="114" y="38"/>
                    </a:lnTo>
                    <a:lnTo>
                      <a:pt x="111" y="38"/>
                    </a:lnTo>
                    <a:lnTo>
                      <a:pt x="105" y="38"/>
                    </a:lnTo>
                    <a:lnTo>
                      <a:pt x="101" y="40"/>
                    </a:lnTo>
                    <a:lnTo>
                      <a:pt x="95" y="46"/>
                    </a:lnTo>
                    <a:lnTo>
                      <a:pt x="90" y="50"/>
                    </a:lnTo>
                    <a:lnTo>
                      <a:pt x="82" y="55"/>
                    </a:lnTo>
                    <a:lnTo>
                      <a:pt x="76" y="63"/>
                    </a:lnTo>
                    <a:lnTo>
                      <a:pt x="73" y="71"/>
                    </a:lnTo>
                    <a:lnTo>
                      <a:pt x="69" y="73"/>
                    </a:lnTo>
                    <a:lnTo>
                      <a:pt x="65" y="76"/>
                    </a:lnTo>
                    <a:lnTo>
                      <a:pt x="63" y="80"/>
                    </a:lnTo>
                    <a:lnTo>
                      <a:pt x="61" y="86"/>
                    </a:lnTo>
                    <a:lnTo>
                      <a:pt x="59" y="90"/>
                    </a:lnTo>
                    <a:lnTo>
                      <a:pt x="57" y="93"/>
                    </a:lnTo>
                    <a:lnTo>
                      <a:pt x="56" y="97"/>
                    </a:lnTo>
                    <a:lnTo>
                      <a:pt x="52" y="103"/>
                    </a:lnTo>
                    <a:lnTo>
                      <a:pt x="50" y="107"/>
                    </a:lnTo>
                    <a:lnTo>
                      <a:pt x="48" y="111"/>
                    </a:lnTo>
                    <a:lnTo>
                      <a:pt x="46" y="116"/>
                    </a:lnTo>
                    <a:lnTo>
                      <a:pt x="44" y="120"/>
                    </a:lnTo>
                    <a:lnTo>
                      <a:pt x="42" y="124"/>
                    </a:lnTo>
                    <a:lnTo>
                      <a:pt x="40" y="130"/>
                    </a:lnTo>
                    <a:lnTo>
                      <a:pt x="38" y="133"/>
                    </a:lnTo>
                    <a:lnTo>
                      <a:pt x="37" y="139"/>
                    </a:lnTo>
                    <a:lnTo>
                      <a:pt x="35" y="145"/>
                    </a:lnTo>
                    <a:lnTo>
                      <a:pt x="35" y="149"/>
                    </a:lnTo>
                    <a:lnTo>
                      <a:pt x="33" y="154"/>
                    </a:lnTo>
                    <a:lnTo>
                      <a:pt x="31" y="158"/>
                    </a:lnTo>
                    <a:lnTo>
                      <a:pt x="31" y="164"/>
                    </a:lnTo>
                    <a:lnTo>
                      <a:pt x="29" y="170"/>
                    </a:lnTo>
                    <a:lnTo>
                      <a:pt x="27" y="173"/>
                    </a:lnTo>
                    <a:lnTo>
                      <a:pt x="27" y="179"/>
                    </a:lnTo>
                    <a:lnTo>
                      <a:pt x="25" y="183"/>
                    </a:lnTo>
                    <a:lnTo>
                      <a:pt x="25" y="189"/>
                    </a:lnTo>
                    <a:lnTo>
                      <a:pt x="23" y="192"/>
                    </a:lnTo>
                    <a:lnTo>
                      <a:pt x="23" y="196"/>
                    </a:lnTo>
                    <a:lnTo>
                      <a:pt x="21" y="200"/>
                    </a:lnTo>
                    <a:lnTo>
                      <a:pt x="21" y="206"/>
                    </a:lnTo>
                    <a:lnTo>
                      <a:pt x="19" y="209"/>
                    </a:lnTo>
                    <a:lnTo>
                      <a:pt x="19" y="213"/>
                    </a:lnTo>
                    <a:lnTo>
                      <a:pt x="18" y="217"/>
                    </a:lnTo>
                    <a:lnTo>
                      <a:pt x="18" y="221"/>
                    </a:lnTo>
                    <a:lnTo>
                      <a:pt x="18" y="225"/>
                    </a:lnTo>
                    <a:lnTo>
                      <a:pt x="18" y="230"/>
                    </a:lnTo>
                    <a:lnTo>
                      <a:pt x="16" y="236"/>
                    </a:lnTo>
                    <a:lnTo>
                      <a:pt x="16" y="244"/>
                    </a:lnTo>
                    <a:lnTo>
                      <a:pt x="14" y="249"/>
                    </a:lnTo>
                    <a:lnTo>
                      <a:pt x="14" y="255"/>
                    </a:lnTo>
                    <a:lnTo>
                      <a:pt x="12" y="259"/>
                    </a:lnTo>
                    <a:lnTo>
                      <a:pt x="12" y="265"/>
                    </a:lnTo>
                    <a:lnTo>
                      <a:pt x="12" y="268"/>
                    </a:lnTo>
                    <a:lnTo>
                      <a:pt x="12" y="270"/>
                    </a:lnTo>
                    <a:lnTo>
                      <a:pt x="12" y="272"/>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12" name="Freeform 54"/>
              <p:cNvSpPr>
                <a:spLocks/>
              </p:cNvSpPr>
              <p:nvPr/>
            </p:nvSpPr>
            <p:spPr bwMode="auto">
              <a:xfrm>
                <a:off x="2906713" y="3497263"/>
                <a:ext cx="138113" cy="393700"/>
              </a:xfrm>
              <a:custGeom>
                <a:avLst/>
                <a:gdLst>
                  <a:gd name="T0" fmla="*/ 2147483646 w 173"/>
                  <a:gd name="T1" fmla="*/ 2147483646 h 497"/>
                  <a:gd name="T2" fmla="*/ 2147483646 w 173"/>
                  <a:gd name="T3" fmla="*/ 2147483646 h 497"/>
                  <a:gd name="T4" fmla="*/ 2147483646 w 173"/>
                  <a:gd name="T5" fmla="*/ 2147483646 h 497"/>
                  <a:gd name="T6" fmla="*/ 2147483646 w 173"/>
                  <a:gd name="T7" fmla="*/ 2147483646 h 497"/>
                  <a:gd name="T8" fmla="*/ 2147483646 w 173"/>
                  <a:gd name="T9" fmla="*/ 2147483646 h 497"/>
                  <a:gd name="T10" fmla="*/ 2147483646 w 173"/>
                  <a:gd name="T11" fmla="*/ 2147483646 h 497"/>
                  <a:gd name="T12" fmla="*/ 2147483646 w 173"/>
                  <a:gd name="T13" fmla="*/ 2147483646 h 497"/>
                  <a:gd name="T14" fmla="*/ 2147483646 w 173"/>
                  <a:gd name="T15" fmla="*/ 2147483646 h 497"/>
                  <a:gd name="T16" fmla="*/ 2147483646 w 173"/>
                  <a:gd name="T17" fmla="*/ 2147483646 h 497"/>
                  <a:gd name="T18" fmla="*/ 2147483646 w 173"/>
                  <a:gd name="T19" fmla="*/ 2147483646 h 497"/>
                  <a:gd name="T20" fmla="*/ 2147483646 w 173"/>
                  <a:gd name="T21" fmla="*/ 2147483646 h 497"/>
                  <a:gd name="T22" fmla="*/ 2147483646 w 173"/>
                  <a:gd name="T23" fmla="*/ 2147483646 h 497"/>
                  <a:gd name="T24" fmla="*/ 2147483646 w 173"/>
                  <a:gd name="T25" fmla="*/ 2147483646 h 497"/>
                  <a:gd name="T26" fmla="*/ 2147483646 w 173"/>
                  <a:gd name="T27" fmla="*/ 2147483646 h 497"/>
                  <a:gd name="T28" fmla="*/ 2147483646 w 173"/>
                  <a:gd name="T29" fmla="*/ 2147483646 h 497"/>
                  <a:gd name="T30" fmla="*/ 2147483646 w 173"/>
                  <a:gd name="T31" fmla="*/ 2147483646 h 497"/>
                  <a:gd name="T32" fmla="*/ 2147483646 w 173"/>
                  <a:gd name="T33" fmla="*/ 2147483646 h 497"/>
                  <a:gd name="T34" fmla="*/ 2147483646 w 173"/>
                  <a:gd name="T35" fmla="*/ 2147483646 h 497"/>
                  <a:gd name="T36" fmla="*/ 2147483646 w 173"/>
                  <a:gd name="T37" fmla="*/ 2147483646 h 497"/>
                  <a:gd name="T38" fmla="*/ 2147483646 w 173"/>
                  <a:gd name="T39" fmla="*/ 2147483646 h 497"/>
                  <a:gd name="T40" fmla="*/ 2147483646 w 173"/>
                  <a:gd name="T41" fmla="*/ 0 h 497"/>
                  <a:gd name="T42" fmla="*/ 2147483646 w 173"/>
                  <a:gd name="T43" fmla="*/ 2147483646 h 497"/>
                  <a:gd name="T44" fmla="*/ 2147483646 w 173"/>
                  <a:gd name="T45" fmla="*/ 2147483646 h 497"/>
                  <a:gd name="T46" fmla="*/ 2147483646 w 173"/>
                  <a:gd name="T47" fmla="*/ 2147483646 h 497"/>
                  <a:gd name="T48" fmla="*/ 2147483646 w 173"/>
                  <a:gd name="T49" fmla="*/ 2147483646 h 497"/>
                  <a:gd name="T50" fmla="*/ 2147483646 w 173"/>
                  <a:gd name="T51" fmla="*/ 2147483646 h 497"/>
                  <a:gd name="T52" fmla="*/ 2147483646 w 173"/>
                  <a:gd name="T53" fmla="*/ 2147483646 h 497"/>
                  <a:gd name="T54" fmla="*/ 2147483646 w 173"/>
                  <a:gd name="T55" fmla="*/ 2147483646 h 497"/>
                  <a:gd name="T56" fmla="*/ 2147483646 w 173"/>
                  <a:gd name="T57" fmla="*/ 2147483646 h 497"/>
                  <a:gd name="T58" fmla="*/ 2147483646 w 173"/>
                  <a:gd name="T59" fmla="*/ 2147483646 h 497"/>
                  <a:gd name="T60" fmla="*/ 2147483646 w 173"/>
                  <a:gd name="T61" fmla="*/ 2147483646 h 497"/>
                  <a:gd name="T62" fmla="*/ 2147483646 w 173"/>
                  <a:gd name="T63" fmla="*/ 2147483646 h 497"/>
                  <a:gd name="T64" fmla="*/ 2147483646 w 173"/>
                  <a:gd name="T65" fmla="*/ 2147483646 h 497"/>
                  <a:gd name="T66" fmla="*/ 2147483646 w 173"/>
                  <a:gd name="T67" fmla="*/ 2147483646 h 497"/>
                  <a:gd name="T68" fmla="*/ 2147483646 w 173"/>
                  <a:gd name="T69" fmla="*/ 2147483646 h 497"/>
                  <a:gd name="T70" fmla="*/ 2147483646 w 173"/>
                  <a:gd name="T71" fmla="*/ 2147483646 h 497"/>
                  <a:gd name="T72" fmla="*/ 2147483646 w 173"/>
                  <a:gd name="T73" fmla="*/ 2147483646 h 497"/>
                  <a:gd name="T74" fmla="*/ 2147483646 w 173"/>
                  <a:gd name="T75" fmla="*/ 2147483646 h 497"/>
                  <a:gd name="T76" fmla="*/ 2147483646 w 173"/>
                  <a:gd name="T77" fmla="*/ 2147483646 h 497"/>
                  <a:gd name="T78" fmla="*/ 2147483646 w 173"/>
                  <a:gd name="T79" fmla="*/ 2147483646 h 497"/>
                  <a:gd name="T80" fmla="*/ 2147483646 w 173"/>
                  <a:gd name="T81" fmla="*/ 2147483646 h 497"/>
                  <a:gd name="T82" fmla="*/ 2147483646 w 173"/>
                  <a:gd name="T83" fmla="*/ 2147483646 h 497"/>
                  <a:gd name="T84" fmla="*/ 2147483646 w 173"/>
                  <a:gd name="T85" fmla="*/ 2147483646 h 497"/>
                  <a:gd name="T86" fmla="*/ 2147483646 w 173"/>
                  <a:gd name="T87" fmla="*/ 2147483646 h 497"/>
                  <a:gd name="T88" fmla="*/ 2147483646 w 173"/>
                  <a:gd name="T89" fmla="*/ 2147483646 h 497"/>
                  <a:gd name="T90" fmla="*/ 2147483646 w 173"/>
                  <a:gd name="T91" fmla="*/ 2147483646 h 497"/>
                  <a:gd name="T92" fmla="*/ 2147483646 w 173"/>
                  <a:gd name="T93" fmla="*/ 2147483646 h 497"/>
                  <a:gd name="T94" fmla="*/ 2147483646 w 173"/>
                  <a:gd name="T95" fmla="*/ 2147483646 h 497"/>
                  <a:gd name="T96" fmla="*/ 2147483646 w 173"/>
                  <a:gd name="T97" fmla="*/ 2147483646 h 497"/>
                  <a:gd name="T98" fmla="*/ 2147483646 w 173"/>
                  <a:gd name="T99" fmla="*/ 2147483646 h 497"/>
                  <a:gd name="T100" fmla="*/ 2147483646 w 173"/>
                  <a:gd name="T101" fmla="*/ 2147483646 h 497"/>
                  <a:gd name="T102" fmla="*/ 2147483646 w 173"/>
                  <a:gd name="T103" fmla="*/ 2147483646 h 497"/>
                  <a:gd name="T104" fmla="*/ 2147483646 w 173"/>
                  <a:gd name="T105" fmla="*/ 2147483646 h 497"/>
                  <a:gd name="T106" fmla="*/ 2147483646 w 173"/>
                  <a:gd name="T107" fmla="*/ 2147483646 h 497"/>
                  <a:gd name="T108" fmla="*/ 2147483646 w 173"/>
                  <a:gd name="T109" fmla="*/ 2147483646 h 497"/>
                  <a:gd name="T110" fmla="*/ 2147483646 w 173"/>
                  <a:gd name="T111" fmla="*/ 2147483646 h 497"/>
                  <a:gd name="T112" fmla="*/ 2147483646 w 173"/>
                  <a:gd name="T113" fmla="*/ 2147483646 h 497"/>
                  <a:gd name="T114" fmla="*/ 0 w 173"/>
                  <a:gd name="T115" fmla="*/ 2147483646 h 497"/>
                  <a:gd name="T116" fmla="*/ 2147483646 w 173"/>
                  <a:gd name="T117" fmla="*/ 2147483646 h 49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3"/>
                  <a:gd name="T178" fmla="*/ 0 h 497"/>
                  <a:gd name="T179" fmla="*/ 173 w 173"/>
                  <a:gd name="T180" fmla="*/ 497 h 49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3" h="497">
                    <a:moveTo>
                      <a:pt x="2" y="497"/>
                    </a:moveTo>
                    <a:lnTo>
                      <a:pt x="2" y="495"/>
                    </a:lnTo>
                    <a:lnTo>
                      <a:pt x="4" y="491"/>
                    </a:lnTo>
                    <a:lnTo>
                      <a:pt x="4" y="487"/>
                    </a:lnTo>
                    <a:lnTo>
                      <a:pt x="4" y="483"/>
                    </a:lnTo>
                    <a:lnTo>
                      <a:pt x="4" y="480"/>
                    </a:lnTo>
                    <a:lnTo>
                      <a:pt x="5" y="476"/>
                    </a:lnTo>
                    <a:lnTo>
                      <a:pt x="5" y="470"/>
                    </a:lnTo>
                    <a:lnTo>
                      <a:pt x="7" y="464"/>
                    </a:lnTo>
                    <a:lnTo>
                      <a:pt x="7" y="459"/>
                    </a:lnTo>
                    <a:lnTo>
                      <a:pt x="9" y="451"/>
                    </a:lnTo>
                    <a:lnTo>
                      <a:pt x="11" y="443"/>
                    </a:lnTo>
                    <a:lnTo>
                      <a:pt x="13" y="438"/>
                    </a:lnTo>
                    <a:lnTo>
                      <a:pt x="13" y="434"/>
                    </a:lnTo>
                    <a:lnTo>
                      <a:pt x="15" y="430"/>
                    </a:lnTo>
                    <a:lnTo>
                      <a:pt x="15" y="426"/>
                    </a:lnTo>
                    <a:lnTo>
                      <a:pt x="19" y="422"/>
                    </a:lnTo>
                    <a:lnTo>
                      <a:pt x="19" y="417"/>
                    </a:lnTo>
                    <a:lnTo>
                      <a:pt x="21" y="413"/>
                    </a:lnTo>
                    <a:lnTo>
                      <a:pt x="21" y="409"/>
                    </a:lnTo>
                    <a:lnTo>
                      <a:pt x="23" y="405"/>
                    </a:lnTo>
                    <a:lnTo>
                      <a:pt x="23" y="400"/>
                    </a:lnTo>
                    <a:lnTo>
                      <a:pt x="24" y="396"/>
                    </a:lnTo>
                    <a:lnTo>
                      <a:pt x="24" y="392"/>
                    </a:lnTo>
                    <a:lnTo>
                      <a:pt x="28" y="386"/>
                    </a:lnTo>
                    <a:lnTo>
                      <a:pt x="28" y="383"/>
                    </a:lnTo>
                    <a:lnTo>
                      <a:pt x="30" y="377"/>
                    </a:lnTo>
                    <a:lnTo>
                      <a:pt x="32" y="373"/>
                    </a:lnTo>
                    <a:lnTo>
                      <a:pt x="34" y="369"/>
                    </a:lnTo>
                    <a:lnTo>
                      <a:pt x="36" y="364"/>
                    </a:lnTo>
                    <a:lnTo>
                      <a:pt x="38" y="360"/>
                    </a:lnTo>
                    <a:lnTo>
                      <a:pt x="40" y="354"/>
                    </a:lnTo>
                    <a:lnTo>
                      <a:pt x="42" y="350"/>
                    </a:lnTo>
                    <a:lnTo>
                      <a:pt x="43" y="345"/>
                    </a:lnTo>
                    <a:lnTo>
                      <a:pt x="45" y="339"/>
                    </a:lnTo>
                    <a:lnTo>
                      <a:pt x="47" y="335"/>
                    </a:lnTo>
                    <a:lnTo>
                      <a:pt x="49" y="329"/>
                    </a:lnTo>
                    <a:lnTo>
                      <a:pt x="51" y="324"/>
                    </a:lnTo>
                    <a:lnTo>
                      <a:pt x="53" y="320"/>
                    </a:lnTo>
                    <a:lnTo>
                      <a:pt x="57" y="314"/>
                    </a:lnTo>
                    <a:lnTo>
                      <a:pt x="59" y="310"/>
                    </a:lnTo>
                    <a:lnTo>
                      <a:pt x="61" y="305"/>
                    </a:lnTo>
                    <a:lnTo>
                      <a:pt x="62" y="301"/>
                    </a:lnTo>
                    <a:lnTo>
                      <a:pt x="66" y="295"/>
                    </a:lnTo>
                    <a:lnTo>
                      <a:pt x="68" y="291"/>
                    </a:lnTo>
                    <a:lnTo>
                      <a:pt x="70" y="288"/>
                    </a:lnTo>
                    <a:lnTo>
                      <a:pt x="74" y="282"/>
                    </a:lnTo>
                    <a:lnTo>
                      <a:pt x="78" y="278"/>
                    </a:lnTo>
                    <a:lnTo>
                      <a:pt x="80" y="272"/>
                    </a:lnTo>
                    <a:lnTo>
                      <a:pt x="81" y="269"/>
                    </a:lnTo>
                    <a:lnTo>
                      <a:pt x="85" y="263"/>
                    </a:lnTo>
                    <a:lnTo>
                      <a:pt x="87" y="259"/>
                    </a:lnTo>
                    <a:lnTo>
                      <a:pt x="91" y="255"/>
                    </a:lnTo>
                    <a:lnTo>
                      <a:pt x="93" y="251"/>
                    </a:lnTo>
                    <a:lnTo>
                      <a:pt x="97" y="246"/>
                    </a:lnTo>
                    <a:lnTo>
                      <a:pt x="99" y="242"/>
                    </a:lnTo>
                    <a:lnTo>
                      <a:pt x="102" y="238"/>
                    </a:lnTo>
                    <a:lnTo>
                      <a:pt x="104" y="234"/>
                    </a:lnTo>
                    <a:lnTo>
                      <a:pt x="106" y="230"/>
                    </a:lnTo>
                    <a:lnTo>
                      <a:pt x="110" y="227"/>
                    </a:lnTo>
                    <a:lnTo>
                      <a:pt x="112" y="221"/>
                    </a:lnTo>
                    <a:lnTo>
                      <a:pt x="118" y="213"/>
                    </a:lnTo>
                    <a:lnTo>
                      <a:pt x="123" y="208"/>
                    </a:lnTo>
                    <a:lnTo>
                      <a:pt x="127" y="200"/>
                    </a:lnTo>
                    <a:lnTo>
                      <a:pt x="133" y="192"/>
                    </a:lnTo>
                    <a:lnTo>
                      <a:pt x="137" y="187"/>
                    </a:lnTo>
                    <a:lnTo>
                      <a:pt x="140" y="179"/>
                    </a:lnTo>
                    <a:lnTo>
                      <a:pt x="146" y="173"/>
                    </a:lnTo>
                    <a:lnTo>
                      <a:pt x="150" y="166"/>
                    </a:lnTo>
                    <a:lnTo>
                      <a:pt x="154" y="160"/>
                    </a:lnTo>
                    <a:lnTo>
                      <a:pt x="157" y="154"/>
                    </a:lnTo>
                    <a:lnTo>
                      <a:pt x="159" y="147"/>
                    </a:lnTo>
                    <a:lnTo>
                      <a:pt x="163" y="141"/>
                    </a:lnTo>
                    <a:lnTo>
                      <a:pt x="165" y="135"/>
                    </a:lnTo>
                    <a:lnTo>
                      <a:pt x="167" y="130"/>
                    </a:lnTo>
                    <a:lnTo>
                      <a:pt x="167" y="122"/>
                    </a:lnTo>
                    <a:lnTo>
                      <a:pt x="171" y="116"/>
                    </a:lnTo>
                    <a:lnTo>
                      <a:pt x="171" y="111"/>
                    </a:lnTo>
                    <a:lnTo>
                      <a:pt x="173" y="105"/>
                    </a:lnTo>
                    <a:lnTo>
                      <a:pt x="173" y="97"/>
                    </a:lnTo>
                    <a:lnTo>
                      <a:pt x="173" y="92"/>
                    </a:lnTo>
                    <a:lnTo>
                      <a:pt x="173" y="84"/>
                    </a:lnTo>
                    <a:lnTo>
                      <a:pt x="171" y="78"/>
                    </a:lnTo>
                    <a:lnTo>
                      <a:pt x="169" y="71"/>
                    </a:lnTo>
                    <a:lnTo>
                      <a:pt x="167" y="65"/>
                    </a:lnTo>
                    <a:lnTo>
                      <a:pt x="165" y="57"/>
                    </a:lnTo>
                    <a:lnTo>
                      <a:pt x="163" y="52"/>
                    </a:lnTo>
                    <a:lnTo>
                      <a:pt x="161" y="46"/>
                    </a:lnTo>
                    <a:lnTo>
                      <a:pt x="157" y="40"/>
                    </a:lnTo>
                    <a:lnTo>
                      <a:pt x="156" y="37"/>
                    </a:lnTo>
                    <a:lnTo>
                      <a:pt x="154" y="31"/>
                    </a:lnTo>
                    <a:lnTo>
                      <a:pt x="150" y="27"/>
                    </a:lnTo>
                    <a:lnTo>
                      <a:pt x="146" y="23"/>
                    </a:lnTo>
                    <a:lnTo>
                      <a:pt x="142" y="19"/>
                    </a:lnTo>
                    <a:lnTo>
                      <a:pt x="140" y="18"/>
                    </a:lnTo>
                    <a:lnTo>
                      <a:pt x="135" y="14"/>
                    </a:lnTo>
                    <a:lnTo>
                      <a:pt x="131" y="12"/>
                    </a:lnTo>
                    <a:lnTo>
                      <a:pt x="127" y="10"/>
                    </a:lnTo>
                    <a:lnTo>
                      <a:pt x="123" y="6"/>
                    </a:lnTo>
                    <a:lnTo>
                      <a:pt x="118" y="4"/>
                    </a:lnTo>
                    <a:lnTo>
                      <a:pt x="114" y="4"/>
                    </a:lnTo>
                    <a:lnTo>
                      <a:pt x="110" y="2"/>
                    </a:lnTo>
                    <a:lnTo>
                      <a:pt x="106" y="2"/>
                    </a:lnTo>
                    <a:lnTo>
                      <a:pt x="100" y="0"/>
                    </a:lnTo>
                    <a:lnTo>
                      <a:pt x="97" y="0"/>
                    </a:lnTo>
                    <a:lnTo>
                      <a:pt x="91" y="0"/>
                    </a:lnTo>
                    <a:lnTo>
                      <a:pt x="87" y="2"/>
                    </a:lnTo>
                    <a:lnTo>
                      <a:pt x="83" y="2"/>
                    </a:lnTo>
                    <a:lnTo>
                      <a:pt x="78" y="2"/>
                    </a:lnTo>
                    <a:lnTo>
                      <a:pt x="74" y="4"/>
                    </a:lnTo>
                    <a:lnTo>
                      <a:pt x="70" y="6"/>
                    </a:lnTo>
                    <a:lnTo>
                      <a:pt x="64" y="8"/>
                    </a:lnTo>
                    <a:lnTo>
                      <a:pt x="61" y="10"/>
                    </a:lnTo>
                    <a:lnTo>
                      <a:pt x="57" y="14"/>
                    </a:lnTo>
                    <a:lnTo>
                      <a:pt x="53" y="16"/>
                    </a:lnTo>
                    <a:lnTo>
                      <a:pt x="49" y="19"/>
                    </a:lnTo>
                    <a:lnTo>
                      <a:pt x="45" y="23"/>
                    </a:lnTo>
                    <a:lnTo>
                      <a:pt x="42" y="29"/>
                    </a:lnTo>
                    <a:lnTo>
                      <a:pt x="40" y="35"/>
                    </a:lnTo>
                    <a:lnTo>
                      <a:pt x="36" y="37"/>
                    </a:lnTo>
                    <a:lnTo>
                      <a:pt x="34" y="40"/>
                    </a:lnTo>
                    <a:lnTo>
                      <a:pt x="32" y="46"/>
                    </a:lnTo>
                    <a:lnTo>
                      <a:pt x="30" y="50"/>
                    </a:lnTo>
                    <a:lnTo>
                      <a:pt x="28" y="54"/>
                    </a:lnTo>
                    <a:lnTo>
                      <a:pt x="26" y="57"/>
                    </a:lnTo>
                    <a:lnTo>
                      <a:pt x="24" y="61"/>
                    </a:lnTo>
                    <a:lnTo>
                      <a:pt x="24" y="67"/>
                    </a:lnTo>
                    <a:lnTo>
                      <a:pt x="23" y="71"/>
                    </a:lnTo>
                    <a:lnTo>
                      <a:pt x="23" y="75"/>
                    </a:lnTo>
                    <a:lnTo>
                      <a:pt x="23" y="78"/>
                    </a:lnTo>
                    <a:lnTo>
                      <a:pt x="23" y="84"/>
                    </a:lnTo>
                    <a:lnTo>
                      <a:pt x="21" y="88"/>
                    </a:lnTo>
                    <a:lnTo>
                      <a:pt x="21" y="92"/>
                    </a:lnTo>
                    <a:lnTo>
                      <a:pt x="23" y="96"/>
                    </a:lnTo>
                    <a:lnTo>
                      <a:pt x="23" y="101"/>
                    </a:lnTo>
                    <a:lnTo>
                      <a:pt x="23" y="107"/>
                    </a:lnTo>
                    <a:lnTo>
                      <a:pt x="24" y="115"/>
                    </a:lnTo>
                    <a:lnTo>
                      <a:pt x="26" y="122"/>
                    </a:lnTo>
                    <a:lnTo>
                      <a:pt x="30" y="128"/>
                    </a:lnTo>
                    <a:lnTo>
                      <a:pt x="32" y="134"/>
                    </a:lnTo>
                    <a:lnTo>
                      <a:pt x="36" y="139"/>
                    </a:lnTo>
                    <a:lnTo>
                      <a:pt x="40" y="143"/>
                    </a:lnTo>
                    <a:lnTo>
                      <a:pt x="45" y="149"/>
                    </a:lnTo>
                    <a:lnTo>
                      <a:pt x="49" y="151"/>
                    </a:lnTo>
                    <a:lnTo>
                      <a:pt x="53" y="153"/>
                    </a:lnTo>
                    <a:lnTo>
                      <a:pt x="57" y="154"/>
                    </a:lnTo>
                    <a:lnTo>
                      <a:pt x="61" y="156"/>
                    </a:lnTo>
                    <a:lnTo>
                      <a:pt x="68" y="156"/>
                    </a:lnTo>
                    <a:lnTo>
                      <a:pt x="76" y="156"/>
                    </a:lnTo>
                    <a:lnTo>
                      <a:pt x="81" y="154"/>
                    </a:lnTo>
                    <a:lnTo>
                      <a:pt x="87" y="151"/>
                    </a:lnTo>
                    <a:lnTo>
                      <a:pt x="91" y="147"/>
                    </a:lnTo>
                    <a:lnTo>
                      <a:pt x="97" y="143"/>
                    </a:lnTo>
                    <a:lnTo>
                      <a:pt x="100" y="137"/>
                    </a:lnTo>
                    <a:lnTo>
                      <a:pt x="104" y="132"/>
                    </a:lnTo>
                    <a:lnTo>
                      <a:pt x="106" y="126"/>
                    </a:lnTo>
                    <a:lnTo>
                      <a:pt x="108" y="122"/>
                    </a:lnTo>
                    <a:lnTo>
                      <a:pt x="110" y="118"/>
                    </a:lnTo>
                    <a:lnTo>
                      <a:pt x="112" y="116"/>
                    </a:lnTo>
                    <a:lnTo>
                      <a:pt x="112" y="113"/>
                    </a:lnTo>
                    <a:lnTo>
                      <a:pt x="114" y="113"/>
                    </a:lnTo>
                    <a:lnTo>
                      <a:pt x="100" y="105"/>
                    </a:lnTo>
                    <a:lnTo>
                      <a:pt x="99" y="105"/>
                    </a:lnTo>
                    <a:lnTo>
                      <a:pt x="97" y="109"/>
                    </a:lnTo>
                    <a:lnTo>
                      <a:pt x="93" y="113"/>
                    </a:lnTo>
                    <a:lnTo>
                      <a:pt x="89" y="116"/>
                    </a:lnTo>
                    <a:lnTo>
                      <a:pt x="83" y="120"/>
                    </a:lnTo>
                    <a:lnTo>
                      <a:pt x="78" y="122"/>
                    </a:lnTo>
                    <a:lnTo>
                      <a:pt x="72" y="122"/>
                    </a:lnTo>
                    <a:lnTo>
                      <a:pt x="66" y="122"/>
                    </a:lnTo>
                    <a:lnTo>
                      <a:pt x="64" y="118"/>
                    </a:lnTo>
                    <a:lnTo>
                      <a:pt x="62" y="116"/>
                    </a:lnTo>
                    <a:lnTo>
                      <a:pt x="61" y="111"/>
                    </a:lnTo>
                    <a:lnTo>
                      <a:pt x="61" y="107"/>
                    </a:lnTo>
                    <a:lnTo>
                      <a:pt x="59" y="101"/>
                    </a:lnTo>
                    <a:lnTo>
                      <a:pt x="59" y="97"/>
                    </a:lnTo>
                    <a:lnTo>
                      <a:pt x="59" y="90"/>
                    </a:lnTo>
                    <a:lnTo>
                      <a:pt x="61" y="86"/>
                    </a:lnTo>
                    <a:lnTo>
                      <a:pt x="61" y="78"/>
                    </a:lnTo>
                    <a:lnTo>
                      <a:pt x="62" y="73"/>
                    </a:lnTo>
                    <a:lnTo>
                      <a:pt x="64" y="67"/>
                    </a:lnTo>
                    <a:lnTo>
                      <a:pt x="68" y="61"/>
                    </a:lnTo>
                    <a:lnTo>
                      <a:pt x="72" y="56"/>
                    </a:lnTo>
                    <a:lnTo>
                      <a:pt x="78" y="52"/>
                    </a:lnTo>
                    <a:lnTo>
                      <a:pt x="81" y="48"/>
                    </a:lnTo>
                    <a:lnTo>
                      <a:pt x="89" y="44"/>
                    </a:lnTo>
                    <a:lnTo>
                      <a:pt x="93" y="42"/>
                    </a:lnTo>
                    <a:lnTo>
                      <a:pt x="97" y="40"/>
                    </a:lnTo>
                    <a:lnTo>
                      <a:pt x="100" y="38"/>
                    </a:lnTo>
                    <a:lnTo>
                      <a:pt x="106" y="38"/>
                    </a:lnTo>
                    <a:lnTo>
                      <a:pt x="108" y="38"/>
                    </a:lnTo>
                    <a:lnTo>
                      <a:pt x="114" y="38"/>
                    </a:lnTo>
                    <a:lnTo>
                      <a:pt x="116" y="38"/>
                    </a:lnTo>
                    <a:lnTo>
                      <a:pt x="121" y="40"/>
                    </a:lnTo>
                    <a:lnTo>
                      <a:pt x="125" y="44"/>
                    </a:lnTo>
                    <a:lnTo>
                      <a:pt x="133" y="48"/>
                    </a:lnTo>
                    <a:lnTo>
                      <a:pt x="135" y="52"/>
                    </a:lnTo>
                    <a:lnTo>
                      <a:pt x="137" y="56"/>
                    </a:lnTo>
                    <a:lnTo>
                      <a:pt x="138" y="59"/>
                    </a:lnTo>
                    <a:lnTo>
                      <a:pt x="140" y="63"/>
                    </a:lnTo>
                    <a:lnTo>
                      <a:pt x="142" y="65"/>
                    </a:lnTo>
                    <a:lnTo>
                      <a:pt x="144" y="71"/>
                    </a:lnTo>
                    <a:lnTo>
                      <a:pt x="144" y="75"/>
                    </a:lnTo>
                    <a:lnTo>
                      <a:pt x="146" y="78"/>
                    </a:lnTo>
                    <a:lnTo>
                      <a:pt x="146" y="82"/>
                    </a:lnTo>
                    <a:lnTo>
                      <a:pt x="146" y="88"/>
                    </a:lnTo>
                    <a:lnTo>
                      <a:pt x="146" y="94"/>
                    </a:lnTo>
                    <a:lnTo>
                      <a:pt x="148" y="97"/>
                    </a:lnTo>
                    <a:lnTo>
                      <a:pt x="146" y="103"/>
                    </a:lnTo>
                    <a:lnTo>
                      <a:pt x="146" y="109"/>
                    </a:lnTo>
                    <a:lnTo>
                      <a:pt x="144" y="113"/>
                    </a:lnTo>
                    <a:lnTo>
                      <a:pt x="142" y="118"/>
                    </a:lnTo>
                    <a:lnTo>
                      <a:pt x="140" y="122"/>
                    </a:lnTo>
                    <a:lnTo>
                      <a:pt x="140" y="130"/>
                    </a:lnTo>
                    <a:lnTo>
                      <a:pt x="138" y="134"/>
                    </a:lnTo>
                    <a:lnTo>
                      <a:pt x="135" y="139"/>
                    </a:lnTo>
                    <a:lnTo>
                      <a:pt x="133" y="145"/>
                    </a:lnTo>
                    <a:lnTo>
                      <a:pt x="129" y="149"/>
                    </a:lnTo>
                    <a:lnTo>
                      <a:pt x="125" y="154"/>
                    </a:lnTo>
                    <a:lnTo>
                      <a:pt x="123" y="158"/>
                    </a:lnTo>
                    <a:lnTo>
                      <a:pt x="119" y="162"/>
                    </a:lnTo>
                    <a:lnTo>
                      <a:pt x="116" y="166"/>
                    </a:lnTo>
                    <a:lnTo>
                      <a:pt x="112" y="170"/>
                    </a:lnTo>
                    <a:lnTo>
                      <a:pt x="110" y="173"/>
                    </a:lnTo>
                    <a:lnTo>
                      <a:pt x="106" y="177"/>
                    </a:lnTo>
                    <a:lnTo>
                      <a:pt x="102" y="181"/>
                    </a:lnTo>
                    <a:lnTo>
                      <a:pt x="99" y="185"/>
                    </a:lnTo>
                    <a:lnTo>
                      <a:pt x="97" y="189"/>
                    </a:lnTo>
                    <a:lnTo>
                      <a:pt x="91" y="192"/>
                    </a:lnTo>
                    <a:lnTo>
                      <a:pt x="89" y="196"/>
                    </a:lnTo>
                    <a:lnTo>
                      <a:pt x="85" y="200"/>
                    </a:lnTo>
                    <a:lnTo>
                      <a:pt x="81" y="204"/>
                    </a:lnTo>
                    <a:lnTo>
                      <a:pt x="78" y="208"/>
                    </a:lnTo>
                    <a:lnTo>
                      <a:pt x="74" y="211"/>
                    </a:lnTo>
                    <a:lnTo>
                      <a:pt x="70" y="215"/>
                    </a:lnTo>
                    <a:lnTo>
                      <a:pt x="66" y="221"/>
                    </a:lnTo>
                    <a:lnTo>
                      <a:pt x="62" y="225"/>
                    </a:lnTo>
                    <a:lnTo>
                      <a:pt x="61" y="229"/>
                    </a:lnTo>
                    <a:lnTo>
                      <a:pt x="57" y="234"/>
                    </a:lnTo>
                    <a:lnTo>
                      <a:pt x="53" y="240"/>
                    </a:lnTo>
                    <a:lnTo>
                      <a:pt x="49" y="246"/>
                    </a:lnTo>
                    <a:lnTo>
                      <a:pt x="45" y="251"/>
                    </a:lnTo>
                    <a:lnTo>
                      <a:pt x="42" y="257"/>
                    </a:lnTo>
                    <a:lnTo>
                      <a:pt x="40" y="263"/>
                    </a:lnTo>
                    <a:lnTo>
                      <a:pt x="38" y="267"/>
                    </a:lnTo>
                    <a:lnTo>
                      <a:pt x="36" y="270"/>
                    </a:lnTo>
                    <a:lnTo>
                      <a:pt x="34" y="272"/>
                    </a:lnTo>
                    <a:lnTo>
                      <a:pt x="32" y="278"/>
                    </a:lnTo>
                    <a:lnTo>
                      <a:pt x="30" y="280"/>
                    </a:lnTo>
                    <a:lnTo>
                      <a:pt x="30" y="286"/>
                    </a:lnTo>
                    <a:lnTo>
                      <a:pt x="28" y="289"/>
                    </a:lnTo>
                    <a:lnTo>
                      <a:pt x="26" y="293"/>
                    </a:lnTo>
                    <a:lnTo>
                      <a:pt x="24" y="297"/>
                    </a:lnTo>
                    <a:lnTo>
                      <a:pt x="23" y="301"/>
                    </a:lnTo>
                    <a:lnTo>
                      <a:pt x="21" y="305"/>
                    </a:lnTo>
                    <a:lnTo>
                      <a:pt x="21" y="310"/>
                    </a:lnTo>
                    <a:lnTo>
                      <a:pt x="19" y="314"/>
                    </a:lnTo>
                    <a:lnTo>
                      <a:pt x="17" y="318"/>
                    </a:lnTo>
                    <a:lnTo>
                      <a:pt x="15" y="322"/>
                    </a:lnTo>
                    <a:lnTo>
                      <a:pt x="15" y="327"/>
                    </a:lnTo>
                    <a:lnTo>
                      <a:pt x="13" y="331"/>
                    </a:lnTo>
                    <a:lnTo>
                      <a:pt x="13" y="335"/>
                    </a:lnTo>
                    <a:lnTo>
                      <a:pt x="11" y="339"/>
                    </a:lnTo>
                    <a:lnTo>
                      <a:pt x="11" y="345"/>
                    </a:lnTo>
                    <a:lnTo>
                      <a:pt x="9" y="348"/>
                    </a:lnTo>
                    <a:lnTo>
                      <a:pt x="9" y="352"/>
                    </a:lnTo>
                    <a:lnTo>
                      <a:pt x="7" y="356"/>
                    </a:lnTo>
                    <a:lnTo>
                      <a:pt x="7" y="362"/>
                    </a:lnTo>
                    <a:lnTo>
                      <a:pt x="7" y="365"/>
                    </a:lnTo>
                    <a:lnTo>
                      <a:pt x="5" y="369"/>
                    </a:lnTo>
                    <a:lnTo>
                      <a:pt x="5" y="373"/>
                    </a:lnTo>
                    <a:lnTo>
                      <a:pt x="5" y="379"/>
                    </a:lnTo>
                    <a:lnTo>
                      <a:pt x="4" y="383"/>
                    </a:lnTo>
                    <a:lnTo>
                      <a:pt x="4" y="386"/>
                    </a:lnTo>
                    <a:lnTo>
                      <a:pt x="4" y="390"/>
                    </a:lnTo>
                    <a:lnTo>
                      <a:pt x="4" y="396"/>
                    </a:lnTo>
                    <a:lnTo>
                      <a:pt x="4" y="400"/>
                    </a:lnTo>
                    <a:lnTo>
                      <a:pt x="2" y="403"/>
                    </a:lnTo>
                    <a:lnTo>
                      <a:pt x="2" y="407"/>
                    </a:lnTo>
                    <a:lnTo>
                      <a:pt x="2" y="411"/>
                    </a:lnTo>
                    <a:lnTo>
                      <a:pt x="2" y="415"/>
                    </a:lnTo>
                    <a:lnTo>
                      <a:pt x="2" y="419"/>
                    </a:lnTo>
                    <a:lnTo>
                      <a:pt x="2" y="422"/>
                    </a:lnTo>
                    <a:lnTo>
                      <a:pt x="2" y="428"/>
                    </a:lnTo>
                    <a:lnTo>
                      <a:pt x="2" y="434"/>
                    </a:lnTo>
                    <a:lnTo>
                      <a:pt x="0" y="441"/>
                    </a:lnTo>
                    <a:lnTo>
                      <a:pt x="0" y="447"/>
                    </a:lnTo>
                    <a:lnTo>
                      <a:pt x="0" y="455"/>
                    </a:lnTo>
                    <a:lnTo>
                      <a:pt x="0" y="461"/>
                    </a:lnTo>
                    <a:lnTo>
                      <a:pt x="0" y="466"/>
                    </a:lnTo>
                    <a:lnTo>
                      <a:pt x="0" y="472"/>
                    </a:lnTo>
                    <a:lnTo>
                      <a:pt x="2" y="478"/>
                    </a:lnTo>
                    <a:lnTo>
                      <a:pt x="2" y="481"/>
                    </a:lnTo>
                    <a:lnTo>
                      <a:pt x="2" y="485"/>
                    </a:lnTo>
                    <a:lnTo>
                      <a:pt x="2" y="487"/>
                    </a:lnTo>
                    <a:lnTo>
                      <a:pt x="2" y="491"/>
                    </a:lnTo>
                    <a:lnTo>
                      <a:pt x="2" y="495"/>
                    </a:lnTo>
                    <a:lnTo>
                      <a:pt x="2" y="497"/>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13" name="Freeform 55"/>
              <p:cNvSpPr>
                <a:spLocks/>
              </p:cNvSpPr>
              <p:nvPr/>
            </p:nvSpPr>
            <p:spPr bwMode="auto">
              <a:xfrm>
                <a:off x="2552701" y="3960813"/>
                <a:ext cx="263525" cy="119063"/>
              </a:xfrm>
              <a:custGeom>
                <a:avLst/>
                <a:gdLst>
                  <a:gd name="T0" fmla="*/ 2147483646 w 333"/>
                  <a:gd name="T1" fmla="*/ 2147483646 h 150"/>
                  <a:gd name="T2" fmla="*/ 2147483646 w 333"/>
                  <a:gd name="T3" fmla="*/ 2147483646 h 150"/>
                  <a:gd name="T4" fmla="*/ 2147483646 w 333"/>
                  <a:gd name="T5" fmla="*/ 2147483646 h 150"/>
                  <a:gd name="T6" fmla="*/ 2147483646 w 333"/>
                  <a:gd name="T7" fmla="*/ 2147483646 h 150"/>
                  <a:gd name="T8" fmla="*/ 2147483646 w 333"/>
                  <a:gd name="T9" fmla="*/ 2147483646 h 150"/>
                  <a:gd name="T10" fmla="*/ 2147483646 w 333"/>
                  <a:gd name="T11" fmla="*/ 2147483646 h 150"/>
                  <a:gd name="T12" fmla="*/ 2147483646 w 333"/>
                  <a:gd name="T13" fmla="*/ 2147483646 h 150"/>
                  <a:gd name="T14" fmla="*/ 2147483646 w 333"/>
                  <a:gd name="T15" fmla="*/ 2147483646 h 150"/>
                  <a:gd name="T16" fmla="*/ 2147483646 w 333"/>
                  <a:gd name="T17" fmla="*/ 2147483646 h 150"/>
                  <a:gd name="T18" fmla="*/ 2147483646 w 333"/>
                  <a:gd name="T19" fmla="*/ 2147483646 h 150"/>
                  <a:gd name="T20" fmla="*/ 2147483646 w 333"/>
                  <a:gd name="T21" fmla="*/ 2147483646 h 150"/>
                  <a:gd name="T22" fmla="*/ 2147483646 w 333"/>
                  <a:gd name="T23" fmla="*/ 2147483646 h 150"/>
                  <a:gd name="T24" fmla="*/ 2147483646 w 333"/>
                  <a:gd name="T25" fmla="*/ 2147483646 h 150"/>
                  <a:gd name="T26" fmla="*/ 2147483646 w 333"/>
                  <a:gd name="T27" fmla="*/ 2147483646 h 150"/>
                  <a:gd name="T28" fmla="*/ 2147483646 w 333"/>
                  <a:gd name="T29" fmla="*/ 2147483646 h 150"/>
                  <a:gd name="T30" fmla="*/ 2147483646 w 333"/>
                  <a:gd name="T31" fmla="*/ 2147483646 h 150"/>
                  <a:gd name="T32" fmla="*/ 2147483646 w 333"/>
                  <a:gd name="T33" fmla="*/ 2147483646 h 150"/>
                  <a:gd name="T34" fmla="*/ 2147483646 w 333"/>
                  <a:gd name="T35" fmla="*/ 2147483646 h 150"/>
                  <a:gd name="T36" fmla="*/ 2147483646 w 333"/>
                  <a:gd name="T37" fmla="*/ 0 h 150"/>
                  <a:gd name="T38" fmla="*/ 2147483646 w 333"/>
                  <a:gd name="T39" fmla="*/ 2147483646 h 150"/>
                  <a:gd name="T40" fmla="*/ 2147483646 w 333"/>
                  <a:gd name="T41" fmla="*/ 2147483646 h 150"/>
                  <a:gd name="T42" fmla="*/ 2147483646 w 333"/>
                  <a:gd name="T43" fmla="*/ 2147483646 h 150"/>
                  <a:gd name="T44" fmla="*/ 2147483646 w 333"/>
                  <a:gd name="T45" fmla="*/ 2147483646 h 150"/>
                  <a:gd name="T46" fmla="*/ 2147483646 w 333"/>
                  <a:gd name="T47" fmla="*/ 2147483646 h 150"/>
                  <a:gd name="T48" fmla="*/ 0 w 333"/>
                  <a:gd name="T49" fmla="*/ 2147483646 h 150"/>
                  <a:gd name="T50" fmla="*/ 2147483646 w 333"/>
                  <a:gd name="T51" fmla="*/ 2147483646 h 150"/>
                  <a:gd name="T52" fmla="*/ 2147483646 w 333"/>
                  <a:gd name="T53" fmla="*/ 2147483646 h 150"/>
                  <a:gd name="T54" fmla="*/ 2147483646 w 333"/>
                  <a:gd name="T55" fmla="*/ 2147483646 h 150"/>
                  <a:gd name="T56" fmla="*/ 2147483646 w 333"/>
                  <a:gd name="T57" fmla="*/ 2147483646 h 150"/>
                  <a:gd name="T58" fmla="*/ 2147483646 w 333"/>
                  <a:gd name="T59" fmla="*/ 2147483646 h 150"/>
                  <a:gd name="T60" fmla="*/ 2147483646 w 333"/>
                  <a:gd name="T61" fmla="*/ 2147483646 h 150"/>
                  <a:gd name="T62" fmla="*/ 2147483646 w 333"/>
                  <a:gd name="T63" fmla="*/ 2147483646 h 150"/>
                  <a:gd name="T64" fmla="*/ 2147483646 w 333"/>
                  <a:gd name="T65" fmla="*/ 2147483646 h 150"/>
                  <a:gd name="T66" fmla="*/ 2147483646 w 333"/>
                  <a:gd name="T67" fmla="*/ 2147483646 h 150"/>
                  <a:gd name="T68" fmla="*/ 2147483646 w 333"/>
                  <a:gd name="T69" fmla="*/ 2147483646 h 150"/>
                  <a:gd name="T70" fmla="*/ 2147483646 w 333"/>
                  <a:gd name="T71" fmla="*/ 2147483646 h 150"/>
                  <a:gd name="T72" fmla="*/ 2147483646 w 333"/>
                  <a:gd name="T73" fmla="*/ 2147483646 h 150"/>
                  <a:gd name="T74" fmla="*/ 2147483646 w 333"/>
                  <a:gd name="T75" fmla="*/ 2147483646 h 150"/>
                  <a:gd name="T76" fmla="*/ 2147483646 w 333"/>
                  <a:gd name="T77" fmla="*/ 2147483646 h 150"/>
                  <a:gd name="T78" fmla="*/ 2147483646 w 333"/>
                  <a:gd name="T79" fmla="*/ 2147483646 h 150"/>
                  <a:gd name="T80" fmla="*/ 2147483646 w 333"/>
                  <a:gd name="T81" fmla="*/ 2147483646 h 150"/>
                  <a:gd name="T82" fmla="*/ 2147483646 w 333"/>
                  <a:gd name="T83" fmla="*/ 2147483646 h 150"/>
                  <a:gd name="T84" fmla="*/ 2147483646 w 333"/>
                  <a:gd name="T85" fmla="*/ 2147483646 h 150"/>
                  <a:gd name="T86" fmla="*/ 2147483646 w 333"/>
                  <a:gd name="T87" fmla="*/ 2147483646 h 150"/>
                  <a:gd name="T88" fmla="*/ 2147483646 w 333"/>
                  <a:gd name="T89" fmla="*/ 2147483646 h 150"/>
                  <a:gd name="T90" fmla="*/ 2147483646 w 333"/>
                  <a:gd name="T91" fmla="*/ 2147483646 h 150"/>
                  <a:gd name="T92" fmla="*/ 2147483646 w 333"/>
                  <a:gd name="T93" fmla="*/ 2147483646 h 150"/>
                  <a:gd name="T94" fmla="*/ 2147483646 w 333"/>
                  <a:gd name="T95" fmla="*/ 2147483646 h 150"/>
                  <a:gd name="T96" fmla="*/ 2147483646 w 333"/>
                  <a:gd name="T97" fmla="*/ 2147483646 h 150"/>
                  <a:gd name="T98" fmla="*/ 2147483646 w 333"/>
                  <a:gd name="T99" fmla="*/ 2147483646 h 150"/>
                  <a:gd name="T100" fmla="*/ 2147483646 w 333"/>
                  <a:gd name="T101" fmla="*/ 2147483646 h 150"/>
                  <a:gd name="T102" fmla="*/ 2147483646 w 333"/>
                  <a:gd name="T103" fmla="*/ 2147483646 h 150"/>
                  <a:gd name="T104" fmla="*/ 2147483646 w 333"/>
                  <a:gd name="T105" fmla="*/ 2147483646 h 150"/>
                  <a:gd name="T106" fmla="*/ 2147483646 w 333"/>
                  <a:gd name="T107" fmla="*/ 2147483646 h 150"/>
                  <a:gd name="T108" fmla="*/ 2147483646 w 333"/>
                  <a:gd name="T109" fmla="*/ 2147483646 h 150"/>
                  <a:gd name="T110" fmla="*/ 2147483646 w 333"/>
                  <a:gd name="T111" fmla="*/ 2147483646 h 150"/>
                  <a:gd name="T112" fmla="*/ 2147483646 w 333"/>
                  <a:gd name="T113" fmla="*/ 2147483646 h 150"/>
                  <a:gd name="T114" fmla="*/ 2147483646 w 333"/>
                  <a:gd name="T115" fmla="*/ 2147483646 h 1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33"/>
                  <a:gd name="T175" fmla="*/ 0 h 150"/>
                  <a:gd name="T176" fmla="*/ 333 w 333"/>
                  <a:gd name="T177" fmla="*/ 150 h 1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33" h="150">
                    <a:moveTo>
                      <a:pt x="234" y="89"/>
                    </a:moveTo>
                    <a:lnTo>
                      <a:pt x="234" y="89"/>
                    </a:lnTo>
                    <a:lnTo>
                      <a:pt x="230" y="91"/>
                    </a:lnTo>
                    <a:lnTo>
                      <a:pt x="224" y="93"/>
                    </a:lnTo>
                    <a:lnTo>
                      <a:pt x="219" y="97"/>
                    </a:lnTo>
                    <a:lnTo>
                      <a:pt x="213" y="99"/>
                    </a:lnTo>
                    <a:lnTo>
                      <a:pt x="209" y="101"/>
                    </a:lnTo>
                    <a:lnTo>
                      <a:pt x="205" y="101"/>
                    </a:lnTo>
                    <a:lnTo>
                      <a:pt x="200" y="103"/>
                    </a:lnTo>
                    <a:lnTo>
                      <a:pt x="194" y="105"/>
                    </a:lnTo>
                    <a:lnTo>
                      <a:pt x="188" y="107"/>
                    </a:lnTo>
                    <a:lnTo>
                      <a:pt x="183" y="108"/>
                    </a:lnTo>
                    <a:lnTo>
                      <a:pt x="177" y="110"/>
                    </a:lnTo>
                    <a:lnTo>
                      <a:pt x="171" y="112"/>
                    </a:lnTo>
                    <a:lnTo>
                      <a:pt x="164" y="114"/>
                    </a:lnTo>
                    <a:lnTo>
                      <a:pt x="158" y="114"/>
                    </a:lnTo>
                    <a:lnTo>
                      <a:pt x="150" y="116"/>
                    </a:lnTo>
                    <a:lnTo>
                      <a:pt x="145" y="118"/>
                    </a:lnTo>
                    <a:lnTo>
                      <a:pt x="137" y="118"/>
                    </a:lnTo>
                    <a:lnTo>
                      <a:pt x="131" y="120"/>
                    </a:lnTo>
                    <a:lnTo>
                      <a:pt x="124" y="120"/>
                    </a:lnTo>
                    <a:lnTo>
                      <a:pt x="118" y="120"/>
                    </a:lnTo>
                    <a:lnTo>
                      <a:pt x="110" y="120"/>
                    </a:lnTo>
                    <a:lnTo>
                      <a:pt x="105" y="120"/>
                    </a:lnTo>
                    <a:lnTo>
                      <a:pt x="97" y="120"/>
                    </a:lnTo>
                    <a:lnTo>
                      <a:pt x="91" y="118"/>
                    </a:lnTo>
                    <a:lnTo>
                      <a:pt x="86" y="118"/>
                    </a:lnTo>
                    <a:lnTo>
                      <a:pt x="78" y="116"/>
                    </a:lnTo>
                    <a:lnTo>
                      <a:pt x="72" y="114"/>
                    </a:lnTo>
                    <a:lnTo>
                      <a:pt x="67" y="112"/>
                    </a:lnTo>
                    <a:lnTo>
                      <a:pt x="61" y="110"/>
                    </a:lnTo>
                    <a:lnTo>
                      <a:pt x="57" y="107"/>
                    </a:lnTo>
                    <a:lnTo>
                      <a:pt x="53" y="105"/>
                    </a:lnTo>
                    <a:lnTo>
                      <a:pt x="50" y="101"/>
                    </a:lnTo>
                    <a:lnTo>
                      <a:pt x="46" y="97"/>
                    </a:lnTo>
                    <a:lnTo>
                      <a:pt x="44" y="93"/>
                    </a:lnTo>
                    <a:lnTo>
                      <a:pt x="42" y="89"/>
                    </a:lnTo>
                    <a:lnTo>
                      <a:pt x="40" y="86"/>
                    </a:lnTo>
                    <a:lnTo>
                      <a:pt x="38" y="82"/>
                    </a:lnTo>
                    <a:lnTo>
                      <a:pt x="38" y="78"/>
                    </a:lnTo>
                    <a:lnTo>
                      <a:pt x="38" y="74"/>
                    </a:lnTo>
                    <a:lnTo>
                      <a:pt x="38" y="70"/>
                    </a:lnTo>
                    <a:lnTo>
                      <a:pt x="38" y="67"/>
                    </a:lnTo>
                    <a:lnTo>
                      <a:pt x="38" y="63"/>
                    </a:lnTo>
                    <a:lnTo>
                      <a:pt x="38" y="59"/>
                    </a:lnTo>
                    <a:lnTo>
                      <a:pt x="38" y="55"/>
                    </a:lnTo>
                    <a:lnTo>
                      <a:pt x="40" y="51"/>
                    </a:lnTo>
                    <a:lnTo>
                      <a:pt x="40" y="46"/>
                    </a:lnTo>
                    <a:lnTo>
                      <a:pt x="42" y="44"/>
                    </a:lnTo>
                    <a:lnTo>
                      <a:pt x="46" y="36"/>
                    </a:lnTo>
                    <a:lnTo>
                      <a:pt x="48" y="30"/>
                    </a:lnTo>
                    <a:lnTo>
                      <a:pt x="50" y="25"/>
                    </a:lnTo>
                    <a:lnTo>
                      <a:pt x="52" y="21"/>
                    </a:lnTo>
                    <a:lnTo>
                      <a:pt x="53" y="19"/>
                    </a:lnTo>
                    <a:lnTo>
                      <a:pt x="55" y="19"/>
                    </a:lnTo>
                    <a:lnTo>
                      <a:pt x="46" y="0"/>
                    </a:lnTo>
                    <a:lnTo>
                      <a:pt x="42" y="2"/>
                    </a:lnTo>
                    <a:lnTo>
                      <a:pt x="38" y="6"/>
                    </a:lnTo>
                    <a:lnTo>
                      <a:pt x="34" y="11"/>
                    </a:lnTo>
                    <a:lnTo>
                      <a:pt x="31" y="13"/>
                    </a:lnTo>
                    <a:lnTo>
                      <a:pt x="29" y="17"/>
                    </a:lnTo>
                    <a:lnTo>
                      <a:pt x="25" y="19"/>
                    </a:lnTo>
                    <a:lnTo>
                      <a:pt x="23" y="25"/>
                    </a:lnTo>
                    <a:lnTo>
                      <a:pt x="19" y="27"/>
                    </a:lnTo>
                    <a:lnTo>
                      <a:pt x="17" y="32"/>
                    </a:lnTo>
                    <a:lnTo>
                      <a:pt x="14" y="36"/>
                    </a:lnTo>
                    <a:lnTo>
                      <a:pt x="12" y="42"/>
                    </a:lnTo>
                    <a:lnTo>
                      <a:pt x="10" y="46"/>
                    </a:lnTo>
                    <a:lnTo>
                      <a:pt x="6" y="49"/>
                    </a:lnTo>
                    <a:lnTo>
                      <a:pt x="4" y="55"/>
                    </a:lnTo>
                    <a:lnTo>
                      <a:pt x="4" y="61"/>
                    </a:lnTo>
                    <a:lnTo>
                      <a:pt x="2" y="65"/>
                    </a:lnTo>
                    <a:lnTo>
                      <a:pt x="0" y="70"/>
                    </a:lnTo>
                    <a:lnTo>
                      <a:pt x="0" y="76"/>
                    </a:lnTo>
                    <a:lnTo>
                      <a:pt x="0" y="84"/>
                    </a:lnTo>
                    <a:lnTo>
                      <a:pt x="0" y="88"/>
                    </a:lnTo>
                    <a:lnTo>
                      <a:pt x="2" y="93"/>
                    </a:lnTo>
                    <a:lnTo>
                      <a:pt x="2" y="99"/>
                    </a:lnTo>
                    <a:lnTo>
                      <a:pt x="6" y="105"/>
                    </a:lnTo>
                    <a:lnTo>
                      <a:pt x="8" y="110"/>
                    </a:lnTo>
                    <a:lnTo>
                      <a:pt x="12" y="118"/>
                    </a:lnTo>
                    <a:lnTo>
                      <a:pt x="15" y="122"/>
                    </a:lnTo>
                    <a:lnTo>
                      <a:pt x="21" y="129"/>
                    </a:lnTo>
                    <a:lnTo>
                      <a:pt x="27" y="133"/>
                    </a:lnTo>
                    <a:lnTo>
                      <a:pt x="33" y="137"/>
                    </a:lnTo>
                    <a:lnTo>
                      <a:pt x="40" y="141"/>
                    </a:lnTo>
                    <a:lnTo>
                      <a:pt x="48" y="145"/>
                    </a:lnTo>
                    <a:lnTo>
                      <a:pt x="50" y="145"/>
                    </a:lnTo>
                    <a:lnTo>
                      <a:pt x="55" y="146"/>
                    </a:lnTo>
                    <a:lnTo>
                      <a:pt x="59" y="146"/>
                    </a:lnTo>
                    <a:lnTo>
                      <a:pt x="63" y="148"/>
                    </a:lnTo>
                    <a:lnTo>
                      <a:pt x="67" y="148"/>
                    </a:lnTo>
                    <a:lnTo>
                      <a:pt x="71" y="150"/>
                    </a:lnTo>
                    <a:lnTo>
                      <a:pt x="76" y="150"/>
                    </a:lnTo>
                    <a:lnTo>
                      <a:pt x="80" y="150"/>
                    </a:lnTo>
                    <a:lnTo>
                      <a:pt x="84" y="150"/>
                    </a:lnTo>
                    <a:lnTo>
                      <a:pt x="88" y="150"/>
                    </a:lnTo>
                    <a:lnTo>
                      <a:pt x="93" y="150"/>
                    </a:lnTo>
                    <a:lnTo>
                      <a:pt x="97" y="150"/>
                    </a:lnTo>
                    <a:lnTo>
                      <a:pt x="101" y="150"/>
                    </a:lnTo>
                    <a:lnTo>
                      <a:pt x="107" y="150"/>
                    </a:lnTo>
                    <a:lnTo>
                      <a:pt x="110" y="148"/>
                    </a:lnTo>
                    <a:lnTo>
                      <a:pt x="116" y="148"/>
                    </a:lnTo>
                    <a:lnTo>
                      <a:pt x="120" y="146"/>
                    </a:lnTo>
                    <a:lnTo>
                      <a:pt x="124" y="146"/>
                    </a:lnTo>
                    <a:lnTo>
                      <a:pt x="129" y="146"/>
                    </a:lnTo>
                    <a:lnTo>
                      <a:pt x="133" y="146"/>
                    </a:lnTo>
                    <a:lnTo>
                      <a:pt x="139" y="145"/>
                    </a:lnTo>
                    <a:lnTo>
                      <a:pt x="143" y="145"/>
                    </a:lnTo>
                    <a:lnTo>
                      <a:pt x="148" y="143"/>
                    </a:lnTo>
                    <a:lnTo>
                      <a:pt x="152" y="143"/>
                    </a:lnTo>
                    <a:lnTo>
                      <a:pt x="156" y="141"/>
                    </a:lnTo>
                    <a:lnTo>
                      <a:pt x="162" y="141"/>
                    </a:lnTo>
                    <a:lnTo>
                      <a:pt x="166" y="137"/>
                    </a:lnTo>
                    <a:lnTo>
                      <a:pt x="169" y="137"/>
                    </a:lnTo>
                    <a:lnTo>
                      <a:pt x="173" y="135"/>
                    </a:lnTo>
                    <a:lnTo>
                      <a:pt x="179" y="135"/>
                    </a:lnTo>
                    <a:lnTo>
                      <a:pt x="183" y="133"/>
                    </a:lnTo>
                    <a:lnTo>
                      <a:pt x="186" y="133"/>
                    </a:lnTo>
                    <a:lnTo>
                      <a:pt x="190" y="129"/>
                    </a:lnTo>
                    <a:lnTo>
                      <a:pt x="194" y="129"/>
                    </a:lnTo>
                    <a:lnTo>
                      <a:pt x="198" y="127"/>
                    </a:lnTo>
                    <a:lnTo>
                      <a:pt x="202" y="127"/>
                    </a:lnTo>
                    <a:lnTo>
                      <a:pt x="209" y="124"/>
                    </a:lnTo>
                    <a:lnTo>
                      <a:pt x="217" y="122"/>
                    </a:lnTo>
                    <a:lnTo>
                      <a:pt x="223" y="120"/>
                    </a:lnTo>
                    <a:lnTo>
                      <a:pt x="228" y="116"/>
                    </a:lnTo>
                    <a:lnTo>
                      <a:pt x="234" y="114"/>
                    </a:lnTo>
                    <a:lnTo>
                      <a:pt x="238" y="112"/>
                    </a:lnTo>
                    <a:lnTo>
                      <a:pt x="242" y="110"/>
                    </a:lnTo>
                    <a:lnTo>
                      <a:pt x="245" y="110"/>
                    </a:lnTo>
                    <a:lnTo>
                      <a:pt x="247" y="108"/>
                    </a:lnTo>
                    <a:lnTo>
                      <a:pt x="249" y="108"/>
                    </a:lnTo>
                    <a:lnTo>
                      <a:pt x="251" y="107"/>
                    </a:lnTo>
                    <a:lnTo>
                      <a:pt x="255" y="105"/>
                    </a:lnTo>
                    <a:lnTo>
                      <a:pt x="259" y="103"/>
                    </a:lnTo>
                    <a:lnTo>
                      <a:pt x="264" y="103"/>
                    </a:lnTo>
                    <a:lnTo>
                      <a:pt x="268" y="101"/>
                    </a:lnTo>
                    <a:lnTo>
                      <a:pt x="274" y="99"/>
                    </a:lnTo>
                    <a:lnTo>
                      <a:pt x="280" y="97"/>
                    </a:lnTo>
                    <a:lnTo>
                      <a:pt x="285" y="95"/>
                    </a:lnTo>
                    <a:lnTo>
                      <a:pt x="291" y="93"/>
                    </a:lnTo>
                    <a:lnTo>
                      <a:pt x="297" y="93"/>
                    </a:lnTo>
                    <a:lnTo>
                      <a:pt x="302" y="93"/>
                    </a:lnTo>
                    <a:lnTo>
                      <a:pt x="310" y="93"/>
                    </a:lnTo>
                    <a:lnTo>
                      <a:pt x="316" y="93"/>
                    </a:lnTo>
                    <a:lnTo>
                      <a:pt x="321" y="93"/>
                    </a:lnTo>
                    <a:lnTo>
                      <a:pt x="327" y="95"/>
                    </a:lnTo>
                    <a:lnTo>
                      <a:pt x="333" y="97"/>
                    </a:lnTo>
                    <a:lnTo>
                      <a:pt x="331" y="93"/>
                    </a:lnTo>
                    <a:lnTo>
                      <a:pt x="327" y="89"/>
                    </a:lnTo>
                    <a:lnTo>
                      <a:pt x="323" y="84"/>
                    </a:lnTo>
                    <a:lnTo>
                      <a:pt x="319" y="82"/>
                    </a:lnTo>
                    <a:lnTo>
                      <a:pt x="316" y="78"/>
                    </a:lnTo>
                    <a:lnTo>
                      <a:pt x="312" y="76"/>
                    </a:lnTo>
                    <a:lnTo>
                      <a:pt x="308" y="74"/>
                    </a:lnTo>
                    <a:lnTo>
                      <a:pt x="302" y="72"/>
                    </a:lnTo>
                    <a:lnTo>
                      <a:pt x="297" y="72"/>
                    </a:lnTo>
                    <a:lnTo>
                      <a:pt x="291" y="70"/>
                    </a:lnTo>
                    <a:lnTo>
                      <a:pt x="285" y="72"/>
                    </a:lnTo>
                    <a:lnTo>
                      <a:pt x="280" y="72"/>
                    </a:lnTo>
                    <a:lnTo>
                      <a:pt x="272" y="72"/>
                    </a:lnTo>
                    <a:lnTo>
                      <a:pt x="266" y="74"/>
                    </a:lnTo>
                    <a:lnTo>
                      <a:pt x="262" y="76"/>
                    </a:lnTo>
                    <a:lnTo>
                      <a:pt x="257" y="76"/>
                    </a:lnTo>
                    <a:lnTo>
                      <a:pt x="253" y="78"/>
                    </a:lnTo>
                    <a:lnTo>
                      <a:pt x="249" y="80"/>
                    </a:lnTo>
                    <a:lnTo>
                      <a:pt x="247" y="82"/>
                    </a:lnTo>
                    <a:lnTo>
                      <a:pt x="242" y="86"/>
                    </a:lnTo>
                    <a:lnTo>
                      <a:pt x="238" y="88"/>
                    </a:lnTo>
                    <a:lnTo>
                      <a:pt x="234" y="89"/>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14" name="Freeform 56"/>
              <p:cNvSpPr>
                <a:spLocks/>
              </p:cNvSpPr>
              <p:nvPr/>
            </p:nvSpPr>
            <p:spPr bwMode="auto">
              <a:xfrm>
                <a:off x="2460626" y="3940176"/>
                <a:ext cx="107950" cy="158750"/>
              </a:xfrm>
              <a:custGeom>
                <a:avLst/>
                <a:gdLst>
                  <a:gd name="T0" fmla="*/ 2147483646 w 135"/>
                  <a:gd name="T1" fmla="*/ 2147483646 h 202"/>
                  <a:gd name="T2" fmla="*/ 2147483646 w 135"/>
                  <a:gd name="T3" fmla="*/ 2147483646 h 202"/>
                  <a:gd name="T4" fmla="*/ 2147483646 w 135"/>
                  <a:gd name="T5" fmla="*/ 2147483646 h 202"/>
                  <a:gd name="T6" fmla="*/ 2147483646 w 135"/>
                  <a:gd name="T7" fmla="*/ 2147483646 h 202"/>
                  <a:gd name="T8" fmla="*/ 2147483646 w 135"/>
                  <a:gd name="T9" fmla="*/ 2147483646 h 202"/>
                  <a:gd name="T10" fmla="*/ 2147483646 w 135"/>
                  <a:gd name="T11" fmla="*/ 2147483646 h 202"/>
                  <a:gd name="T12" fmla="*/ 2147483646 w 135"/>
                  <a:gd name="T13" fmla="*/ 2147483646 h 202"/>
                  <a:gd name="T14" fmla="*/ 2147483646 w 135"/>
                  <a:gd name="T15" fmla="*/ 2147483646 h 202"/>
                  <a:gd name="T16" fmla="*/ 2147483646 w 135"/>
                  <a:gd name="T17" fmla="*/ 2147483646 h 202"/>
                  <a:gd name="T18" fmla="*/ 2147483646 w 135"/>
                  <a:gd name="T19" fmla="*/ 2147483646 h 202"/>
                  <a:gd name="T20" fmla="*/ 2147483646 w 135"/>
                  <a:gd name="T21" fmla="*/ 2147483646 h 202"/>
                  <a:gd name="T22" fmla="*/ 2147483646 w 135"/>
                  <a:gd name="T23" fmla="*/ 2147483646 h 202"/>
                  <a:gd name="T24" fmla="*/ 2147483646 w 135"/>
                  <a:gd name="T25" fmla="*/ 2147483646 h 202"/>
                  <a:gd name="T26" fmla="*/ 2147483646 w 135"/>
                  <a:gd name="T27" fmla="*/ 2147483646 h 202"/>
                  <a:gd name="T28" fmla="*/ 2147483646 w 135"/>
                  <a:gd name="T29" fmla="*/ 2147483646 h 202"/>
                  <a:gd name="T30" fmla="*/ 2147483646 w 135"/>
                  <a:gd name="T31" fmla="*/ 2147483646 h 202"/>
                  <a:gd name="T32" fmla="*/ 2147483646 w 135"/>
                  <a:gd name="T33" fmla="*/ 2147483646 h 202"/>
                  <a:gd name="T34" fmla="*/ 2147483646 w 135"/>
                  <a:gd name="T35" fmla="*/ 2147483646 h 202"/>
                  <a:gd name="T36" fmla="*/ 2147483646 w 135"/>
                  <a:gd name="T37" fmla="*/ 2147483646 h 202"/>
                  <a:gd name="T38" fmla="*/ 2147483646 w 135"/>
                  <a:gd name="T39" fmla="*/ 2147483646 h 202"/>
                  <a:gd name="T40" fmla="*/ 2147483646 w 135"/>
                  <a:gd name="T41" fmla="*/ 2147483646 h 202"/>
                  <a:gd name="T42" fmla="*/ 2147483646 w 135"/>
                  <a:gd name="T43" fmla="*/ 2147483646 h 202"/>
                  <a:gd name="T44" fmla="*/ 2147483646 w 135"/>
                  <a:gd name="T45" fmla="*/ 2147483646 h 202"/>
                  <a:gd name="T46" fmla="*/ 2147483646 w 135"/>
                  <a:gd name="T47" fmla="*/ 2147483646 h 202"/>
                  <a:gd name="T48" fmla="*/ 2147483646 w 135"/>
                  <a:gd name="T49" fmla="*/ 2147483646 h 202"/>
                  <a:gd name="T50" fmla="*/ 2147483646 w 135"/>
                  <a:gd name="T51" fmla="*/ 2147483646 h 202"/>
                  <a:gd name="T52" fmla="*/ 2147483646 w 135"/>
                  <a:gd name="T53" fmla="*/ 2147483646 h 202"/>
                  <a:gd name="T54" fmla="*/ 2147483646 w 135"/>
                  <a:gd name="T55" fmla="*/ 2147483646 h 202"/>
                  <a:gd name="T56" fmla="*/ 2147483646 w 135"/>
                  <a:gd name="T57" fmla="*/ 2147483646 h 202"/>
                  <a:gd name="T58" fmla="*/ 2147483646 w 135"/>
                  <a:gd name="T59" fmla="*/ 2147483646 h 202"/>
                  <a:gd name="T60" fmla="*/ 2147483646 w 135"/>
                  <a:gd name="T61" fmla="*/ 2147483646 h 202"/>
                  <a:gd name="T62" fmla="*/ 2147483646 w 135"/>
                  <a:gd name="T63" fmla="*/ 2147483646 h 202"/>
                  <a:gd name="T64" fmla="*/ 2147483646 w 135"/>
                  <a:gd name="T65" fmla="*/ 2147483646 h 202"/>
                  <a:gd name="T66" fmla="*/ 2147483646 w 135"/>
                  <a:gd name="T67" fmla="*/ 2147483646 h 202"/>
                  <a:gd name="T68" fmla="*/ 2147483646 w 135"/>
                  <a:gd name="T69" fmla="*/ 2147483646 h 202"/>
                  <a:gd name="T70" fmla="*/ 2147483646 w 135"/>
                  <a:gd name="T71" fmla="*/ 2147483646 h 202"/>
                  <a:gd name="T72" fmla="*/ 2147483646 w 135"/>
                  <a:gd name="T73" fmla="*/ 2147483646 h 202"/>
                  <a:gd name="T74" fmla="*/ 2147483646 w 135"/>
                  <a:gd name="T75" fmla="*/ 2147483646 h 202"/>
                  <a:gd name="T76" fmla="*/ 2147483646 w 135"/>
                  <a:gd name="T77" fmla="*/ 2147483646 h 202"/>
                  <a:gd name="T78" fmla="*/ 2147483646 w 135"/>
                  <a:gd name="T79" fmla="*/ 2147483646 h 202"/>
                  <a:gd name="T80" fmla="*/ 2147483646 w 135"/>
                  <a:gd name="T81" fmla="*/ 2147483646 h 202"/>
                  <a:gd name="T82" fmla="*/ 2147483646 w 135"/>
                  <a:gd name="T83" fmla="*/ 2147483646 h 202"/>
                  <a:gd name="T84" fmla="*/ 2147483646 w 135"/>
                  <a:gd name="T85" fmla="*/ 2147483646 h 202"/>
                  <a:gd name="T86" fmla="*/ 2147483646 w 135"/>
                  <a:gd name="T87" fmla="*/ 2147483646 h 202"/>
                  <a:gd name="T88" fmla="*/ 0 w 135"/>
                  <a:gd name="T89" fmla="*/ 2147483646 h 202"/>
                  <a:gd name="T90" fmla="*/ 0 w 135"/>
                  <a:gd name="T91" fmla="*/ 2147483646 h 202"/>
                  <a:gd name="T92" fmla="*/ 0 w 135"/>
                  <a:gd name="T93" fmla="*/ 2147483646 h 202"/>
                  <a:gd name="T94" fmla="*/ 0 w 135"/>
                  <a:gd name="T95" fmla="*/ 2147483646 h 202"/>
                  <a:gd name="T96" fmla="*/ 2147483646 w 135"/>
                  <a:gd name="T97" fmla="*/ 2147483646 h 202"/>
                  <a:gd name="T98" fmla="*/ 2147483646 w 135"/>
                  <a:gd name="T99" fmla="*/ 2147483646 h 202"/>
                  <a:gd name="T100" fmla="*/ 2147483646 w 135"/>
                  <a:gd name="T101" fmla="*/ 2147483646 h 202"/>
                  <a:gd name="T102" fmla="*/ 2147483646 w 135"/>
                  <a:gd name="T103" fmla="*/ 2147483646 h 202"/>
                  <a:gd name="T104" fmla="*/ 2147483646 w 135"/>
                  <a:gd name="T105" fmla="*/ 2147483646 h 202"/>
                  <a:gd name="T106" fmla="*/ 2147483646 w 135"/>
                  <a:gd name="T107" fmla="*/ 2147483646 h 202"/>
                  <a:gd name="T108" fmla="*/ 2147483646 w 135"/>
                  <a:gd name="T109" fmla="*/ 2147483646 h 202"/>
                  <a:gd name="T110" fmla="*/ 2147483646 w 135"/>
                  <a:gd name="T111" fmla="*/ 2147483646 h 202"/>
                  <a:gd name="T112" fmla="*/ 2147483646 w 135"/>
                  <a:gd name="T113" fmla="*/ 2147483646 h 202"/>
                  <a:gd name="T114" fmla="*/ 2147483646 w 135"/>
                  <a:gd name="T115" fmla="*/ 2147483646 h 202"/>
                  <a:gd name="T116" fmla="*/ 2147483646 w 135"/>
                  <a:gd name="T117" fmla="*/ 2147483646 h 202"/>
                  <a:gd name="T118" fmla="*/ 2147483646 w 135"/>
                  <a:gd name="T119" fmla="*/ 2147483646 h 202"/>
                  <a:gd name="T120" fmla="*/ 2147483646 w 135"/>
                  <a:gd name="T121" fmla="*/ 2147483646 h 202"/>
                  <a:gd name="T122" fmla="*/ 2147483646 w 135"/>
                  <a:gd name="T123" fmla="*/ 0 h 202"/>
                  <a:gd name="T124" fmla="*/ 2147483646 w 135"/>
                  <a:gd name="T125" fmla="*/ 2147483646 h 2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
                  <a:gd name="T190" fmla="*/ 0 h 202"/>
                  <a:gd name="T191" fmla="*/ 135 w 135"/>
                  <a:gd name="T192" fmla="*/ 202 h 2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 h="202">
                    <a:moveTo>
                      <a:pt x="120" y="16"/>
                    </a:moveTo>
                    <a:lnTo>
                      <a:pt x="118" y="16"/>
                    </a:lnTo>
                    <a:lnTo>
                      <a:pt x="116" y="16"/>
                    </a:lnTo>
                    <a:lnTo>
                      <a:pt x="111" y="19"/>
                    </a:lnTo>
                    <a:lnTo>
                      <a:pt x="107" y="21"/>
                    </a:lnTo>
                    <a:lnTo>
                      <a:pt x="99" y="25"/>
                    </a:lnTo>
                    <a:lnTo>
                      <a:pt x="93" y="31"/>
                    </a:lnTo>
                    <a:lnTo>
                      <a:pt x="90" y="33"/>
                    </a:lnTo>
                    <a:lnTo>
                      <a:pt x="86" y="37"/>
                    </a:lnTo>
                    <a:lnTo>
                      <a:pt x="82" y="38"/>
                    </a:lnTo>
                    <a:lnTo>
                      <a:pt x="78" y="42"/>
                    </a:lnTo>
                    <a:lnTo>
                      <a:pt x="74" y="46"/>
                    </a:lnTo>
                    <a:lnTo>
                      <a:pt x="71" y="48"/>
                    </a:lnTo>
                    <a:lnTo>
                      <a:pt x="67" y="52"/>
                    </a:lnTo>
                    <a:lnTo>
                      <a:pt x="63" y="56"/>
                    </a:lnTo>
                    <a:lnTo>
                      <a:pt x="59" y="59"/>
                    </a:lnTo>
                    <a:lnTo>
                      <a:pt x="55" y="63"/>
                    </a:lnTo>
                    <a:lnTo>
                      <a:pt x="52" y="69"/>
                    </a:lnTo>
                    <a:lnTo>
                      <a:pt x="50" y="73"/>
                    </a:lnTo>
                    <a:lnTo>
                      <a:pt x="46" y="76"/>
                    </a:lnTo>
                    <a:lnTo>
                      <a:pt x="42" y="80"/>
                    </a:lnTo>
                    <a:lnTo>
                      <a:pt x="40" y="86"/>
                    </a:lnTo>
                    <a:lnTo>
                      <a:pt x="38" y="90"/>
                    </a:lnTo>
                    <a:lnTo>
                      <a:pt x="36" y="94"/>
                    </a:lnTo>
                    <a:lnTo>
                      <a:pt x="35" y="99"/>
                    </a:lnTo>
                    <a:lnTo>
                      <a:pt x="33" y="105"/>
                    </a:lnTo>
                    <a:lnTo>
                      <a:pt x="33" y="111"/>
                    </a:lnTo>
                    <a:lnTo>
                      <a:pt x="33" y="115"/>
                    </a:lnTo>
                    <a:lnTo>
                      <a:pt x="33" y="118"/>
                    </a:lnTo>
                    <a:lnTo>
                      <a:pt x="33" y="124"/>
                    </a:lnTo>
                    <a:lnTo>
                      <a:pt x="35" y="128"/>
                    </a:lnTo>
                    <a:lnTo>
                      <a:pt x="35" y="132"/>
                    </a:lnTo>
                    <a:lnTo>
                      <a:pt x="36" y="137"/>
                    </a:lnTo>
                    <a:lnTo>
                      <a:pt x="38" y="141"/>
                    </a:lnTo>
                    <a:lnTo>
                      <a:pt x="40" y="145"/>
                    </a:lnTo>
                    <a:lnTo>
                      <a:pt x="42" y="149"/>
                    </a:lnTo>
                    <a:lnTo>
                      <a:pt x="44" y="153"/>
                    </a:lnTo>
                    <a:lnTo>
                      <a:pt x="46" y="156"/>
                    </a:lnTo>
                    <a:lnTo>
                      <a:pt x="50" y="160"/>
                    </a:lnTo>
                    <a:lnTo>
                      <a:pt x="54" y="164"/>
                    </a:lnTo>
                    <a:lnTo>
                      <a:pt x="55" y="168"/>
                    </a:lnTo>
                    <a:lnTo>
                      <a:pt x="61" y="170"/>
                    </a:lnTo>
                    <a:lnTo>
                      <a:pt x="65" y="173"/>
                    </a:lnTo>
                    <a:lnTo>
                      <a:pt x="69" y="175"/>
                    </a:lnTo>
                    <a:lnTo>
                      <a:pt x="71" y="179"/>
                    </a:lnTo>
                    <a:lnTo>
                      <a:pt x="76" y="181"/>
                    </a:lnTo>
                    <a:lnTo>
                      <a:pt x="80" y="183"/>
                    </a:lnTo>
                    <a:lnTo>
                      <a:pt x="84" y="185"/>
                    </a:lnTo>
                    <a:lnTo>
                      <a:pt x="88" y="187"/>
                    </a:lnTo>
                    <a:lnTo>
                      <a:pt x="93" y="189"/>
                    </a:lnTo>
                    <a:lnTo>
                      <a:pt x="97" y="192"/>
                    </a:lnTo>
                    <a:lnTo>
                      <a:pt x="103" y="192"/>
                    </a:lnTo>
                    <a:lnTo>
                      <a:pt x="107" y="194"/>
                    </a:lnTo>
                    <a:lnTo>
                      <a:pt x="112" y="196"/>
                    </a:lnTo>
                    <a:lnTo>
                      <a:pt x="116" y="196"/>
                    </a:lnTo>
                    <a:lnTo>
                      <a:pt x="120" y="198"/>
                    </a:lnTo>
                    <a:lnTo>
                      <a:pt x="126" y="198"/>
                    </a:lnTo>
                    <a:lnTo>
                      <a:pt x="130" y="198"/>
                    </a:lnTo>
                    <a:lnTo>
                      <a:pt x="135" y="200"/>
                    </a:lnTo>
                    <a:lnTo>
                      <a:pt x="133" y="200"/>
                    </a:lnTo>
                    <a:lnTo>
                      <a:pt x="130" y="202"/>
                    </a:lnTo>
                    <a:lnTo>
                      <a:pt x="126" y="202"/>
                    </a:lnTo>
                    <a:lnTo>
                      <a:pt x="122" y="202"/>
                    </a:lnTo>
                    <a:lnTo>
                      <a:pt x="118" y="202"/>
                    </a:lnTo>
                    <a:lnTo>
                      <a:pt x="114" y="202"/>
                    </a:lnTo>
                    <a:lnTo>
                      <a:pt x="109" y="202"/>
                    </a:lnTo>
                    <a:lnTo>
                      <a:pt x="103" y="202"/>
                    </a:lnTo>
                    <a:lnTo>
                      <a:pt x="97" y="202"/>
                    </a:lnTo>
                    <a:lnTo>
                      <a:pt x="92" y="202"/>
                    </a:lnTo>
                    <a:lnTo>
                      <a:pt x="86" y="202"/>
                    </a:lnTo>
                    <a:lnTo>
                      <a:pt x="80" y="200"/>
                    </a:lnTo>
                    <a:lnTo>
                      <a:pt x="73" y="200"/>
                    </a:lnTo>
                    <a:lnTo>
                      <a:pt x="69" y="198"/>
                    </a:lnTo>
                    <a:lnTo>
                      <a:pt x="61" y="196"/>
                    </a:lnTo>
                    <a:lnTo>
                      <a:pt x="55" y="196"/>
                    </a:lnTo>
                    <a:lnTo>
                      <a:pt x="50" y="194"/>
                    </a:lnTo>
                    <a:lnTo>
                      <a:pt x="44" y="192"/>
                    </a:lnTo>
                    <a:lnTo>
                      <a:pt x="36" y="189"/>
                    </a:lnTo>
                    <a:lnTo>
                      <a:pt x="33" y="185"/>
                    </a:lnTo>
                    <a:lnTo>
                      <a:pt x="27" y="181"/>
                    </a:lnTo>
                    <a:lnTo>
                      <a:pt x="23" y="177"/>
                    </a:lnTo>
                    <a:lnTo>
                      <a:pt x="17" y="172"/>
                    </a:lnTo>
                    <a:lnTo>
                      <a:pt x="14" y="168"/>
                    </a:lnTo>
                    <a:lnTo>
                      <a:pt x="10" y="162"/>
                    </a:lnTo>
                    <a:lnTo>
                      <a:pt x="6" y="154"/>
                    </a:lnTo>
                    <a:lnTo>
                      <a:pt x="4" y="151"/>
                    </a:lnTo>
                    <a:lnTo>
                      <a:pt x="4" y="147"/>
                    </a:lnTo>
                    <a:lnTo>
                      <a:pt x="2" y="143"/>
                    </a:lnTo>
                    <a:lnTo>
                      <a:pt x="2" y="139"/>
                    </a:lnTo>
                    <a:lnTo>
                      <a:pt x="0" y="135"/>
                    </a:lnTo>
                    <a:lnTo>
                      <a:pt x="0" y="132"/>
                    </a:lnTo>
                    <a:lnTo>
                      <a:pt x="0" y="128"/>
                    </a:lnTo>
                    <a:lnTo>
                      <a:pt x="0" y="124"/>
                    </a:lnTo>
                    <a:lnTo>
                      <a:pt x="0" y="116"/>
                    </a:lnTo>
                    <a:lnTo>
                      <a:pt x="0" y="111"/>
                    </a:lnTo>
                    <a:lnTo>
                      <a:pt x="0" y="103"/>
                    </a:lnTo>
                    <a:lnTo>
                      <a:pt x="2" y="97"/>
                    </a:lnTo>
                    <a:lnTo>
                      <a:pt x="4" y="92"/>
                    </a:lnTo>
                    <a:lnTo>
                      <a:pt x="6" y="86"/>
                    </a:lnTo>
                    <a:lnTo>
                      <a:pt x="8" y="80"/>
                    </a:lnTo>
                    <a:lnTo>
                      <a:pt x="12" y="76"/>
                    </a:lnTo>
                    <a:lnTo>
                      <a:pt x="14" y="69"/>
                    </a:lnTo>
                    <a:lnTo>
                      <a:pt x="17" y="65"/>
                    </a:lnTo>
                    <a:lnTo>
                      <a:pt x="19" y="59"/>
                    </a:lnTo>
                    <a:lnTo>
                      <a:pt x="23" y="56"/>
                    </a:lnTo>
                    <a:lnTo>
                      <a:pt x="27" y="50"/>
                    </a:lnTo>
                    <a:lnTo>
                      <a:pt x="31" y="46"/>
                    </a:lnTo>
                    <a:lnTo>
                      <a:pt x="35" y="42"/>
                    </a:lnTo>
                    <a:lnTo>
                      <a:pt x="40" y="38"/>
                    </a:lnTo>
                    <a:lnTo>
                      <a:pt x="44" y="35"/>
                    </a:lnTo>
                    <a:lnTo>
                      <a:pt x="48" y="29"/>
                    </a:lnTo>
                    <a:lnTo>
                      <a:pt x="54" y="25"/>
                    </a:lnTo>
                    <a:lnTo>
                      <a:pt x="57" y="23"/>
                    </a:lnTo>
                    <a:lnTo>
                      <a:pt x="63" y="19"/>
                    </a:lnTo>
                    <a:lnTo>
                      <a:pt x="67" y="16"/>
                    </a:lnTo>
                    <a:lnTo>
                      <a:pt x="73" y="14"/>
                    </a:lnTo>
                    <a:lnTo>
                      <a:pt x="78" y="12"/>
                    </a:lnTo>
                    <a:lnTo>
                      <a:pt x="82" y="10"/>
                    </a:lnTo>
                    <a:lnTo>
                      <a:pt x="88" y="6"/>
                    </a:lnTo>
                    <a:lnTo>
                      <a:pt x="92" y="4"/>
                    </a:lnTo>
                    <a:lnTo>
                      <a:pt x="97" y="4"/>
                    </a:lnTo>
                    <a:lnTo>
                      <a:pt x="101" y="2"/>
                    </a:lnTo>
                    <a:lnTo>
                      <a:pt x="107" y="2"/>
                    </a:lnTo>
                    <a:lnTo>
                      <a:pt x="111" y="0"/>
                    </a:lnTo>
                    <a:lnTo>
                      <a:pt x="116" y="0"/>
                    </a:lnTo>
                    <a:lnTo>
                      <a:pt x="120" y="16"/>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15" name="Freeform 57"/>
              <p:cNvSpPr>
                <a:spLocks/>
              </p:cNvSpPr>
              <p:nvPr/>
            </p:nvSpPr>
            <p:spPr bwMode="auto">
              <a:xfrm>
                <a:off x="2393951" y="3703638"/>
                <a:ext cx="177800" cy="219075"/>
              </a:xfrm>
              <a:custGeom>
                <a:avLst/>
                <a:gdLst>
                  <a:gd name="T0" fmla="*/ 2147483646 w 222"/>
                  <a:gd name="T1" fmla="*/ 2147483646 h 276"/>
                  <a:gd name="T2" fmla="*/ 2147483646 w 222"/>
                  <a:gd name="T3" fmla="*/ 2147483646 h 276"/>
                  <a:gd name="T4" fmla="*/ 2147483646 w 222"/>
                  <a:gd name="T5" fmla="*/ 2147483646 h 276"/>
                  <a:gd name="T6" fmla="*/ 2147483646 w 222"/>
                  <a:gd name="T7" fmla="*/ 2147483646 h 276"/>
                  <a:gd name="T8" fmla="*/ 2147483646 w 222"/>
                  <a:gd name="T9" fmla="*/ 2147483646 h 276"/>
                  <a:gd name="T10" fmla="*/ 2147483646 w 222"/>
                  <a:gd name="T11" fmla="*/ 2147483646 h 276"/>
                  <a:gd name="T12" fmla="*/ 2147483646 w 222"/>
                  <a:gd name="T13" fmla="*/ 2147483646 h 276"/>
                  <a:gd name="T14" fmla="*/ 2147483646 w 222"/>
                  <a:gd name="T15" fmla="*/ 2147483646 h 276"/>
                  <a:gd name="T16" fmla="*/ 2147483646 w 222"/>
                  <a:gd name="T17" fmla="*/ 2147483646 h 276"/>
                  <a:gd name="T18" fmla="*/ 2147483646 w 222"/>
                  <a:gd name="T19" fmla="*/ 2147483646 h 276"/>
                  <a:gd name="T20" fmla="*/ 2147483646 w 222"/>
                  <a:gd name="T21" fmla="*/ 2147483646 h 276"/>
                  <a:gd name="T22" fmla="*/ 2147483646 w 222"/>
                  <a:gd name="T23" fmla="*/ 2147483646 h 276"/>
                  <a:gd name="T24" fmla="*/ 2147483646 w 222"/>
                  <a:gd name="T25" fmla="*/ 2147483646 h 276"/>
                  <a:gd name="T26" fmla="*/ 2147483646 w 222"/>
                  <a:gd name="T27" fmla="*/ 2147483646 h 276"/>
                  <a:gd name="T28" fmla="*/ 2147483646 w 222"/>
                  <a:gd name="T29" fmla="*/ 2147483646 h 276"/>
                  <a:gd name="T30" fmla="*/ 2147483646 w 222"/>
                  <a:gd name="T31" fmla="*/ 2147483646 h 276"/>
                  <a:gd name="T32" fmla="*/ 2147483646 w 222"/>
                  <a:gd name="T33" fmla="*/ 2147483646 h 276"/>
                  <a:gd name="T34" fmla="*/ 2147483646 w 222"/>
                  <a:gd name="T35" fmla="*/ 2147483646 h 276"/>
                  <a:gd name="T36" fmla="*/ 2147483646 w 222"/>
                  <a:gd name="T37" fmla="*/ 2147483646 h 276"/>
                  <a:gd name="T38" fmla="*/ 2147483646 w 222"/>
                  <a:gd name="T39" fmla="*/ 2147483646 h 276"/>
                  <a:gd name="T40" fmla="*/ 2147483646 w 222"/>
                  <a:gd name="T41" fmla="*/ 2147483646 h 276"/>
                  <a:gd name="T42" fmla="*/ 2147483646 w 222"/>
                  <a:gd name="T43" fmla="*/ 0 h 276"/>
                  <a:gd name="T44" fmla="*/ 2147483646 w 222"/>
                  <a:gd name="T45" fmla="*/ 0 h 276"/>
                  <a:gd name="T46" fmla="*/ 2147483646 w 222"/>
                  <a:gd name="T47" fmla="*/ 2147483646 h 276"/>
                  <a:gd name="T48" fmla="*/ 2147483646 w 222"/>
                  <a:gd name="T49" fmla="*/ 2147483646 h 276"/>
                  <a:gd name="T50" fmla="*/ 2147483646 w 222"/>
                  <a:gd name="T51" fmla="*/ 2147483646 h 276"/>
                  <a:gd name="T52" fmla="*/ 2147483646 w 222"/>
                  <a:gd name="T53" fmla="*/ 2147483646 h 276"/>
                  <a:gd name="T54" fmla="*/ 2147483646 w 222"/>
                  <a:gd name="T55" fmla="*/ 2147483646 h 276"/>
                  <a:gd name="T56" fmla="*/ 2147483646 w 222"/>
                  <a:gd name="T57" fmla="*/ 2147483646 h 276"/>
                  <a:gd name="T58" fmla="*/ 2147483646 w 222"/>
                  <a:gd name="T59" fmla="*/ 2147483646 h 276"/>
                  <a:gd name="T60" fmla="*/ 2147483646 w 222"/>
                  <a:gd name="T61" fmla="*/ 2147483646 h 276"/>
                  <a:gd name="T62" fmla="*/ 2147483646 w 222"/>
                  <a:gd name="T63" fmla="*/ 2147483646 h 276"/>
                  <a:gd name="T64" fmla="*/ 2147483646 w 222"/>
                  <a:gd name="T65" fmla="*/ 2147483646 h 276"/>
                  <a:gd name="T66" fmla="*/ 2147483646 w 222"/>
                  <a:gd name="T67" fmla="*/ 2147483646 h 276"/>
                  <a:gd name="T68" fmla="*/ 2147483646 w 222"/>
                  <a:gd name="T69" fmla="*/ 2147483646 h 276"/>
                  <a:gd name="T70" fmla="*/ 2147483646 w 222"/>
                  <a:gd name="T71" fmla="*/ 2147483646 h 276"/>
                  <a:gd name="T72" fmla="*/ 2147483646 w 222"/>
                  <a:gd name="T73" fmla="*/ 2147483646 h 276"/>
                  <a:gd name="T74" fmla="*/ 2147483646 w 222"/>
                  <a:gd name="T75" fmla="*/ 2147483646 h 276"/>
                  <a:gd name="T76" fmla="*/ 2147483646 w 222"/>
                  <a:gd name="T77" fmla="*/ 2147483646 h 276"/>
                  <a:gd name="T78" fmla="*/ 2147483646 w 222"/>
                  <a:gd name="T79" fmla="*/ 2147483646 h 276"/>
                  <a:gd name="T80" fmla="*/ 2147483646 w 222"/>
                  <a:gd name="T81" fmla="*/ 2147483646 h 276"/>
                  <a:gd name="T82" fmla="*/ 2147483646 w 222"/>
                  <a:gd name="T83" fmla="*/ 2147483646 h 276"/>
                  <a:gd name="T84" fmla="*/ 2147483646 w 222"/>
                  <a:gd name="T85" fmla="*/ 2147483646 h 276"/>
                  <a:gd name="T86" fmla="*/ 2147483646 w 222"/>
                  <a:gd name="T87" fmla="*/ 2147483646 h 276"/>
                  <a:gd name="T88" fmla="*/ 2147483646 w 222"/>
                  <a:gd name="T89" fmla="*/ 2147483646 h 276"/>
                  <a:gd name="T90" fmla="*/ 2147483646 w 222"/>
                  <a:gd name="T91" fmla="*/ 2147483646 h 276"/>
                  <a:gd name="T92" fmla="*/ 2147483646 w 222"/>
                  <a:gd name="T93" fmla="*/ 2147483646 h 276"/>
                  <a:gd name="T94" fmla="*/ 2147483646 w 222"/>
                  <a:gd name="T95" fmla="*/ 2147483646 h 276"/>
                  <a:gd name="T96" fmla="*/ 2147483646 w 222"/>
                  <a:gd name="T97" fmla="*/ 2147483646 h 276"/>
                  <a:gd name="T98" fmla="*/ 2147483646 w 222"/>
                  <a:gd name="T99" fmla="*/ 2147483646 h 276"/>
                  <a:gd name="T100" fmla="*/ 2147483646 w 222"/>
                  <a:gd name="T101" fmla="*/ 2147483646 h 276"/>
                  <a:gd name="T102" fmla="*/ 2147483646 w 222"/>
                  <a:gd name="T103" fmla="*/ 2147483646 h 276"/>
                  <a:gd name="T104" fmla="*/ 2147483646 w 222"/>
                  <a:gd name="T105" fmla="*/ 2147483646 h 276"/>
                  <a:gd name="T106" fmla="*/ 2147483646 w 222"/>
                  <a:gd name="T107" fmla="*/ 2147483646 h 276"/>
                  <a:gd name="T108" fmla="*/ 2147483646 w 222"/>
                  <a:gd name="T109" fmla="*/ 2147483646 h 276"/>
                  <a:gd name="T110" fmla="*/ 2147483646 w 222"/>
                  <a:gd name="T111" fmla="*/ 2147483646 h 276"/>
                  <a:gd name="T112" fmla="*/ 2147483646 w 222"/>
                  <a:gd name="T113" fmla="*/ 2147483646 h 276"/>
                  <a:gd name="T114" fmla="*/ 2147483646 w 222"/>
                  <a:gd name="T115" fmla="*/ 2147483646 h 276"/>
                  <a:gd name="T116" fmla="*/ 2147483646 w 222"/>
                  <a:gd name="T117" fmla="*/ 2147483646 h 27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2"/>
                  <a:gd name="T178" fmla="*/ 0 h 276"/>
                  <a:gd name="T179" fmla="*/ 222 w 222"/>
                  <a:gd name="T180" fmla="*/ 276 h 27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2" h="276">
                    <a:moveTo>
                      <a:pt x="220" y="276"/>
                    </a:moveTo>
                    <a:lnTo>
                      <a:pt x="220" y="274"/>
                    </a:lnTo>
                    <a:lnTo>
                      <a:pt x="222" y="268"/>
                    </a:lnTo>
                    <a:lnTo>
                      <a:pt x="222" y="264"/>
                    </a:lnTo>
                    <a:lnTo>
                      <a:pt x="222" y="262"/>
                    </a:lnTo>
                    <a:lnTo>
                      <a:pt x="222" y="258"/>
                    </a:lnTo>
                    <a:lnTo>
                      <a:pt x="222" y="255"/>
                    </a:lnTo>
                    <a:lnTo>
                      <a:pt x="220" y="249"/>
                    </a:lnTo>
                    <a:lnTo>
                      <a:pt x="220" y="243"/>
                    </a:lnTo>
                    <a:lnTo>
                      <a:pt x="220" y="238"/>
                    </a:lnTo>
                    <a:lnTo>
                      <a:pt x="220" y="234"/>
                    </a:lnTo>
                    <a:lnTo>
                      <a:pt x="218" y="226"/>
                    </a:lnTo>
                    <a:lnTo>
                      <a:pt x="218" y="220"/>
                    </a:lnTo>
                    <a:lnTo>
                      <a:pt x="218" y="215"/>
                    </a:lnTo>
                    <a:lnTo>
                      <a:pt x="216" y="207"/>
                    </a:lnTo>
                    <a:lnTo>
                      <a:pt x="214" y="203"/>
                    </a:lnTo>
                    <a:lnTo>
                      <a:pt x="214" y="200"/>
                    </a:lnTo>
                    <a:lnTo>
                      <a:pt x="214" y="196"/>
                    </a:lnTo>
                    <a:lnTo>
                      <a:pt x="213" y="192"/>
                    </a:lnTo>
                    <a:lnTo>
                      <a:pt x="213" y="188"/>
                    </a:lnTo>
                    <a:lnTo>
                      <a:pt x="211" y="184"/>
                    </a:lnTo>
                    <a:lnTo>
                      <a:pt x="211" y="180"/>
                    </a:lnTo>
                    <a:lnTo>
                      <a:pt x="211" y="177"/>
                    </a:lnTo>
                    <a:lnTo>
                      <a:pt x="209" y="173"/>
                    </a:lnTo>
                    <a:lnTo>
                      <a:pt x="207" y="167"/>
                    </a:lnTo>
                    <a:lnTo>
                      <a:pt x="205" y="163"/>
                    </a:lnTo>
                    <a:lnTo>
                      <a:pt x="205" y="160"/>
                    </a:lnTo>
                    <a:lnTo>
                      <a:pt x="203" y="156"/>
                    </a:lnTo>
                    <a:lnTo>
                      <a:pt x="201" y="150"/>
                    </a:lnTo>
                    <a:lnTo>
                      <a:pt x="199" y="146"/>
                    </a:lnTo>
                    <a:lnTo>
                      <a:pt x="199" y="142"/>
                    </a:lnTo>
                    <a:lnTo>
                      <a:pt x="197" y="137"/>
                    </a:lnTo>
                    <a:lnTo>
                      <a:pt x="195" y="133"/>
                    </a:lnTo>
                    <a:lnTo>
                      <a:pt x="194" y="127"/>
                    </a:lnTo>
                    <a:lnTo>
                      <a:pt x="192" y="123"/>
                    </a:lnTo>
                    <a:lnTo>
                      <a:pt x="190" y="120"/>
                    </a:lnTo>
                    <a:lnTo>
                      <a:pt x="188" y="114"/>
                    </a:lnTo>
                    <a:lnTo>
                      <a:pt x="186" y="110"/>
                    </a:lnTo>
                    <a:lnTo>
                      <a:pt x="184" y="106"/>
                    </a:lnTo>
                    <a:lnTo>
                      <a:pt x="180" y="101"/>
                    </a:lnTo>
                    <a:lnTo>
                      <a:pt x="178" y="95"/>
                    </a:lnTo>
                    <a:lnTo>
                      <a:pt x="176" y="91"/>
                    </a:lnTo>
                    <a:lnTo>
                      <a:pt x="175" y="85"/>
                    </a:lnTo>
                    <a:lnTo>
                      <a:pt x="171" y="80"/>
                    </a:lnTo>
                    <a:lnTo>
                      <a:pt x="169" y="76"/>
                    </a:lnTo>
                    <a:lnTo>
                      <a:pt x="167" y="70"/>
                    </a:lnTo>
                    <a:lnTo>
                      <a:pt x="163" y="66"/>
                    </a:lnTo>
                    <a:lnTo>
                      <a:pt x="161" y="61"/>
                    </a:lnTo>
                    <a:lnTo>
                      <a:pt x="157" y="57"/>
                    </a:lnTo>
                    <a:lnTo>
                      <a:pt x="154" y="51"/>
                    </a:lnTo>
                    <a:lnTo>
                      <a:pt x="152" y="47"/>
                    </a:lnTo>
                    <a:lnTo>
                      <a:pt x="148" y="44"/>
                    </a:lnTo>
                    <a:lnTo>
                      <a:pt x="144" y="40"/>
                    </a:lnTo>
                    <a:lnTo>
                      <a:pt x="142" y="34"/>
                    </a:lnTo>
                    <a:lnTo>
                      <a:pt x="138" y="32"/>
                    </a:lnTo>
                    <a:lnTo>
                      <a:pt x="131" y="25"/>
                    </a:lnTo>
                    <a:lnTo>
                      <a:pt x="125" y="19"/>
                    </a:lnTo>
                    <a:lnTo>
                      <a:pt x="118" y="15"/>
                    </a:lnTo>
                    <a:lnTo>
                      <a:pt x="110" y="11"/>
                    </a:lnTo>
                    <a:lnTo>
                      <a:pt x="106" y="9"/>
                    </a:lnTo>
                    <a:lnTo>
                      <a:pt x="102" y="8"/>
                    </a:lnTo>
                    <a:lnTo>
                      <a:pt x="99" y="6"/>
                    </a:lnTo>
                    <a:lnTo>
                      <a:pt x="95" y="4"/>
                    </a:lnTo>
                    <a:lnTo>
                      <a:pt x="87" y="2"/>
                    </a:lnTo>
                    <a:lnTo>
                      <a:pt x="80" y="0"/>
                    </a:lnTo>
                    <a:lnTo>
                      <a:pt x="74" y="0"/>
                    </a:lnTo>
                    <a:lnTo>
                      <a:pt x="66" y="0"/>
                    </a:lnTo>
                    <a:lnTo>
                      <a:pt x="59" y="0"/>
                    </a:lnTo>
                    <a:lnTo>
                      <a:pt x="53" y="0"/>
                    </a:lnTo>
                    <a:lnTo>
                      <a:pt x="45" y="2"/>
                    </a:lnTo>
                    <a:lnTo>
                      <a:pt x="40" y="2"/>
                    </a:lnTo>
                    <a:lnTo>
                      <a:pt x="34" y="6"/>
                    </a:lnTo>
                    <a:lnTo>
                      <a:pt x="28" y="8"/>
                    </a:lnTo>
                    <a:lnTo>
                      <a:pt x="23" y="9"/>
                    </a:lnTo>
                    <a:lnTo>
                      <a:pt x="19" y="13"/>
                    </a:lnTo>
                    <a:lnTo>
                      <a:pt x="15" y="17"/>
                    </a:lnTo>
                    <a:lnTo>
                      <a:pt x="11" y="21"/>
                    </a:lnTo>
                    <a:lnTo>
                      <a:pt x="7" y="25"/>
                    </a:lnTo>
                    <a:lnTo>
                      <a:pt x="5" y="28"/>
                    </a:lnTo>
                    <a:lnTo>
                      <a:pt x="2" y="34"/>
                    </a:lnTo>
                    <a:lnTo>
                      <a:pt x="2" y="38"/>
                    </a:lnTo>
                    <a:lnTo>
                      <a:pt x="0" y="42"/>
                    </a:lnTo>
                    <a:lnTo>
                      <a:pt x="2" y="47"/>
                    </a:lnTo>
                    <a:lnTo>
                      <a:pt x="2" y="53"/>
                    </a:lnTo>
                    <a:lnTo>
                      <a:pt x="4" y="59"/>
                    </a:lnTo>
                    <a:lnTo>
                      <a:pt x="7" y="65"/>
                    </a:lnTo>
                    <a:lnTo>
                      <a:pt x="11" y="70"/>
                    </a:lnTo>
                    <a:lnTo>
                      <a:pt x="15" y="76"/>
                    </a:lnTo>
                    <a:lnTo>
                      <a:pt x="21" y="80"/>
                    </a:lnTo>
                    <a:lnTo>
                      <a:pt x="26" y="82"/>
                    </a:lnTo>
                    <a:lnTo>
                      <a:pt x="32" y="84"/>
                    </a:lnTo>
                    <a:lnTo>
                      <a:pt x="36" y="85"/>
                    </a:lnTo>
                    <a:lnTo>
                      <a:pt x="42" y="85"/>
                    </a:lnTo>
                    <a:lnTo>
                      <a:pt x="47" y="85"/>
                    </a:lnTo>
                    <a:lnTo>
                      <a:pt x="51" y="85"/>
                    </a:lnTo>
                    <a:lnTo>
                      <a:pt x="55" y="84"/>
                    </a:lnTo>
                    <a:lnTo>
                      <a:pt x="61" y="84"/>
                    </a:lnTo>
                    <a:lnTo>
                      <a:pt x="66" y="82"/>
                    </a:lnTo>
                    <a:lnTo>
                      <a:pt x="68" y="82"/>
                    </a:lnTo>
                    <a:lnTo>
                      <a:pt x="64" y="61"/>
                    </a:lnTo>
                    <a:lnTo>
                      <a:pt x="61" y="61"/>
                    </a:lnTo>
                    <a:lnTo>
                      <a:pt x="55" y="61"/>
                    </a:lnTo>
                    <a:lnTo>
                      <a:pt x="53" y="59"/>
                    </a:lnTo>
                    <a:lnTo>
                      <a:pt x="49" y="59"/>
                    </a:lnTo>
                    <a:lnTo>
                      <a:pt x="45" y="59"/>
                    </a:lnTo>
                    <a:lnTo>
                      <a:pt x="42" y="59"/>
                    </a:lnTo>
                    <a:lnTo>
                      <a:pt x="36" y="55"/>
                    </a:lnTo>
                    <a:lnTo>
                      <a:pt x="32" y="51"/>
                    </a:lnTo>
                    <a:lnTo>
                      <a:pt x="32" y="47"/>
                    </a:lnTo>
                    <a:lnTo>
                      <a:pt x="34" y="44"/>
                    </a:lnTo>
                    <a:lnTo>
                      <a:pt x="36" y="40"/>
                    </a:lnTo>
                    <a:lnTo>
                      <a:pt x="42" y="36"/>
                    </a:lnTo>
                    <a:lnTo>
                      <a:pt x="45" y="30"/>
                    </a:lnTo>
                    <a:lnTo>
                      <a:pt x="51" y="27"/>
                    </a:lnTo>
                    <a:lnTo>
                      <a:pt x="57" y="25"/>
                    </a:lnTo>
                    <a:lnTo>
                      <a:pt x="64" y="23"/>
                    </a:lnTo>
                    <a:lnTo>
                      <a:pt x="70" y="23"/>
                    </a:lnTo>
                    <a:lnTo>
                      <a:pt x="78" y="25"/>
                    </a:lnTo>
                    <a:lnTo>
                      <a:pt x="83" y="27"/>
                    </a:lnTo>
                    <a:lnTo>
                      <a:pt x="91" y="30"/>
                    </a:lnTo>
                    <a:lnTo>
                      <a:pt x="99" y="32"/>
                    </a:lnTo>
                    <a:lnTo>
                      <a:pt x="106" y="36"/>
                    </a:lnTo>
                    <a:lnTo>
                      <a:pt x="112" y="42"/>
                    </a:lnTo>
                    <a:lnTo>
                      <a:pt x="119" y="49"/>
                    </a:lnTo>
                    <a:lnTo>
                      <a:pt x="121" y="51"/>
                    </a:lnTo>
                    <a:lnTo>
                      <a:pt x="125" y="55"/>
                    </a:lnTo>
                    <a:lnTo>
                      <a:pt x="129" y="59"/>
                    </a:lnTo>
                    <a:lnTo>
                      <a:pt x="133" y="63"/>
                    </a:lnTo>
                    <a:lnTo>
                      <a:pt x="135" y="68"/>
                    </a:lnTo>
                    <a:lnTo>
                      <a:pt x="138" y="72"/>
                    </a:lnTo>
                    <a:lnTo>
                      <a:pt x="140" y="76"/>
                    </a:lnTo>
                    <a:lnTo>
                      <a:pt x="144" y="82"/>
                    </a:lnTo>
                    <a:lnTo>
                      <a:pt x="146" y="85"/>
                    </a:lnTo>
                    <a:lnTo>
                      <a:pt x="150" y="91"/>
                    </a:lnTo>
                    <a:lnTo>
                      <a:pt x="152" y="97"/>
                    </a:lnTo>
                    <a:lnTo>
                      <a:pt x="156" y="103"/>
                    </a:lnTo>
                    <a:lnTo>
                      <a:pt x="159" y="110"/>
                    </a:lnTo>
                    <a:lnTo>
                      <a:pt x="161" y="116"/>
                    </a:lnTo>
                    <a:lnTo>
                      <a:pt x="163" y="120"/>
                    </a:lnTo>
                    <a:lnTo>
                      <a:pt x="165" y="123"/>
                    </a:lnTo>
                    <a:lnTo>
                      <a:pt x="167" y="127"/>
                    </a:lnTo>
                    <a:lnTo>
                      <a:pt x="169" y="131"/>
                    </a:lnTo>
                    <a:lnTo>
                      <a:pt x="171" y="135"/>
                    </a:lnTo>
                    <a:lnTo>
                      <a:pt x="171" y="139"/>
                    </a:lnTo>
                    <a:lnTo>
                      <a:pt x="173" y="142"/>
                    </a:lnTo>
                    <a:lnTo>
                      <a:pt x="175" y="148"/>
                    </a:lnTo>
                    <a:lnTo>
                      <a:pt x="176" y="152"/>
                    </a:lnTo>
                    <a:lnTo>
                      <a:pt x="178" y="156"/>
                    </a:lnTo>
                    <a:lnTo>
                      <a:pt x="178" y="160"/>
                    </a:lnTo>
                    <a:lnTo>
                      <a:pt x="180" y="163"/>
                    </a:lnTo>
                    <a:lnTo>
                      <a:pt x="182" y="167"/>
                    </a:lnTo>
                    <a:lnTo>
                      <a:pt x="184" y="173"/>
                    </a:lnTo>
                    <a:lnTo>
                      <a:pt x="186" y="177"/>
                    </a:lnTo>
                    <a:lnTo>
                      <a:pt x="188" y="180"/>
                    </a:lnTo>
                    <a:lnTo>
                      <a:pt x="188" y="184"/>
                    </a:lnTo>
                    <a:lnTo>
                      <a:pt x="190" y="188"/>
                    </a:lnTo>
                    <a:lnTo>
                      <a:pt x="192" y="192"/>
                    </a:lnTo>
                    <a:lnTo>
                      <a:pt x="194" y="198"/>
                    </a:lnTo>
                    <a:lnTo>
                      <a:pt x="194" y="200"/>
                    </a:lnTo>
                    <a:lnTo>
                      <a:pt x="195" y="203"/>
                    </a:lnTo>
                    <a:lnTo>
                      <a:pt x="197" y="207"/>
                    </a:lnTo>
                    <a:lnTo>
                      <a:pt x="199" y="211"/>
                    </a:lnTo>
                    <a:lnTo>
                      <a:pt x="199" y="215"/>
                    </a:lnTo>
                    <a:lnTo>
                      <a:pt x="201" y="219"/>
                    </a:lnTo>
                    <a:lnTo>
                      <a:pt x="201" y="222"/>
                    </a:lnTo>
                    <a:lnTo>
                      <a:pt x="203" y="226"/>
                    </a:lnTo>
                    <a:lnTo>
                      <a:pt x="205" y="234"/>
                    </a:lnTo>
                    <a:lnTo>
                      <a:pt x="209" y="239"/>
                    </a:lnTo>
                    <a:lnTo>
                      <a:pt x="211" y="245"/>
                    </a:lnTo>
                    <a:lnTo>
                      <a:pt x="213" y="253"/>
                    </a:lnTo>
                    <a:lnTo>
                      <a:pt x="214" y="257"/>
                    </a:lnTo>
                    <a:lnTo>
                      <a:pt x="214" y="262"/>
                    </a:lnTo>
                    <a:lnTo>
                      <a:pt x="216" y="266"/>
                    </a:lnTo>
                    <a:lnTo>
                      <a:pt x="218" y="270"/>
                    </a:lnTo>
                    <a:lnTo>
                      <a:pt x="220" y="274"/>
                    </a:lnTo>
                    <a:lnTo>
                      <a:pt x="220" y="276"/>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16" name="Freeform 58"/>
              <p:cNvSpPr>
                <a:spLocks/>
              </p:cNvSpPr>
              <p:nvPr/>
            </p:nvSpPr>
            <p:spPr bwMode="auto">
              <a:xfrm>
                <a:off x="2274888" y="3427413"/>
                <a:ext cx="93663" cy="93663"/>
              </a:xfrm>
              <a:custGeom>
                <a:avLst/>
                <a:gdLst>
                  <a:gd name="T0" fmla="*/ 2147483646 w 117"/>
                  <a:gd name="T1" fmla="*/ 0 h 120"/>
                  <a:gd name="T2" fmla="*/ 2147483646 w 117"/>
                  <a:gd name="T3" fmla="*/ 0 h 120"/>
                  <a:gd name="T4" fmla="*/ 2147483646 w 117"/>
                  <a:gd name="T5" fmla="*/ 2147483646 h 120"/>
                  <a:gd name="T6" fmla="*/ 2147483646 w 117"/>
                  <a:gd name="T7" fmla="*/ 2147483646 h 120"/>
                  <a:gd name="T8" fmla="*/ 2147483646 w 117"/>
                  <a:gd name="T9" fmla="*/ 2147483646 h 120"/>
                  <a:gd name="T10" fmla="*/ 2147483646 w 117"/>
                  <a:gd name="T11" fmla="*/ 2147483646 h 120"/>
                  <a:gd name="T12" fmla="*/ 2147483646 w 117"/>
                  <a:gd name="T13" fmla="*/ 2147483646 h 120"/>
                  <a:gd name="T14" fmla="*/ 2147483646 w 117"/>
                  <a:gd name="T15" fmla="*/ 2147483646 h 120"/>
                  <a:gd name="T16" fmla="*/ 2147483646 w 117"/>
                  <a:gd name="T17" fmla="*/ 2147483646 h 120"/>
                  <a:gd name="T18" fmla="*/ 2147483646 w 117"/>
                  <a:gd name="T19" fmla="*/ 2147483646 h 120"/>
                  <a:gd name="T20" fmla="*/ 2147483646 w 117"/>
                  <a:gd name="T21" fmla="*/ 2147483646 h 120"/>
                  <a:gd name="T22" fmla="*/ 2147483646 w 117"/>
                  <a:gd name="T23" fmla="*/ 2147483646 h 120"/>
                  <a:gd name="T24" fmla="*/ 2147483646 w 117"/>
                  <a:gd name="T25" fmla="*/ 2147483646 h 120"/>
                  <a:gd name="T26" fmla="*/ 2147483646 w 117"/>
                  <a:gd name="T27" fmla="*/ 2147483646 h 120"/>
                  <a:gd name="T28" fmla="*/ 2147483646 w 117"/>
                  <a:gd name="T29" fmla="*/ 2147483646 h 120"/>
                  <a:gd name="T30" fmla="*/ 2147483646 w 117"/>
                  <a:gd name="T31" fmla="*/ 2147483646 h 120"/>
                  <a:gd name="T32" fmla="*/ 0 w 117"/>
                  <a:gd name="T33" fmla="*/ 2147483646 h 120"/>
                  <a:gd name="T34" fmla="*/ 2147483646 w 117"/>
                  <a:gd name="T35" fmla="*/ 2147483646 h 120"/>
                  <a:gd name="T36" fmla="*/ 2147483646 w 117"/>
                  <a:gd name="T37" fmla="*/ 2147483646 h 120"/>
                  <a:gd name="T38" fmla="*/ 2147483646 w 117"/>
                  <a:gd name="T39" fmla="*/ 2147483646 h 120"/>
                  <a:gd name="T40" fmla="*/ 2147483646 w 117"/>
                  <a:gd name="T41" fmla="*/ 2147483646 h 120"/>
                  <a:gd name="T42" fmla="*/ 2147483646 w 117"/>
                  <a:gd name="T43" fmla="*/ 2147483646 h 120"/>
                  <a:gd name="T44" fmla="*/ 2147483646 w 117"/>
                  <a:gd name="T45" fmla="*/ 2147483646 h 120"/>
                  <a:gd name="T46" fmla="*/ 2147483646 w 117"/>
                  <a:gd name="T47" fmla="*/ 2147483646 h 120"/>
                  <a:gd name="T48" fmla="*/ 2147483646 w 117"/>
                  <a:gd name="T49" fmla="*/ 2147483646 h 120"/>
                  <a:gd name="T50" fmla="*/ 2147483646 w 117"/>
                  <a:gd name="T51" fmla="*/ 2147483646 h 120"/>
                  <a:gd name="T52" fmla="*/ 2147483646 w 117"/>
                  <a:gd name="T53" fmla="*/ 2147483646 h 120"/>
                  <a:gd name="T54" fmla="*/ 2147483646 w 117"/>
                  <a:gd name="T55" fmla="*/ 2147483646 h 120"/>
                  <a:gd name="T56" fmla="*/ 2147483646 w 117"/>
                  <a:gd name="T57" fmla="*/ 2147483646 h 120"/>
                  <a:gd name="T58" fmla="*/ 2147483646 w 117"/>
                  <a:gd name="T59" fmla="*/ 2147483646 h 120"/>
                  <a:gd name="T60" fmla="*/ 2147483646 w 117"/>
                  <a:gd name="T61" fmla="*/ 2147483646 h 120"/>
                  <a:gd name="T62" fmla="*/ 2147483646 w 117"/>
                  <a:gd name="T63" fmla="*/ 2147483646 h 120"/>
                  <a:gd name="T64" fmla="*/ 2147483646 w 117"/>
                  <a:gd name="T65" fmla="*/ 2147483646 h 120"/>
                  <a:gd name="T66" fmla="*/ 2147483646 w 117"/>
                  <a:gd name="T67" fmla="*/ 0 h 1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7"/>
                  <a:gd name="T103" fmla="*/ 0 h 120"/>
                  <a:gd name="T104" fmla="*/ 117 w 117"/>
                  <a:gd name="T105" fmla="*/ 120 h 1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7" h="120">
                    <a:moveTo>
                      <a:pt x="104" y="0"/>
                    </a:moveTo>
                    <a:lnTo>
                      <a:pt x="102" y="0"/>
                    </a:lnTo>
                    <a:lnTo>
                      <a:pt x="100" y="0"/>
                    </a:lnTo>
                    <a:lnTo>
                      <a:pt x="95" y="0"/>
                    </a:lnTo>
                    <a:lnTo>
                      <a:pt x="89" y="2"/>
                    </a:lnTo>
                    <a:lnTo>
                      <a:pt x="85" y="2"/>
                    </a:lnTo>
                    <a:lnTo>
                      <a:pt x="81" y="4"/>
                    </a:lnTo>
                    <a:lnTo>
                      <a:pt x="78" y="4"/>
                    </a:lnTo>
                    <a:lnTo>
                      <a:pt x="74" y="8"/>
                    </a:lnTo>
                    <a:lnTo>
                      <a:pt x="70" y="8"/>
                    </a:lnTo>
                    <a:lnTo>
                      <a:pt x="66" y="10"/>
                    </a:lnTo>
                    <a:lnTo>
                      <a:pt x="60" y="12"/>
                    </a:lnTo>
                    <a:lnTo>
                      <a:pt x="57" y="15"/>
                    </a:lnTo>
                    <a:lnTo>
                      <a:pt x="51" y="17"/>
                    </a:lnTo>
                    <a:lnTo>
                      <a:pt x="47" y="21"/>
                    </a:lnTo>
                    <a:lnTo>
                      <a:pt x="41" y="25"/>
                    </a:lnTo>
                    <a:lnTo>
                      <a:pt x="38" y="29"/>
                    </a:lnTo>
                    <a:lnTo>
                      <a:pt x="34" y="32"/>
                    </a:lnTo>
                    <a:lnTo>
                      <a:pt x="30" y="38"/>
                    </a:lnTo>
                    <a:lnTo>
                      <a:pt x="24" y="44"/>
                    </a:lnTo>
                    <a:lnTo>
                      <a:pt x="22" y="50"/>
                    </a:lnTo>
                    <a:lnTo>
                      <a:pt x="17" y="57"/>
                    </a:lnTo>
                    <a:lnTo>
                      <a:pt x="13" y="63"/>
                    </a:lnTo>
                    <a:lnTo>
                      <a:pt x="11" y="67"/>
                    </a:lnTo>
                    <a:lnTo>
                      <a:pt x="9" y="70"/>
                    </a:lnTo>
                    <a:lnTo>
                      <a:pt x="9" y="74"/>
                    </a:lnTo>
                    <a:lnTo>
                      <a:pt x="7" y="78"/>
                    </a:lnTo>
                    <a:lnTo>
                      <a:pt x="5" y="82"/>
                    </a:lnTo>
                    <a:lnTo>
                      <a:pt x="5" y="86"/>
                    </a:lnTo>
                    <a:lnTo>
                      <a:pt x="3" y="91"/>
                    </a:lnTo>
                    <a:lnTo>
                      <a:pt x="3" y="95"/>
                    </a:lnTo>
                    <a:lnTo>
                      <a:pt x="2" y="101"/>
                    </a:lnTo>
                    <a:lnTo>
                      <a:pt x="0" y="105"/>
                    </a:lnTo>
                    <a:lnTo>
                      <a:pt x="0" y="110"/>
                    </a:lnTo>
                    <a:lnTo>
                      <a:pt x="0" y="116"/>
                    </a:lnTo>
                    <a:lnTo>
                      <a:pt x="19" y="120"/>
                    </a:lnTo>
                    <a:lnTo>
                      <a:pt x="19" y="118"/>
                    </a:lnTo>
                    <a:lnTo>
                      <a:pt x="19" y="116"/>
                    </a:lnTo>
                    <a:lnTo>
                      <a:pt x="19" y="112"/>
                    </a:lnTo>
                    <a:lnTo>
                      <a:pt x="21" y="108"/>
                    </a:lnTo>
                    <a:lnTo>
                      <a:pt x="22" y="101"/>
                    </a:lnTo>
                    <a:lnTo>
                      <a:pt x="24" y="95"/>
                    </a:lnTo>
                    <a:lnTo>
                      <a:pt x="26" y="91"/>
                    </a:lnTo>
                    <a:lnTo>
                      <a:pt x="28" y="88"/>
                    </a:lnTo>
                    <a:lnTo>
                      <a:pt x="30" y="84"/>
                    </a:lnTo>
                    <a:lnTo>
                      <a:pt x="32" y="80"/>
                    </a:lnTo>
                    <a:lnTo>
                      <a:pt x="34" y="76"/>
                    </a:lnTo>
                    <a:lnTo>
                      <a:pt x="38" y="70"/>
                    </a:lnTo>
                    <a:lnTo>
                      <a:pt x="40" y="67"/>
                    </a:lnTo>
                    <a:lnTo>
                      <a:pt x="43" y="63"/>
                    </a:lnTo>
                    <a:lnTo>
                      <a:pt x="47" y="59"/>
                    </a:lnTo>
                    <a:lnTo>
                      <a:pt x="51" y="55"/>
                    </a:lnTo>
                    <a:lnTo>
                      <a:pt x="57" y="51"/>
                    </a:lnTo>
                    <a:lnTo>
                      <a:pt x="62" y="48"/>
                    </a:lnTo>
                    <a:lnTo>
                      <a:pt x="66" y="44"/>
                    </a:lnTo>
                    <a:lnTo>
                      <a:pt x="74" y="40"/>
                    </a:lnTo>
                    <a:lnTo>
                      <a:pt x="79" y="36"/>
                    </a:lnTo>
                    <a:lnTo>
                      <a:pt x="87" y="34"/>
                    </a:lnTo>
                    <a:lnTo>
                      <a:pt x="89" y="32"/>
                    </a:lnTo>
                    <a:lnTo>
                      <a:pt x="93" y="31"/>
                    </a:lnTo>
                    <a:lnTo>
                      <a:pt x="97" y="29"/>
                    </a:lnTo>
                    <a:lnTo>
                      <a:pt x="100" y="29"/>
                    </a:lnTo>
                    <a:lnTo>
                      <a:pt x="104" y="27"/>
                    </a:lnTo>
                    <a:lnTo>
                      <a:pt x="108" y="27"/>
                    </a:lnTo>
                    <a:lnTo>
                      <a:pt x="114" y="25"/>
                    </a:lnTo>
                    <a:lnTo>
                      <a:pt x="117" y="25"/>
                    </a:lnTo>
                    <a:lnTo>
                      <a:pt x="104"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17" name="Freeform 60"/>
              <p:cNvSpPr>
                <a:spLocks/>
              </p:cNvSpPr>
              <p:nvPr/>
            </p:nvSpPr>
            <p:spPr bwMode="auto">
              <a:xfrm>
                <a:off x="2311401" y="3643313"/>
                <a:ext cx="136525" cy="146050"/>
              </a:xfrm>
              <a:custGeom>
                <a:avLst/>
                <a:gdLst>
                  <a:gd name="T0" fmla="*/ 2147483646 w 171"/>
                  <a:gd name="T1" fmla="*/ 2147483646 h 182"/>
                  <a:gd name="T2" fmla="*/ 2147483646 w 171"/>
                  <a:gd name="T3" fmla="*/ 2147483646 h 182"/>
                  <a:gd name="T4" fmla="*/ 2147483646 w 171"/>
                  <a:gd name="T5" fmla="*/ 2147483646 h 182"/>
                  <a:gd name="T6" fmla="*/ 2147483646 w 171"/>
                  <a:gd name="T7" fmla="*/ 2147483646 h 182"/>
                  <a:gd name="T8" fmla="*/ 2147483646 w 171"/>
                  <a:gd name="T9" fmla="*/ 2147483646 h 182"/>
                  <a:gd name="T10" fmla="*/ 2147483646 w 171"/>
                  <a:gd name="T11" fmla="*/ 2147483646 h 182"/>
                  <a:gd name="T12" fmla="*/ 2147483646 w 171"/>
                  <a:gd name="T13" fmla="*/ 2147483646 h 182"/>
                  <a:gd name="T14" fmla="*/ 2147483646 w 171"/>
                  <a:gd name="T15" fmla="*/ 2147483646 h 182"/>
                  <a:gd name="T16" fmla="*/ 2147483646 w 171"/>
                  <a:gd name="T17" fmla="*/ 2147483646 h 182"/>
                  <a:gd name="T18" fmla="*/ 2147483646 w 171"/>
                  <a:gd name="T19" fmla="*/ 2147483646 h 182"/>
                  <a:gd name="T20" fmla="*/ 2147483646 w 171"/>
                  <a:gd name="T21" fmla="*/ 2147483646 h 182"/>
                  <a:gd name="T22" fmla="*/ 2147483646 w 171"/>
                  <a:gd name="T23" fmla="*/ 2147483646 h 182"/>
                  <a:gd name="T24" fmla="*/ 2147483646 w 171"/>
                  <a:gd name="T25" fmla="*/ 2147483646 h 182"/>
                  <a:gd name="T26" fmla="*/ 2147483646 w 171"/>
                  <a:gd name="T27" fmla="*/ 2147483646 h 182"/>
                  <a:gd name="T28" fmla="*/ 2147483646 w 171"/>
                  <a:gd name="T29" fmla="*/ 2147483646 h 182"/>
                  <a:gd name="T30" fmla="*/ 2147483646 w 171"/>
                  <a:gd name="T31" fmla="*/ 2147483646 h 182"/>
                  <a:gd name="T32" fmla="*/ 2147483646 w 171"/>
                  <a:gd name="T33" fmla="*/ 2147483646 h 182"/>
                  <a:gd name="T34" fmla="*/ 2147483646 w 171"/>
                  <a:gd name="T35" fmla="*/ 2147483646 h 182"/>
                  <a:gd name="T36" fmla="*/ 2147483646 w 171"/>
                  <a:gd name="T37" fmla="*/ 2147483646 h 182"/>
                  <a:gd name="T38" fmla="*/ 2147483646 w 171"/>
                  <a:gd name="T39" fmla="*/ 2147483646 h 182"/>
                  <a:gd name="T40" fmla="*/ 2147483646 w 171"/>
                  <a:gd name="T41" fmla="*/ 2147483646 h 182"/>
                  <a:gd name="T42" fmla="*/ 2147483646 w 171"/>
                  <a:gd name="T43" fmla="*/ 2147483646 h 182"/>
                  <a:gd name="T44" fmla="*/ 2147483646 w 171"/>
                  <a:gd name="T45" fmla="*/ 2147483646 h 182"/>
                  <a:gd name="T46" fmla="*/ 2147483646 w 171"/>
                  <a:gd name="T47" fmla="*/ 2147483646 h 182"/>
                  <a:gd name="T48" fmla="*/ 2147483646 w 171"/>
                  <a:gd name="T49" fmla="*/ 2147483646 h 182"/>
                  <a:gd name="T50" fmla="*/ 2147483646 w 171"/>
                  <a:gd name="T51" fmla="*/ 2147483646 h 182"/>
                  <a:gd name="T52" fmla="*/ 2147483646 w 171"/>
                  <a:gd name="T53" fmla="*/ 2147483646 h 182"/>
                  <a:gd name="T54" fmla="*/ 2147483646 w 171"/>
                  <a:gd name="T55" fmla="*/ 2147483646 h 182"/>
                  <a:gd name="T56" fmla="*/ 2147483646 w 171"/>
                  <a:gd name="T57" fmla="*/ 2147483646 h 182"/>
                  <a:gd name="T58" fmla="*/ 2147483646 w 171"/>
                  <a:gd name="T59" fmla="*/ 2147483646 h 182"/>
                  <a:gd name="T60" fmla="*/ 0 w 171"/>
                  <a:gd name="T61" fmla="*/ 2147483646 h 182"/>
                  <a:gd name="T62" fmla="*/ 0 w 171"/>
                  <a:gd name="T63" fmla="*/ 2147483646 h 182"/>
                  <a:gd name="T64" fmla="*/ 0 w 171"/>
                  <a:gd name="T65" fmla="*/ 2147483646 h 182"/>
                  <a:gd name="T66" fmla="*/ 0 w 171"/>
                  <a:gd name="T67" fmla="*/ 2147483646 h 182"/>
                  <a:gd name="T68" fmla="*/ 2147483646 w 171"/>
                  <a:gd name="T69" fmla="*/ 2147483646 h 182"/>
                  <a:gd name="T70" fmla="*/ 2147483646 w 171"/>
                  <a:gd name="T71" fmla="*/ 2147483646 h 182"/>
                  <a:gd name="T72" fmla="*/ 2147483646 w 171"/>
                  <a:gd name="T73" fmla="*/ 2147483646 h 182"/>
                  <a:gd name="T74" fmla="*/ 2147483646 w 171"/>
                  <a:gd name="T75" fmla="*/ 2147483646 h 182"/>
                  <a:gd name="T76" fmla="*/ 2147483646 w 171"/>
                  <a:gd name="T77" fmla="*/ 2147483646 h 182"/>
                  <a:gd name="T78" fmla="*/ 2147483646 w 171"/>
                  <a:gd name="T79" fmla="*/ 2147483646 h 182"/>
                  <a:gd name="T80" fmla="*/ 2147483646 w 171"/>
                  <a:gd name="T81" fmla="*/ 2147483646 h 182"/>
                  <a:gd name="T82" fmla="*/ 2147483646 w 171"/>
                  <a:gd name="T83" fmla="*/ 2147483646 h 182"/>
                  <a:gd name="T84" fmla="*/ 2147483646 w 171"/>
                  <a:gd name="T85" fmla="*/ 2147483646 h 182"/>
                  <a:gd name="T86" fmla="*/ 2147483646 w 171"/>
                  <a:gd name="T87" fmla="*/ 2147483646 h 182"/>
                  <a:gd name="T88" fmla="*/ 2147483646 w 171"/>
                  <a:gd name="T89" fmla="*/ 2147483646 h 182"/>
                  <a:gd name="T90" fmla="*/ 2147483646 w 171"/>
                  <a:gd name="T91" fmla="*/ 2147483646 h 182"/>
                  <a:gd name="T92" fmla="*/ 2147483646 w 171"/>
                  <a:gd name="T93" fmla="*/ 0 h 182"/>
                  <a:gd name="T94" fmla="*/ 2147483646 w 171"/>
                  <a:gd name="T95" fmla="*/ 0 h 182"/>
                  <a:gd name="T96" fmla="*/ 2147483646 w 171"/>
                  <a:gd name="T97" fmla="*/ 0 h 182"/>
                  <a:gd name="T98" fmla="*/ 2147483646 w 171"/>
                  <a:gd name="T99" fmla="*/ 0 h 182"/>
                  <a:gd name="T100" fmla="*/ 2147483646 w 171"/>
                  <a:gd name="T101" fmla="*/ 2147483646 h 182"/>
                  <a:gd name="T102" fmla="*/ 2147483646 w 171"/>
                  <a:gd name="T103" fmla="*/ 2147483646 h 182"/>
                  <a:gd name="T104" fmla="*/ 2147483646 w 171"/>
                  <a:gd name="T105" fmla="*/ 2147483646 h 182"/>
                  <a:gd name="T106" fmla="*/ 2147483646 w 171"/>
                  <a:gd name="T107" fmla="*/ 2147483646 h 1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1"/>
                  <a:gd name="T163" fmla="*/ 0 h 182"/>
                  <a:gd name="T164" fmla="*/ 171 w 171"/>
                  <a:gd name="T165" fmla="*/ 182 h 1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1" h="182">
                    <a:moveTo>
                      <a:pt x="171" y="9"/>
                    </a:moveTo>
                    <a:lnTo>
                      <a:pt x="169" y="9"/>
                    </a:lnTo>
                    <a:lnTo>
                      <a:pt x="167" y="7"/>
                    </a:lnTo>
                    <a:lnTo>
                      <a:pt x="164" y="7"/>
                    </a:lnTo>
                    <a:lnTo>
                      <a:pt x="160" y="7"/>
                    </a:lnTo>
                    <a:lnTo>
                      <a:pt x="156" y="6"/>
                    </a:lnTo>
                    <a:lnTo>
                      <a:pt x="150" y="6"/>
                    </a:lnTo>
                    <a:lnTo>
                      <a:pt x="143" y="6"/>
                    </a:lnTo>
                    <a:lnTo>
                      <a:pt x="137" y="7"/>
                    </a:lnTo>
                    <a:lnTo>
                      <a:pt x="133" y="7"/>
                    </a:lnTo>
                    <a:lnTo>
                      <a:pt x="129" y="9"/>
                    </a:lnTo>
                    <a:lnTo>
                      <a:pt x="124" y="9"/>
                    </a:lnTo>
                    <a:lnTo>
                      <a:pt x="122" y="11"/>
                    </a:lnTo>
                    <a:lnTo>
                      <a:pt x="116" y="13"/>
                    </a:lnTo>
                    <a:lnTo>
                      <a:pt x="112" y="13"/>
                    </a:lnTo>
                    <a:lnTo>
                      <a:pt x="109" y="17"/>
                    </a:lnTo>
                    <a:lnTo>
                      <a:pt x="105" y="19"/>
                    </a:lnTo>
                    <a:lnTo>
                      <a:pt x="99" y="21"/>
                    </a:lnTo>
                    <a:lnTo>
                      <a:pt x="95" y="25"/>
                    </a:lnTo>
                    <a:lnTo>
                      <a:pt x="91" y="26"/>
                    </a:lnTo>
                    <a:lnTo>
                      <a:pt x="88" y="30"/>
                    </a:lnTo>
                    <a:lnTo>
                      <a:pt x="84" y="34"/>
                    </a:lnTo>
                    <a:lnTo>
                      <a:pt x="80" y="38"/>
                    </a:lnTo>
                    <a:lnTo>
                      <a:pt x="74" y="42"/>
                    </a:lnTo>
                    <a:lnTo>
                      <a:pt x="72" y="47"/>
                    </a:lnTo>
                    <a:lnTo>
                      <a:pt x="67" y="51"/>
                    </a:lnTo>
                    <a:lnTo>
                      <a:pt x="63" y="57"/>
                    </a:lnTo>
                    <a:lnTo>
                      <a:pt x="61" y="63"/>
                    </a:lnTo>
                    <a:lnTo>
                      <a:pt x="57" y="68"/>
                    </a:lnTo>
                    <a:lnTo>
                      <a:pt x="53" y="74"/>
                    </a:lnTo>
                    <a:lnTo>
                      <a:pt x="52" y="78"/>
                    </a:lnTo>
                    <a:lnTo>
                      <a:pt x="48" y="84"/>
                    </a:lnTo>
                    <a:lnTo>
                      <a:pt x="46" y="91"/>
                    </a:lnTo>
                    <a:lnTo>
                      <a:pt x="44" y="95"/>
                    </a:lnTo>
                    <a:lnTo>
                      <a:pt x="42" y="101"/>
                    </a:lnTo>
                    <a:lnTo>
                      <a:pt x="40" y="106"/>
                    </a:lnTo>
                    <a:lnTo>
                      <a:pt x="38" y="112"/>
                    </a:lnTo>
                    <a:lnTo>
                      <a:pt x="36" y="116"/>
                    </a:lnTo>
                    <a:lnTo>
                      <a:pt x="36" y="122"/>
                    </a:lnTo>
                    <a:lnTo>
                      <a:pt x="34" y="127"/>
                    </a:lnTo>
                    <a:lnTo>
                      <a:pt x="34" y="133"/>
                    </a:lnTo>
                    <a:lnTo>
                      <a:pt x="33" y="137"/>
                    </a:lnTo>
                    <a:lnTo>
                      <a:pt x="31" y="142"/>
                    </a:lnTo>
                    <a:lnTo>
                      <a:pt x="31" y="146"/>
                    </a:lnTo>
                    <a:lnTo>
                      <a:pt x="31" y="150"/>
                    </a:lnTo>
                    <a:lnTo>
                      <a:pt x="29" y="154"/>
                    </a:lnTo>
                    <a:lnTo>
                      <a:pt x="29" y="158"/>
                    </a:lnTo>
                    <a:lnTo>
                      <a:pt x="29" y="161"/>
                    </a:lnTo>
                    <a:lnTo>
                      <a:pt x="29" y="165"/>
                    </a:lnTo>
                    <a:lnTo>
                      <a:pt x="29" y="171"/>
                    </a:lnTo>
                    <a:lnTo>
                      <a:pt x="29" y="175"/>
                    </a:lnTo>
                    <a:lnTo>
                      <a:pt x="29" y="179"/>
                    </a:lnTo>
                    <a:lnTo>
                      <a:pt x="8" y="182"/>
                    </a:lnTo>
                    <a:lnTo>
                      <a:pt x="6" y="180"/>
                    </a:lnTo>
                    <a:lnTo>
                      <a:pt x="6" y="179"/>
                    </a:lnTo>
                    <a:lnTo>
                      <a:pt x="4" y="175"/>
                    </a:lnTo>
                    <a:lnTo>
                      <a:pt x="4" y="169"/>
                    </a:lnTo>
                    <a:lnTo>
                      <a:pt x="2" y="165"/>
                    </a:lnTo>
                    <a:lnTo>
                      <a:pt x="2" y="161"/>
                    </a:lnTo>
                    <a:lnTo>
                      <a:pt x="0" y="158"/>
                    </a:lnTo>
                    <a:lnTo>
                      <a:pt x="0" y="154"/>
                    </a:lnTo>
                    <a:lnTo>
                      <a:pt x="0" y="150"/>
                    </a:lnTo>
                    <a:lnTo>
                      <a:pt x="0" y="144"/>
                    </a:lnTo>
                    <a:lnTo>
                      <a:pt x="0" y="141"/>
                    </a:lnTo>
                    <a:lnTo>
                      <a:pt x="0" y="135"/>
                    </a:lnTo>
                    <a:lnTo>
                      <a:pt x="0" y="129"/>
                    </a:lnTo>
                    <a:lnTo>
                      <a:pt x="0" y="125"/>
                    </a:lnTo>
                    <a:lnTo>
                      <a:pt x="0" y="120"/>
                    </a:lnTo>
                    <a:lnTo>
                      <a:pt x="2" y="114"/>
                    </a:lnTo>
                    <a:lnTo>
                      <a:pt x="2" y="108"/>
                    </a:lnTo>
                    <a:lnTo>
                      <a:pt x="4" y="101"/>
                    </a:lnTo>
                    <a:lnTo>
                      <a:pt x="6" y="95"/>
                    </a:lnTo>
                    <a:lnTo>
                      <a:pt x="8" y="89"/>
                    </a:lnTo>
                    <a:lnTo>
                      <a:pt x="10" y="84"/>
                    </a:lnTo>
                    <a:lnTo>
                      <a:pt x="14" y="78"/>
                    </a:lnTo>
                    <a:lnTo>
                      <a:pt x="15" y="70"/>
                    </a:lnTo>
                    <a:lnTo>
                      <a:pt x="19" y="64"/>
                    </a:lnTo>
                    <a:lnTo>
                      <a:pt x="23" y="59"/>
                    </a:lnTo>
                    <a:lnTo>
                      <a:pt x="29" y="53"/>
                    </a:lnTo>
                    <a:lnTo>
                      <a:pt x="34" y="45"/>
                    </a:lnTo>
                    <a:lnTo>
                      <a:pt x="40" y="40"/>
                    </a:lnTo>
                    <a:lnTo>
                      <a:pt x="46" y="34"/>
                    </a:lnTo>
                    <a:lnTo>
                      <a:pt x="52" y="28"/>
                    </a:lnTo>
                    <a:lnTo>
                      <a:pt x="55" y="23"/>
                    </a:lnTo>
                    <a:lnTo>
                      <a:pt x="63" y="19"/>
                    </a:lnTo>
                    <a:lnTo>
                      <a:pt x="67" y="15"/>
                    </a:lnTo>
                    <a:lnTo>
                      <a:pt x="72" y="11"/>
                    </a:lnTo>
                    <a:lnTo>
                      <a:pt x="78" y="9"/>
                    </a:lnTo>
                    <a:lnTo>
                      <a:pt x="86" y="6"/>
                    </a:lnTo>
                    <a:lnTo>
                      <a:pt x="90" y="4"/>
                    </a:lnTo>
                    <a:lnTo>
                      <a:pt x="95" y="2"/>
                    </a:lnTo>
                    <a:lnTo>
                      <a:pt x="101" y="2"/>
                    </a:lnTo>
                    <a:lnTo>
                      <a:pt x="107" y="0"/>
                    </a:lnTo>
                    <a:lnTo>
                      <a:pt x="112" y="0"/>
                    </a:lnTo>
                    <a:lnTo>
                      <a:pt x="116" y="0"/>
                    </a:lnTo>
                    <a:lnTo>
                      <a:pt x="122" y="0"/>
                    </a:lnTo>
                    <a:lnTo>
                      <a:pt x="128" y="0"/>
                    </a:lnTo>
                    <a:lnTo>
                      <a:pt x="131" y="0"/>
                    </a:lnTo>
                    <a:lnTo>
                      <a:pt x="135" y="0"/>
                    </a:lnTo>
                    <a:lnTo>
                      <a:pt x="139" y="0"/>
                    </a:lnTo>
                    <a:lnTo>
                      <a:pt x="145" y="2"/>
                    </a:lnTo>
                    <a:lnTo>
                      <a:pt x="150" y="2"/>
                    </a:lnTo>
                    <a:lnTo>
                      <a:pt x="158" y="4"/>
                    </a:lnTo>
                    <a:lnTo>
                      <a:pt x="164" y="6"/>
                    </a:lnTo>
                    <a:lnTo>
                      <a:pt x="167" y="7"/>
                    </a:lnTo>
                    <a:lnTo>
                      <a:pt x="169" y="9"/>
                    </a:lnTo>
                    <a:lnTo>
                      <a:pt x="171" y="9"/>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18" name="Freeform 61"/>
              <p:cNvSpPr>
                <a:spLocks/>
              </p:cNvSpPr>
              <p:nvPr/>
            </p:nvSpPr>
            <p:spPr bwMode="auto">
              <a:xfrm>
                <a:off x="1838326" y="3695701"/>
                <a:ext cx="207963" cy="452438"/>
              </a:xfrm>
              <a:custGeom>
                <a:avLst/>
                <a:gdLst>
                  <a:gd name="T0" fmla="*/ 2147483646 w 262"/>
                  <a:gd name="T1" fmla="*/ 2147483646 h 571"/>
                  <a:gd name="T2" fmla="*/ 2147483646 w 262"/>
                  <a:gd name="T3" fmla="*/ 2147483646 h 571"/>
                  <a:gd name="T4" fmla="*/ 2147483646 w 262"/>
                  <a:gd name="T5" fmla="*/ 2147483646 h 571"/>
                  <a:gd name="T6" fmla="*/ 2147483646 w 262"/>
                  <a:gd name="T7" fmla="*/ 2147483646 h 571"/>
                  <a:gd name="T8" fmla="*/ 2147483646 w 262"/>
                  <a:gd name="T9" fmla="*/ 2147483646 h 571"/>
                  <a:gd name="T10" fmla="*/ 2147483646 w 262"/>
                  <a:gd name="T11" fmla="*/ 2147483646 h 571"/>
                  <a:gd name="T12" fmla="*/ 2147483646 w 262"/>
                  <a:gd name="T13" fmla="*/ 2147483646 h 571"/>
                  <a:gd name="T14" fmla="*/ 2147483646 w 262"/>
                  <a:gd name="T15" fmla="*/ 2147483646 h 571"/>
                  <a:gd name="T16" fmla="*/ 2147483646 w 262"/>
                  <a:gd name="T17" fmla="*/ 2147483646 h 571"/>
                  <a:gd name="T18" fmla="*/ 2147483646 w 262"/>
                  <a:gd name="T19" fmla="*/ 2147483646 h 571"/>
                  <a:gd name="T20" fmla="*/ 2147483646 w 262"/>
                  <a:gd name="T21" fmla="*/ 2147483646 h 571"/>
                  <a:gd name="T22" fmla="*/ 2147483646 w 262"/>
                  <a:gd name="T23" fmla="*/ 2147483646 h 571"/>
                  <a:gd name="T24" fmla="*/ 2147483646 w 262"/>
                  <a:gd name="T25" fmla="*/ 2147483646 h 571"/>
                  <a:gd name="T26" fmla="*/ 2147483646 w 262"/>
                  <a:gd name="T27" fmla="*/ 2147483646 h 571"/>
                  <a:gd name="T28" fmla="*/ 2147483646 w 262"/>
                  <a:gd name="T29" fmla="*/ 2147483646 h 571"/>
                  <a:gd name="T30" fmla="*/ 2147483646 w 262"/>
                  <a:gd name="T31" fmla="*/ 2147483646 h 571"/>
                  <a:gd name="T32" fmla="*/ 2147483646 w 262"/>
                  <a:gd name="T33" fmla="*/ 2147483646 h 571"/>
                  <a:gd name="T34" fmla="*/ 2147483646 w 262"/>
                  <a:gd name="T35" fmla="*/ 2147483646 h 571"/>
                  <a:gd name="T36" fmla="*/ 2147483646 w 262"/>
                  <a:gd name="T37" fmla="*/ 2147483646 h 571"/>
                  <a:gd name="T38" fmla="*/ 2147483646 w 262"/>
                  <a:gd name="T39" fmla="*/ 2147483646 h 571"/>
                  <a:gd name="T40" fmla="*/ 2147483646 w 262"/>
                  <a:gd name="T41" fmla="*/ 2147483646 h 571"/>
                  <a:gd name="T42" fmla="*/ 2147483646 w 262"/>
                  <a:gd name="T43" fmla="*/ 2147483646 h 571"/>
                  <a:gd name="T44" fmla="*/ 2147483646 w 262"/>
                  <a:gd name="T45" fmla="*/ 2147483646 h 571"/>
                  <a:gd name="T46" fmla="*/ 2147483646 w 262"/>
                  <a:gd name="T47" fmla="*/ 2147483646 h 571"/>
                  <a:gd name="T48" fmla="*/ 2147483646 w 262"/>
                  <a:gd name="T49" fmla="*/ 2147483646 h 571"/>
                  <a:gd name="T50" fmla="*/ 2147483646 w 262"/>
                  <a:gd name="T51" fmla="*/ 2147483646 h 571"/>
                  <a:gd name="T52" fmla="*/ 2147483646 w 262"/>
                  <a:gd name="T53" fmla="*/ 2147483646 h 571"/>
                  <a:gd name="T54" fmla="*/ 2147483646 w 262"/>
                  <a:gd name="T55" fmla="*/ 2147483646 h 571"/>
                  <a:gd name="T56" fmla="*/ 2147483646 w 262"/>
                  <a:gd name="T57" fmla="*/ 2147483646 h 571"/>
                  <a:gd name="T58" fmla="*/ 2147483646 w 262"/>
                  <a:gd name="T59" fmla="*/ 2147483646 h 571"/>
                  <a:gd name="T60" fmla="*/ 2147483646 w 262"/>
                  <a:gd name="T61" fmla="*/ 2147483646 h 571"/>
                  <a:gd name="T62" fmla="*/ 2147483646 w 262"/>
                  <a:gd name="T63" fmla="*/ 2147483646 h 571"/>
                  <a:gd name="T64" fmla="*/ 2147483646 w 262"/>
                  <a:gd name="T65" fmla="*/ 2147483646 h 571"/>
                  <a:gd name="T66" fmla="*/ 0 w 262"/>
                  <a:gd name="T67" fmla="*/ 2147483646 h 571"/>
                  <a:gd name="T68" fmla="*/ 2147483646 w 262"/>
                  <a:gd name="T69" fmla="*/ 2147483646 h 571"/>
                  <a:gd name="T70" fmla="*/ 2147483646 w 262"/>
                  <a:gd name="T71" fmla="*/ 2147483646 h 571"/>
                  <a:gd name="T72" fmla="*/ 2147483646 w 262"/>
                  <a:gd name="T73" fmla="*/ 2147483646 h 571"/>
                  <a:gd name="T74" fmla="*/ 2147483646 w 262"/>
                  <a:gd name="T75" fmla="*/ 2147483646 h 571"/>
                  <a:gd name="T76" fmla="*/ 2147483646 w 262"/>
                  <a:gd name="T77" fmla="*/ 2147483646 h 571"/>
                  <a:gd name="T78" fmla="*/ 2147483646 w 262"/>
                  <a:gd name="T79" fmla="*/ 2147483646 h 571"/>
                  <a:gd name="T80" fmla="*/ 2147483646 w 262"/>
                  <a:gd name="T81" fmla="*/ 2147483646 h 571"/>
                  <a:gd name="T82" fmla="*/ 2147483646 w 262"/>
                  <a:gd name="T83" fmla="*/ 2147483646 h 571"/>
                  <a:gd name="T84" fmla="*/ 2147483646 w 262"/>
                  <a:gd name="T85" fmla="*/ 2147483646 h 571"/>
                  <a:gd name="T86" fmla="*/ 2147483646 w 262"/>
                  <a:gd name="T87" fmla="*/ 2147483646 h 571"/>
                  <a:gd name="T88" fmla="*/ 2147483646 w 262"/>
                  <a:gd name="T89" fmla="*/ 2147483646 h 571"/>
                  <a:gd name="T90" fmla="*/ 2147483646 w 262"/>
                  <a:gd name="T91" fmla="*/ 2147483646 h 571"/>
                  <a:gd name="T92" fmla="*/ 2147483646 w 262"/>
                  <a:gd name="T93" fmla="*/ 2147483646 h 571"/>
                  <a:gd name="T94" fmla="*/ 2147483646 w 262"/>
                  <a:gd name="T95" fmla="*/ 2147483646 h 571"/>
                  <a:gd name="T96" fmla="*/ 2147483646 w 262"/>
                  <a:gd name="T97" fmla="*/ 2147483646 h 571"/>
                  <a:gd name="T98" fmla="*/ 2147483646 w 262"/>
                  <a:gd name="T99" fmla="*/ 2147483646 h 571"/>
                  <a:gd name="T100" fmla="*/ 2147483646 w 262"/>
                  <a:gd name="T101" fmla="*/ 2147483646 h 571"/>
                  <a:gd name="T102" fmla="*/ 2147483646 w 262"/>
                  <a:gd name="T103" fmla="*/ 2147483646 h 571"/>
                  <a:gd name="T104" fmla="*/ 2147483646 w 262"/>
                  <a:gd name="T105" fmla="*/ 2147483646 h 571"/>
                  <a:gd name="T106" fmla="*/ 2147483646 w 262"/>
                  <a:gd name="T107" fmla="*/ 2147483646 h 571"/>
                  <a:gd name="T108" fmla="*/ 2147483646 w 262"/>
                  <a:gd name="T109" fmla="*/ 2147483646 h 571"/>
                  <a:gd name="T110" fmla="*/ 2147483646 w 262"/>
                  <a:gd name="T111" fmla="*/ 2147483646 h 571"/>
                  <a:gd name="T112" fmla="*/ 2147483646 w 262"/>
                  <a:gd name="T113" fmla="*/ 2147483646 h 571"/>
                  <a:gd name="T114" fmla="*/ 2147483646 w 262"/>
                  <a:gd name="T115" fmla="*/ 2147483646 h 571"/>
                  <a:gd name="T116" fmla="*/ 2147483646 w 262"/>
                  <a:gd name="T117" fmla="*/ 2147483646 h 571"/>
                  <a:gd name="T118" fmla="*/ 2147483646 w 262"/>
                  <a:gd name="T119" fmla="*/ 2147483646 h 571"/>
                  <a:gd name="T120" fmla="*/ 2147483646 w 262"/>
                  <a:gd name="T121" fmla="*/ 0 h 5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2"/>
                  <a:gd name="T184" fmla="*/ 0 h 571"/>
                  <a:gd name="T185" fmla="*/ 262 w 262"/>
                  <a:gd name="T186" fmla="*/ 571 h 57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2" h="571">
                    <a:moveTo>
                      <a:pt x="262" y="0"/>
                    </a:moveTo>
                    <a:lnTo>
                      <a:pt x="262" y="0"/>
                    </a:lnTo>
                    <a:lnTo>
                      <a:pt x="260" y="2"/>
                    </a:lnTo>
                    <a:lnTo>
                      <a:pt x="254" y="4"/>
                    </a:lnTo>
                    <a:lnTo>
                      <a:pt x="249" y="8"/>
                    </a:lnTo>
                    <a:lnTo>
                      <a:pt x="243" y="12"/>
                    </a:lnTo>
                    <a:lnTo>
                      <a:pt x="235" y="20"/>
                    </a:lnTo>
                    <a:lnTo>
                      <a:pt x="231" y="21"/>
                    </a:lnTo>
                    <a:lnTo>
                      <a:pt x="228" y="25"/>
                    </a:lnTo>
                    <a:lnTo>
                      <a:pt x="224" y="29"/>
                    </a:lnTo>
                    <a:lnTo>
                      <a:pt x="220" y="35"/>
                    </a:lnTo>
                    <a:lnTo>
                      <a:pt x="214" y="39"/>
                    </a:lnTo>
                    <a:lnTo>
                      <a:pt x="211" y="42"/>
                    </a:lnTo>
                    <a:lnTo>
                      <a:pt x="205" y="48"/>
                    </a:lnTo>
                    <a:lnTo>
                      <a:pt x="201" y="54"/>
                    </a:lnTo>
                    <a:lnTo>
                      <a:pt x="195" y="58"/>
                    </a:lnTo>
                    <a:lnTo>
                      <a:pt x="192" y="65"/>
                    </a:lnTo>
                    <a:lnTo>
                      <a:pt x="186" y="71"/>
                    </a:lnTo>
                    <a:lnTo>
                      <a:pt x="180" y="78"/>
                    </a:lnTo>
                    <a:lnTo>
                      <a:pt x="176" y="84"/>
                    </a:lnTo>
                    <a:lnTo>
                      <a:pt x="171" y="92"/>
                    </a:lnTo>
                    <a:lnTo>
                      <a:pt x="169" y="96"/>
                    </a:lnTo>
                    <a:lnTo>
                      <a:pt x="167" y="97"/>
                    </a:lnTo>
                    <a:lnTo>
                      <a:pt x="165" y="103"/>
                    </a:lnTo>
                    <a:lnTo>
                      <a:pt x="163" y="107"/>
                    </a:lnTo>
                    <a:lnTo>
                      <a:pt x="161" y="111"/>
                    </a:lnTo>
                    <a:lnTo>
                      <a:pt x="159" y="115"/>
                    </a:lnTo>
                    <a:lnTo>
                      <a:pt x="155" y="118"/>
                    </a:lnTo>
                    <a:lnTo>
                      <a:pt x="154" y="122"/>
                    </a:lnTo>
                    <a:lnTo>
                      <a:pt x="152" y="128"/>
                    </a:lnTo>
                    <a:lnTo>
                      <a:pt x="152" y="132"/>
                    </a:lnTo>
                    <a:lnTo>
                      <a:pt x="150" y="137"/>
                    </a:lnTo>
                    <a:lnTo>
                      <a:pt x="148" y="141"/>
                    </a:lnTo>
                    <a:lnTo>
                      <a:pt x="146" y="145"/>
                    </a:lnTo>
                    <a:lnTo>
                      <a:pt x="144" y="149"/>
                    </a:lnTo>
                    <a:lnTo>
                      <a:pt x="142" y="154"/>
                    </a:lnTo>
                    <a:lnTo>
                      <a:pt x="140" y="158"/>
                    </a:lnTo>
                    <a:lnTo>
                      <a:pt x="138" y="162"/>
                    </a:lnTo>
                    <a:lnTo>
                      <a:pt x="138" y="168"/>
                    </a:lnTo>
                    <a:lnTo>
                      <a:pt x="136" y="172"/>
                    </a:lnTo>
                    <a:lnTo>
                      <a:pt x="136" y="175"/>
                    </a:lnTo>
                    <a:lnTo>
                      <a:pt x="135" y="179"/>
                    </a:lnTo>
                    <a:lnTo>
                      <a:pt x="133" y="185"/>
                    </a:lnTo>
                    <a:lnTo>
                      <a:pt x="131" y="189"/>
                    </a:lnTo>
                    <a:lnTo>
                      <a:pt x="131" y="192"/>
                    </a:lnTo>
                    <a:lnTo>
                      <a:pt x="131" y="196"/>
                    </a:lnTo>
                    <a:lnTo>
                      <a:pt x="129" y="202"/>
                    </a:lnTo>
                    <a:lnTo>
                      <a:pt x="129" y="206"/>
                    </a:lnTo>
                    <a:lnTo>
                      <a:pt x="129" y="212"/>
                    </a:lnTo>
                    <a:lnTo>
                      <a:pt x="127" y="215"/>
                    </a:lnTo>
                    <a:lnTo>
                      <a:pt x="127" y="219"/>
                    </a:lnTo>
                    <a:lnTo>
                      <a:pt x="127" y="223"/>
                    </a:lnTo>
                    <a:lnTo>
                      <a:pt x="127" y="227"/>
                    </a:lnTo>
                    <a:lnTo>
                      <a:pt x="125" y="231"/>
                    </a:lnTo>
                    <a:lnTo>
                      <a:pt x="125" y="236"/>
                    </a:lnTo>
                    <a:lnTo>
                      <a:pt x="125" y="240"/>
                    </a:lnTo>
                    <a:lnTo>
                      <a:pt x="125" y="244"/>
                    </a:lnTo>
                    <a:lnTo>
                      <a:pt x="125" y="248"/>
                    </a:lnTo>
                    <a:lnTo>
                      <a:pt x="125" y="253"/>
                    </a:lnTo>
                    <a:lnTo>
                      <a:pt x="125" y="257"/>
                    </a:lnTo>
                    <a:lnTo>
                      <a:pt x="125" y="261"/>
                    </a:lnTo>
                    <a:lnTo>
                      <a:pt x="125" y="265"/>
                    </a:lnTo>
                    <a:lnTo>
                      <a:pt x="125" y="270"/>
                    </a:lnTo>
                    <a:lnTo>
                      <a:pt x="125" y="274"/>
                    </a:lnTo>
                    <a:lnTo>
                      <a:pt x="127" y="278"/>
                    </a:lnTo>
                    <a:lnTo>
                      <a:pt x="127" y="282"/>
                    </a:lnTo>
                    <a:lnTo>
                      <a:pt x="127" y="288"/>
                    </a:lnTo>
                    <a:lnTo>
                      <a:pt x="127" y="291"/>
                    </a:lnTo>
                    <a:lnTo>
                      <a:pt x="127" y="295"/>
                    </a:lnTo>
                    <a:lnTo>
                      <a:pt x="127" y="299"/>
                    </a:lnTo>
                    <a:lnTo>
                      <a:pt x="127" y="303"/>
                    </a:lnTo>
                    <a:lnTo>
                      <a:pt x="127" y="307"/>
                    </a:lnTo>
                    <a:lnTo>
                      <a:pt x="129" y="312"/>
                    </a:lnTo>
                    <a:lnTo>
                      <a:pt x="129" y="316"/>
                    </a:lnTo>
                    <a:lnTo>
                      <a:pt x="129" y="320"/>
                    </a:lnTo>
                    <a:lnTo>
                      <a:pt x="129" y="324"/>
                    </a:lnTo>
                    <a:lnTo>
                      <a:pt x="129" y="329"/>
                    </a:lnTo>
                    <a:lnTo>
                      <a:pt x="129" y="333"/>
                    </a:lnTo>
                    <a:lnTo>
                      <a:pt x="131" y="337"/>
                    </a:lnTo>
                    <a:lnTo>
                      <a:pt x="131" y="341"/>
                    </a:lnTo>
                    <a:lnTo>
                      <a:pt x="133" y="346"/>
                    </a:lnTo>
                    <a:lnTo>
                      <a:pt x="133" y="350"/>
                    </a:lnTo>
                    <a:lnTo>
                      <a:pt x="133" y="354"/>
                    </a:lnTo>
                    <a:lnTo>
                      <a:pt x="135" y="358"/>
                    </a:lnTo>
                    <a:lnTo>
                      <a:pt x="135" y="364"/>
                    </a:lnTo>
                    <a:lnTo>
                      <a:pt x="135" y="367"/>
                    </a:lnTo>
                    <a:lnTo>
                      <a:pt x="136" y="371"/>
                    </a:lnTo>
                    <a:lnTo>
                      <a:pt x="136" y="375"/>
                    </a:lnTo>
                    <a:lnTo>
                      <a:pt x="138" y="381"/>
                    </a:lnTo>
                    <a:lnTo>
                      <a:pt x="138" y="384"/>
                    </a:lnTo>
                    <a:lnTo>
                      <a:pt x="138" y="388"/>
                    </a:lnTo>
                    <a:lnTo>
                      <a:pt x="138" y="392"/>
                    </a:lnTo>
                    <a:lnTo>
                      <a:pt x="140" y="398"/>
                    </a:lnTo>
                    <a:lnTo>
                      <a:pt x="142" y="402"/>
                    </a:lnTo>
                    <a:lnTo>
                      <a:pt x="142" y="405"/>
                    </a:lnTo>
                    <a:lnTo>
                      <a:pt x="142" y="411"/>
                    </a:lnTo>
                    <a:lnTo>
                      <a:pt x="144" y="415"/>
                    </a:lnTo>
                    <a:lnTo>
                      <a:pt x="144" y="421"/>
                    </a:lnTo>
                    <a:lnTo>
                      <a:pt x="144" y="424"/>
                    </a:lnTo>
                    <a:lnTo>
                      <a:pt x="144" y="428"/>
                    </a:lnTo>
                    <a:lnTo>
                      <a:pt x="146" y="432"/>
                    </a:lnTo>
                    <a:lnTo>
                      <a:pt x="146" y="436"/>
                    </a:lnTo>
                    <a:lnTo>
                      <a:pt x="146" y="440"/>
                    </a:lnTo>
                    <a:lnTo>
                      <a:pt x="146" y="443"/>
                    </a:lnTo>
                    <a:lnTo>
                      <a:pt x="146" y="447"/>
                    </a:lnTo>
                    <a:lnTo>
                      <a:pt x="146" y="453"/>
                    </a:lnTo>
                    <a:lnTo>
                      <a:pt x="146" y="461"/>
                    </a:lnTo>
                    <a:lnTo>
                      <a:pt x="146" y="466"/>
                    </a:lnTo>
                    <a:lnTo>
                      <a:pt x="144" y="472"/>
                    </a:lnTo>
                    <a:lnTo>
                      <a:pt x="144" y="478"/>
                    </a:lnTo>
                    <a:lnTo>
                      <a:pt x="142" y="483"/>
                    </a:lnTo>
                    <a:lnTo>
                      <a:pt x="140" y="487"/>
                    </a:lnTo>
                    <a:lnTo>
                      <a:pt x="138" y="493"/>
                    </a:lnTo>
                    <a:lnTo>
                      <a:pt x="136" y="495"/>
                    </a:lnTo>
                    <a:lnTo>
                      <a:pt x="135" y="500"/>
                    </a:lnTo>
                    <a:lnTo>
                      <a:pt x="131" y="502"/>
                    </a:lnTo>
                    <a:lnTo>
                      <a:pt x="129" y="506"/>
                    </a:lnTo>
                    <a:lnTo>
                      <a:pt x="125" y="508"/>
                    </a:lnTo>
                    <a:lnTo>
                      <a:pt x="121" y="510"/>
                    </a:lnTo>
                    <a:lnTo>
                      <a:pt x="117" y="512"/>
                    </a:lnTo>
                    <a:lnTo>
                      <a:pt x="116" y="514"/>
                    </a:lnTo>
                    <a:lnTo>
                      <a:pt x="110" y="516"/>
                    </a:lnTo>
                    <a:lnTo>
                      <a:pt x="106" y="518"/>
                    </a:lnTo>
                    <a:lnTo>
                      <a:pt x="102" y="518"/>
                    </a:lnTo>
                    <a:lnTo>
                      <a:pt x="98" y="519"/>
                    </a:lnTo>
                    <a:lnTo>
                      <a:pt x="95" y="519"/>
                    </a:lnTo>
                    <a:lnTo>
                      <a:pt x="91" y="519"/>
                    </a:lnTo>
                    <a:lnTo>
                      <a:pt x="85" y="518"/>
                    </a:lnTo>
                    <a:lnTo>
                      <a:pt x="81" y="518"/>
                    </a:lnTo>
                    <a:lnTo>
                      <a:pt x="76" y="518"/>
                    </a:lnTo>
                    <a:lnTo>
                      <a:pt x="70" y="516"/>
                    </a:lnTo>
                    <a:lnTo>
                      <a:pt x="66" y="516"/>
                    </a:lnTo>
                    <a:lnTo>
                      <a:pt x="60" y="514"/>
                    </a:lnTo>
                    <a:lnTo>
                      <a:pt x="55" y="512"/>
                    </a:lnTo>
                    <a:lnTo>
                      <a:pt x="51" y="512"/>
                    </a:lnTo>
                    <a:lnTo>
                      <a:pt x="47" y="510"/>
                    </a:lnTo>
                    <a:lnTo>
                      <a:pt x="43" y="508"/>
                    </a:lnTo>
                    <a:lnTo>
                      <a:pt x="38" y="502"/>
                    </a:lnTo>
                    <a:lnTo>
                      <a:pt x="36" y="499"/>
                    </a:lnTo>
                    <a:lnTo>
                      <a:pt x="34" y="493"/>
                    </a:lnTo>
                    <a:lnTo>
                      <a:pt x="34" y="489"/>
                    </a:lnTo>
                    <a:lnTo>
                      <a:pt x="36" y="483"/>
                    </a:lnTo>
                    <a:lnTo>
                      <a:pt x="38" y="478"/>
                    </a:lnTo>
                    <a:lnTo>
                      <a:pt x="41" y="472"/>
                    </a:lnTo>
                    <a:lnTo>
                      <a:pt x="45" y="468"/>
                    </a:lnTo>
                    <a:lnTo>
                      <a:pt x="51" y="464"/>
                    </a:lnTo>
                    <a:lnTo>
                      <a:pt x="57" y="461"/>
                    </a:lnTo>
                    <a:lnTo>
                      <a:pt x="62" y="457"/>
                    </a:lnTo>
                    <a:lnTo>
                      <a:pt x="68" y="455"/>
                    </a:lnTo>
                    <a:lnTo>
                      <a:pt x="76" y="455"/>
                    </a:lnTo>
                    <a:lnTo>
                      <a:pt x="81" y="455"/>
                    </a:lnTo>
                    <a:lnTo>
                      <a:pt x="68" y="434"/>
                    </a:lnTo>
                    <a:lnTo>
                      <a:pt x="66" y="434"/>
                    </a:lnTo>
                    <a:lnTo>
                      <a:pt x="60" y="434"/>
                    </a:lnTo>
                    <a:lnTo>
                      <a:pt x="57" y="436"/>
                    </a:lnTo>
                    <a:lnTo>
                      <a:pt x="51" y="438"/>
                    </a:lnTo>
                    <a:lnTo>
                      <a:pt x="45" y="440"/>
                    </a:lnTo>
                    <a:lnTo>
                      <a:pt x="40" y="442"/>
                    </a:lnTo>
                    <a:lnTo>
                      <a:pt x="34" y="445"/>
                    </a:lnTo>
                    <a:lnTo>
                      <a:pt x="26" y="449"/>
                    </a:lnTo>
                    <a:lnTo>
                      <a:pt x="21" y="453"/>
                    </a:lnTo>
                    <a:lnTo>
                      <a:pt x="15" y="459"/>
                    </a:lnTo>
                    <a:lnTo>
                      <a:pt x="9" y="464"/>
                    </a:lnTo>
                    <a:lnTo>
                      <a:pt x="7" y="468"/>
                    </a:lnTo>
                    <a:lnTo>
                      <a:pt x="5" y="470"/>
                    </a:lnTo>
                    <a:lnTo>
                      <a:pt x="2" y="476"/>
                    </a:lnTo>
                    <a:lnTo>
                      <a:pt x="2" y="480"/>
                    </a:lnTo>
                    <a:lnTo>
                      <a:pt x="0" y="483"/>
                    </a:lnTo>
                    <a:lnTo>
                      <a:pt x="0" y="487"/>
                    </a:lnTo>
                    <a:lnTo>
                      <a:pt x="0" y="493"/>
                    </a:lnTo>
                    <a:lnTo>
                      <a:pt x="0" y="499"/>
                    </a:lnTo>
                    <a:lnTo>
                      <a:pt x="0" y="502"/>
                    </a:lnTo>
                    <a:lnTo>
                      <a:pt x="0" y="506"/>
                    </a:lnTo>
                    <a:lnTo>
                      <a:pt x="2" y="512"/>
                    </a:lnTo>
                    <a:lnTo>
                      <a:pt x="3" y="518"/>
                    </a:lnTo>
                    <a:lnTo>
                      <a:pt x="5" y="521"/>
                    </a:lnTo>
                    <a:lnTo>
                      <a:pt x="7" y="525"/>
                    </a:lnTo>
                    <a:lnTo>
                      <a:pt x="11" y="531"/>
                    </a:lnTo>
                    <a:lnTo>
                      <a:pt x="15" y="535"/>
                    </a:lnTo>
                    <a:lnTo>
                      <a:pt x="17" y="538"/>
                    </a:lnTo>
                    <a:lnTo>
                      <a:pt x="21" y="542"/>
                    </a:lnTo>
                    <a:lnTo>
                      <a:pt x="24" y="546"/>
                    </a:lnTo>
                    <a:lnTo>
                      <a:pt x="30" y="550"/>
                    </a:lnTo>
                    <a:lnTo>
                      <a:pt x="34" y="554"/>
                    </a:lnTo>
                    <a:lnTo>
                      <a:pt x="38" y="556"/>
                    </a:lnTo>
                    <a:lnTo>
                      <a:pt x="43" y="559"/>
                    </a:lnTo>
                    <a:lnTo>
                      <a:pt x="49" y="563"/>
                    </a:lnTo>
                    <a:lnTo>
                      <a:pt x="55" y="563"/>
                    </a:lnTo>
                    <a:lnTo>
                      <a:pt x="60" y="565"/>
                    </a:lnTo>
                    <a:lnTo>
                      <a:pt x="66" y="567"/>
                    </a:lnTo>
                    <a:lnTo>
                      <a:pt x="72" y="569"/>
                    </a:lnTo>
                    <a:lnTo>
                      <a:pt x="78" y="569"/>
                    </a:lnTo>
                    <a:lnTo>
                      <a:pt x="83" y="571"/>
                    </a:lnTo>
                    <a:lnTo>
                      <a:pt x="89" y="571"/>
                    </a:lnTo>
                    <a:lnTo>
                      <a:pt x="95" y="571"/>
                    </a:lnTo>
                    <a:lnTo>
                      <a:pt x="100" y="569"/>
                    </a:lnTo>
                    <a:lnTo>
                      <a:pt x="108" y="567"/>
                    </a:lnTo>
                    <a:lnTo>
                      <a:pt x="114" y="565"/>
                    </a:lnTo>
                    <a:lnTo>
                      <a:pt x="119" y="563"/>
                    </a:lnTo>
                    <a:lnTo>
                      <a:pt x="125" y="559"/>
                    </a:lnTo>
                    <a:lnTo>
                      <a:pt x="131" y="557"/>
                    </a:lnTo>
                    <a:lnTo>
                      <a:pt x="138" y="554"/>
                    </a:lnTo>
                    <a:lnTo>
                      <a:pt x="144" y="548"/>
                    </a:lnTo>
                    <a:lnTo>
                      <a:pt x="150" y="544"/>
                    </a:lnTo>
                    <a:lnTo>
                      <a:pt x="154" y="538"/>
                    </a:lnTo>
                    <a:lnTo>
                      <a:pt x="159" y="533"/>
                    </a:lnTo>
                    <a:lnTo>
                      <a:pt x="163" y="527"/>
                    </a:lnTo>
                    <a:lnTo>
                      <a:pt x="167" y="521"/>
                    </a:lnTo>
                    <a:lnTo>
                      <a:pt x="169" y="516"/>
                    </a:lnTo>
                    <a:lnTo>
                      <a:pt x="173" y="510"/>
                    </a:lnTo>
                    <a:lnTo>
                      <a:pt x="176" y="504"/>
                    </a:lnTo>
                    <a:lnTo>
                      <a:pt x="176" y="497"/>
                    </a:lnTo>
                    <a:lnTo>
                      <a:pt x="178" y="491"/>
                    </a:lnTo>
                    <a:lnTo>
                      <a:pt x="180" y="485"/>
                    </a:lnTo>
                    <a:lnTo>
                      <a:pt x="182" y="480"/>
                    </a:lnTo>
                    <a:lnTo>
                      <a:pt x="184" y="472"/>
                    </a:lnTo>
                    <a:lnTo>
                      <a:pt x="184" y="464"/>
                    </a:lnTo>
                    <a:lnTo>
                      <a:pt x="186" y="457"/>
                    </a:lnTo>
                    <a:lnTo>
                      <a:pt x="186" y="449"/>
                    </a:lnTo>
                    <a:lnTo>
                      <a:pt x="186" y="445"/>
                    </a:lnTo>
                    <a:lnTo>
                      <a:pt x="186" y="442"/>
                    </a:lnTo>
                    <a:lnTo>
                      <a:pt x="186" y="438"/>
                    </a:lnTo>
                    <a:lnTo>
                      <a:pt x="186" y="434"/>
                    </a:lnTo>
                    <a:lnTo>
                      <a:pt x="184" y="428"/>
                    </a:lnTo>
                    <a:lnTo>
                      <a:pt x="184" y="424"/>
                    </a:lnTo>
                    <a:lnTo>
                      <a:pt x="184" y="421"/>
                    </a:lnTo>
                    <a:lnTo>
                      <a:pt x="184" y="417"/>
                    </a:lnTo>
                    <a:lnTo>
                      <a:pt x="184" y="411"/>
                    </a:lnTo>
                    <a:lnTo>
                      <a:pt x="184" y="407"/>
                    </a:lnTo>
                    <a:lnTo>
                      <a:pt x="184" y="402"/>
                    </a:lnTo>
                    <a:lnTo>
                      <a:pt x="184" y="398"/>
                    </a:lnTo>
                    <a:lnTo>
                      <a:pt x="182" y="394"/>
                    </a:lnTo>
                    <a:lnTo>
                      <a:pt x="182" y="388"/>
                    </a:lnTo>
                    <a:lnTo>
                      <a:pt x="182" y="384"/>
                    </a:lnTo>
                    <a:lnTo>
                      <a:pt x="182" y="379"/>
                    </a:lnTo>
                    <a:lnTo>
                      <a:pt x="180" y="373"/>
                    </a:lnTo>
                    <a:lnTo>
                      <a:pt x="180" y="367"/>
                    </a:lnTo>
                    <a:lnTo>
                      <a:pt x="180" y="362"/>
                    </a:lnTo>
                    <a:lnTo>
                      <a:pt x="178" y="358"/>
                    </a:lnTo>
                    <a:lnTo>
                      <a:pt x="178" y="352"/>
                    </a:lnTo>
                    <a:lnTo>
                      <a:pt x="178" y="346"/>
                    </a:lnTo>
                    <a:lnTo>
                      <a:pt x="176" y="341"/>
                    </a:lnTo>
                    <a:lnTo>
                      <a:pt x="176" y="335"/>
                    </a:lnTo>
                    <a:lnTo>
                      <a:pt x="176" y="329"/>
                    </a:lnTo>
                    <a:lnTo>
                      <a:pt x="176" y="324"/>
                    </a:lnTo>
                    <a:lnTo>
                      <a:pt x="174" y="318"/>
                    </a:lnTo>
                    <a:lnTo>
                      <a:pt x="174" y="310"/>
                    </a:lnTo>
                    <a:lnTo>
                      <a:pt x="174" y="305"/>
                    </a:lnTo>
                    <a:lnTo>
                      <a:pt x="173" y="299"/>
                    </a:lnTo>
                    <a:lnTo>
                      <a:pt x="173" y="293"/>
                    </a:lnTo>
                    <a:lnTo>
                      <a:pt x="173" y="286"/>
                    </a:lnTo>
                    <a:lnTo>
                      <a:pt x="171" y="280"/>
                    </a:lnTo>
                    <a:lnTo>
                      <a:pt x="171" y="272"/>
                    </a:lnTo>
                    <a:lnTo>
                      <a:pt x="171" y="265"/>
                    </a:lnTo>
                    <a:lnTo>
                      <a:pt x="171" y="259"/>
                    </a:lnTo>
                    <a:lnTo>
                      <a:pt x="169" y="253"/>
                    </a:lnTo>
                    <a:lnTo>
                      <a:pt x="169" y="246"/>
                    </a:lnTo>
                    <a:lnTo>
                      <a:pt x="171" y="238"/>
                    </a:lnTo>
                    <a:lnTo>
                      <a:pt x="171" y="232"/>
                    </a:lnTo>
                    <a:lnTo>
                      <a:pt x="171" y="227"/>
                    </a:lnTo>
                    <a:lnTo>
                      <a:pt x="171" y="219"/>
                    </a:lnTo>
                    <a:lnTo>
                      <a:pt x="173" y="212"/>
                    </a:lnTo>
                    <a:lnTo>
                      <a:pt x="174" y="206"/>
                    </a:lnTo>
                    <a:lnTo>
                      <a:pt x="174" y="200"/>
                    </a:lnTo>
                    <a:lnTo>
                      <a:pt x="176" y="194"/>
                    </a:lnTo>
                    <a:lnTo>
                      <a:pt x="176" y="187"/>
                    </a:lnTo>
                    <a:lnTo>
                      <a:pt x="178" y="181"/>
                    </a:lnTo>
                    <a:lnTo>
                      <a:pt x="180" y="173"/>
                    </a:lnTo>
                    <a:lnTo>
                      <a:pt x="180" y="168"/>
                    </a:lnTo>
                    <a:lnTo>
                      <a:pt x="182" y="162"/>
                    </a:lnTo>
                    <a:lnTo>
                      <a:pt x="184" y="156"/>
                    </a:lnTo>
                    <a:lnTo>
                      <a:pt x="186" y="149"/>
                    </a:lnTo>
                    <a:lnTo>
                      <a:pt x="188" y="145"/>
                    </a:lnTo>
                    <a:lnTo>
                      <a:pt x="192" y="137"/>
                    </a:lnTo>
                    <a:lnTo>
                      <a:pt x="193" y="132"/>
                    </a:lnTo>
                    <a:lnTo>
                      <a:pt x="195" y="126"/>
                    </a:lnTo>
                    <a:lnTo>
                      <a:pt x="197" y="120"/>
                    </a:lnTo>
                    <a:lnTo>
                      <a:pt x="199" y="115"/>
                    </a:lnTo>
                    <a:lnTo>
                      <a:pt x="201" y="111"/>
                    </a:lnTo>
                    <a:lnTo>
                      <a:pt x="203" y="105"/>
                    </a:lnTo>
                    <a:lnTo>
                      <a:pt x="207" y="99"/>
                    </a:lnTo>
                    <a:lnTo>
                      <a:pt x="209" y="94"/>
                    </a:lnTo>
                    <a:lnTo>
                      <a:pt x="211" y="90"/>
                    </a:lnTo>
                    <a:lnTo>
                      <a:pt x="212" y="84"/>
                    </a:lnTo>
                    <a:lnTo>
                      <a:pt x="214" y="80"/>
                    </a:lnTo>
                    <a:lnTo>
                      <a:pt x="218" y="75"/>
                    </a:lnTo>
                    <a:lnTo>
                      <a:pt x="220" y="71"/>
                    </a:lnTo>
                    <a:lnTo>
                      <a:pt x="222" y="65"/>
                    </a:lnTo>
                    <a:lnTo>
                      <a:pt x="224" y="61"/>
                    </a:lnTo>
                    <a:lnTo>
                      <a:pt x="226" y="58"/>
                    </a:lnTo>
                    <a:lnTo>
                      <a:pt x="230" y="54"/>
                    </a:lnTo>
                    <a:lnTo>
                      <a:pt x="231" y="48"/>
                    </a:lnTo>
                    <a:lnTo>
                      <a:pt x="233" y="44"/>
                    </a:lnTo>
                    <a:lnTo>
                      <a:pt x="235" y="40"/>
                    </a:lnTo>
                    <a:lnTo>
                      <a:pt x="237" y="37"/>
                    </a:lnTo>
                    <a:lnTo>
                      <a:pt x="241" y="31"/>
                    </a:lnTo>
                    <a:lnTo>
                      <a:pt x="247" y="25"/>
                    </a:lnTo>
                    <a:lnTo>
                      <a:pt x="249" y="20"/>
                    </a:lnTo>
                    <a:lnTo>
                      <a:pt x="252" y="14"/>
                    </a:lnTo>
                    <a:lnTo>
                      <a:pt x="254" y="10"/>
                    </a:lnTo>
                    <a:lnTo>
                      <a:pt x="258" y="6"/>
                    </a:lnTo>
                    <a:lnTo>
                      <a:pt x="262" y="2"/>
                    </a:lnTo>
                    <a:lnTo>
                      <a:pt x="262"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19" name="Freeform 62"/>
              <p:cNvSpPr>
                <a:spLocks/>
              </p:cNvSpPr>
              <p:nvPr/>
            </p:nvSpPr>
            <p:spPr bwMode="auto">
              <a:xfrm>
                <a:off x="1662113" y="3898901"/>
                <a:ext cx="212725" cy="261938"/>
              </a:xfrm>
              <a:custGeom>
                <a:avLst/>
                <a:gdLst>
                  <a:gd name="T0" fmla="*/ 2147483646 w 268"/>
                  <a:gd name="T1" fmla="*/ 2147483646 h 331"/>
                  <a:gd name="T2" fmla="*/ 2147483646 w 268"/>
                  <a:gd name="T3" fmla="*/ 2147483646 h 331"/>
                  <a:gd name="T4" fmla="*/ 2147483646 w 268"/>
                  <a:gd name="T5" fmla="*/ 2147483646 h 331"/>
                  <a:gd name="T6" fmla="*/ 2147483646 w 268"/>
                  <a:gd name="T7" fmla="*/ 2147483646 h 331"/>
                  <a:gd name="T8" fmla="*/ 2147483646 w 268"/>
                  <a:gd name="T9" fmla="*/ 2147483646 h 331"/>
                  <a:gd name="T10" fmla="*/ 2147483646 w 268"/>
                  <a:gd name="T11" fmla="*/ 2147483646 h 331"/>
                  <a:gd name="T12" fmla="*/ 2147483646 w 268"/>
                  <a:gd name="T13" fmla="*/ 2147483646 h 331"/>
                  <a:gd name="T14" fmla="*/ 2147483646 w 268"/>
                  <a:gd name="T15" fmla="*/ 2147483646 h 331"/>
                  <a:gd name="T16" fmla="*/ 2147483646 w 268"/>
                  <a:gd name="T17" fmla="*/ 2147483646 h 331"/>
                  <a:gd name="T18" fmla="*/ 2147483646 w 268"/>
                  <a:gd name="T19" fmla="*/ 2147483646 h 331"/>
                  <a:gd name="T20" fmla="*/ 2147483646 w 268"/>
                  <a:gd name="T21" fmla="*/ 2147483646 h 331"/>
                  <a:gd name="T22" fmla="*/ 2147483646 w 268"/>
                  <a:gd name="T23" fmla="*/ 2147483646 h 331"/>
                  <a:gd name="T24" fmla="*/ 2147483646 w 268"/>
                  <a:gd name="T25" fmla="*/ 2147483646 h 331"/>
                  <a:gd name="T26" fmla="*/ 2147483646 w 268"/>
                  <a:gd name="T27" fmla="*/ 2147483646 h 331"/>
                  <a:gd name="T28" fmla="*/ 2147483646 w 268"/>
                  <a:gd name="T29" fmla="*/ 2147483646 h 331"/>
                  <a:gd name="T30" fmla="*/ 2147483646 w 268"/>
                  <a:gd name="T31" fmla="*/ 2147483646 h 331"/>
                  <a:gd name="T32" fmla="*/ 2147483646 w 268"/>
                  <a:gd name="T33" fmla="*/ 2147483646 h 331"/>
                  <a:gd name="T34" fmla="*/ 2147483646 w 268"/>
                  <a:gd name="T35" fmla="*/ 2147483646 h 331"/>
                  <a:gd name="T36" fmla="*/ 2147483646 w 268"/>
                  <a:gd name="T37" fmla="*/ 2147483646 h 331"/>
                  <a:gd name="T38" fmla="*/ 2147483646 w 268"/>
                  <a:gd name="T39" fmla="*/ 2147483646 h 331"/>
                  <a:gd name="T40" fmla="*/ 0 w 268"/>
                  <a:gd name="T41" fmla="*/ 2147483646 h 331"/>
                  <a:gd name="T42" fmla="*/ 2147483646 w 268"/>
                  <a:gd name="T43" fmla="*/ 2147483646 h 331"/>
                  <a:gd name="T44" fmla="*/ 2147483646 w 268"/>
                  <a:gd name="T45" fmla="*/ 2147483646 h 331"/>
                  <a:gd name="T46" fmla="*/ 2147483646 w 268"/>
                  <a:gd name="T47" fmla="*/ 2147483646 h 331"/>
                  <a:gd name="T48" fmla="*/ 2147483646 w 268"/>
                  <a:gd name="T49" fmla="*/ 2147483646 h 331"/>
                  <a:gd name="T50" fmla="*/ 2147483646 w 268"/>
                  <a:gd name="T51" fmla="*/ 2147483646 h 331"/>
                  <a:gd name="T52" fmla="*/ 2147483646 w 268"/>
                  <a:gd name="T53" fmla="*/ 2147483646 h 331"/>
                  <a:gd name="T54" fmla="*/ 2147483646 w 268"/>
                  <a:gd name="T55" fmla="*/ 2147483646 h 331"/>
                  <a:gd name="T56" fmla="*/ 2147483646 w 268"/>
                  <a:gd name="T57" fmla="*/ 2147483646 h 331"/>
                  <a:gd name="T58" fmla="*/ 2147483646 w 268"/>
                  <a:gd name="T59" fmla="*/ 2147483646 h 331"/>
                  <a:gd name="T60" fmla="*/ 2147483646 w 268"/>
                  <a:gd name="T61" fmla="*/ 2147483646 h 331"/>
                  <a:gd name="T62" fmla="*/ 2147483646 w 268"/>
                  <a:gd name="T63" fmla="*/ 2147483646 h 331"/>
                  <a:gd name="T64" fmla="*/ 2147483646 w 268"/>
                  <a:gd name="T65" fmla="*/ 2147483646 h 331"/>
                  <a:gd name="T66" fmla="*/ 2147483646 w 268"/>
                  <a:gd name="T67" fmla="*/ 2147483646 h 331"/>
                  <a:gd name="T68" fmla="*/ 2147483646 w 268"/>
                  <a:gd name="T69" fmla="*/ 2147483646 h 331"/>
                  <a:gd name="T70" fmla="*/ 2147483646 w 268"/>
                  <a:gd name="T71" fmla="*/ 2147483646 h 331"/>
                  <a:gd name="T72" fmla="*/ 2147483646 w 268"/>
                  <a:gd name="T73" fmla="*/ 2147483646 h 331"/>
                  <a:gd name="T74" fmla="*/ 2147483646 w 268"/>
                  <a:gd name="T75" fmla="*/ 2147483646 h 331"/>
                  <a:gd name="T76" fmla="*/ 2147483646 w 268"/>
                  <a:gd name="T77" fmla="*/ 2147483646 h 331"/>
                  <a:gd name="T78" fmla="*/ 2147483646 w 268"/>
                  <a:gd name="T79" fmla="*/ 2147483646 h 331"/>
                  <a:gd name="T80" fmla="*/ 2147483646 w 268"/>
                  <a:gd name="T81" fmla="*/ 2147483646 h 331"/>
                  <a:gd name="T82" fmla="*/ 2147483646 w 268"/>
                  <a:gd name="T83" fmla="*/ 2147483646 h 331"/>
                  <a:gd name="T84" fmla="*/ 2147483646 w 268"/>
                  <a:gd name="T85" fmla="*/ 2147483646 h 331"/>
                  <a:gd name="T86" fmla="*/ 2147483646 w 268"/>
                  <a:gd name="T87" fmla="*/ 2147483646 h 331"/>
                  <a:gd name="T88" fmla="*/ 2147483646 w 268"/>
                  <a:gd name="T89" fmla="*/ 2147483646 h 331"/>
                  <a:gd name="T90" fmla="*/ 2147483646 w 268"/>
                  <a:gd name="T91" fmla="*/ 0 h 33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8"/>
                  <a:gd name="T139" fmla="*/ 0 h 331"/>
                  <a:gd name="T140" fmla="*/ 268 w 268"/>
                  <a:gd name="T141" fmla="*/ 331 h 33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8" h="331">
                    <a:moveTo>
                      <a:pt x="268" y="8"/>
                    </a:moveTo>
                    <a:lnTo>
                      <a:pt x="268" y="8"/>
                    </a:lnTo>
                    <a:lnTo>
                      <a:pt x="268" y="12"/>
                    </a:lnTo>
                    <a:lnTo>
                      <a:pt x="266" y="13"/>
                    </a:lnTo>
                    <a:lnTo>
                      <a:pt x="266" y="19"/>
                    </a:lnTo>
                    <a:lnTo>
                      <a:pt x="264" y="23"/>
                    </a:lnTo>
                    <a:lnTo>
                      <a:pt x="264" y="25"/>
                    </a:lnTo>
                    <a:lnTo>
                      <a:pt x="263" y="31"/>
                    </a:lnTo>
                    <a:lnTo>
                      <a:pt x="263" y="34"/>
                    </a:lnTo>
                    <a:lnTo>
                      <a:pt x="261" y="38"/>
                    </a:lnTo>
                    <a:lnTo>
                      <a:pt x="261" y="42"/>
                    </a:lnTo>
                    <a:lnTo>
                      <a:pt x="259" y="48"/>
                    </a:lnTo>
                    <a:lnTo>
                      <a:pt x="259" y="53"/>
                    </a:lnTo>
                    <a:lnTo>
                      <a:pt x="257" y="57"/>
                    </a:lnTo>
                    <a:lnTo>
                      <a:pt x="255" y="63"/>
                    </a:lnTo>
                    <a:lnTo>
                      <a:pt x="253" y="69"/>
                    </a:lnTo>
                    <a:lnTo>
                      <a:pt x="251" y="74"/>
                    </a:lnTo>
                    <a:lnTo>
                      <a:pt x="249" y="80"/>
                    </a:lnTo>
                    <a:lnTo>
                      <a:pt x="247" y="86"/>
                    </a:lnTo>
                    <a:lnTo>
                      <a:pt x="245" y="93"/>
                    </a:lnTo>
                    <a:lnTo>
                      <a:pt x="244" y="99"/>
                    </a:lnTo>
                    <a:lnTo>
                      <a:pt x="242" y="107"/>
                    </a:lnTo>
                    <a:lnTo>
                      <a:pt x="238" y="112"/>
                    </a:lnTo>
                    <a:lnTo>
                      <a:pt x="236" y="120"/>
                    </a:lnTo>
                    <a:lnTo>
                      <a:pt x="234" y="127"/>
                    </a:lnTo>
                    <a:lnTo>
                      <a:pt x="230" y="133"/>
                    </a:lnTo>
                    <a:lnTo>
                      <a:pt x="228" y="141"/>
                    </a:lnTo>
                    <a:lnTo>
                      <a:pt x="225" y="148"/>
                    </a:lnTo>
                    <a:lnTo>
                      <a:pt x="223" y="156"/>
                    </a:lnTo>
                    <a:lnTo>
                      <a:pt x="217" y="162"/>
                    </a:lnTo>
                    <a:lnTo>
                      <a:pt x="213" y="169"/>
                    </a:lnTo>
                    <a:lnTo>
                      <a:pt x="209" y="175"/>
                    </a:lnTo>
                    <a:lnTo>
                      <a:pt x="206" y="183"/>
                    </a:lnTo>
                    <a:lnTo>
                      <a:pt x="202" y="190"/>
                    </a:lnTo>
                    <a:lnTo>
                      <a:pt x="198" y="198"/>
                    </a:lnTo>
                    <a:lnTo>
                      <a:pt x="192" y="204"/>
                    </a:lnTo>
                    <a:lnTo>
                      <a:pt x="188" y="211"/>
                    </a:lnTo>
                    <a:lnTo>
                      <a:pt x="183" y="219"/>
                    </a:lnTo>
                    <a:lnTo>
                      <a:pt x="177" y="224"/>
                    </a:lnTo>
                    <a:lnTo>
                      <a:pt x="173" y="232"/>
                    </a:lnTo>
                    <a:lnTo>
                      <a:pt x="168" y="238"/>
                    </a:lnTo>
                    <a:lnTo>
                      <a:pt x="162" y="245"/>
                    </a:lnTo>
                    <a:lnTo>
                      <a:pt x="156" y="251"/>
                    </a:lnTo>
                    <a:lnTo>
                      <a:pt x="150" y="257"/>
                    </a:lnTo>
                    <a:lnTo>
                      <a:pt x="145" y="264"/>
                    </a:lnTo>
                    <a:lnTo>
                      <a:pt x="139" y="270"/>
                    </a:lnTo>
                    <a:lnTo>
                      <a:pt x="131" y="276"/>
                    </a:lnTo>
                    <a:lnTo>
                      <a:pt x="124" y="281"/>
                    </a:lnTo>
                    <a:lnTo>
                      <a:pt x="118" y="287"/>
                    </a:lnTo>
                    <a:lnTo>
                      <a:pt x="111" y="291"/>
                    </a:lnTo>
                    <a:lnTo>
                      <a:pt x="103" y="297"/>
                    </a:lnTo>
                    <a:lnTo>
                      <a:pt x="95" y="300"/>
                    </a:lnTo>
                    <a:lnTo>
                      <a:pt x="88" y="306"/>
                    </a:lnTo>
                    <a:lnTo>
                      <a:pt x="80" y="310"/>
                    </a:lnTo>
                    <a:lnTo>
                      <a:pt x="71" y="314"/>
                    </a:lnTo>
                    <a:lnTo>
                      <a:pt x="63" y="318"/>
                    </a:lnTo>
                    <a:lnTo>
                      <a:pt x="54" y="321"/>
                    </a:lnTo>
                    <a:lnTo>
                      <a:pt x="44" y="323"/>
                    </a:lnTo>
                    <a:lnTo>
                      <a:pt x="36" y="327"/>
                    </a:lnTo>
                    <a:lnTo>
                      <a:pt x="27" y="329"/>
                    </a:lnTo>
                    <a:lnTo>
                      <a:pt x="17" y="331"/>
                    </a:lnTo>
                    <a:lnTo>
                      <a:pt x="0" y="320"/>
                    </a:lnTo>
                    <a:lnTo>
                      <a:pt x="0" y="318"/>
                    </a:lnTo>
                    <a:lnTo>
                      <a:pt x="4" y="318"/>
                    </a:lnTo>
                    <a:lnTo>
                      <a:pt x="6" y="314"/>
                    </a:lnTo>
                    <a:lnTo>
                      <a:pt x="12" y="312"/>
                    </a:lnTo>
                    <a:lnTo>
                      <a:pt x="14" y="310"/>
                    </a:lnTo>
                    <a:lnTo>
                      <a:pt x="17" y="308"/>
                    </a:lnTo>
                    <a:lnTo>
                      <a:pt x="21" y="306"/>
                    </a:lnTo>
                    <a:lnTo>
                      <a:pt x="27" y="304"/>
                    </a:lnTo>
                    <a:lnTo>
                      <a:pt x="29" y="300"/>
                    </a:lnTo>
                    <a:lnTo>
                      <a:pt x="35" y="297"/>
                    </a:lnTo>
                    <a:lnTo>
                      <a:pt x="38" y="295"/>
                    </a:lnTo>
                    <a:lnTo>
                      <a:pt x="44" y="291"/>
                    </a:lnTo>
                    <a:lnTo>
                      <a:pt x="48" y="287"/>
                    </a:lnTo>
                    <a:lnTo>
                      <a:pt x="54" y="283"/>
                    </a:lnTo>
                    <a:lnTo>
                      <a:pt x="59" y="280"/>
                    </a:lnTo>
                    <a:lnTo>
                      <a:pt x="65" y="276"/>
                    </a:lnTo>
                    <a:lnTo>
                      <a:pt x="71" y="270"/>
                    </a:lnTo>
                    <a:lnTo>
                      <a:pt x="76" y="266"/>
                    </a:lnTo>
                    <a:lnTo>
                      <a:pt x="82" y="261"/>
                    </a:lnTo>
                    <a:lnTo>
                      <a:pt x="88" y="257"/>
                    </a:lnTo>
                    <a:lnTo>
                      <a:pt x="95" y="251"/>
                    </a:lnTo>
                    <a:lnTo>
                      <a:pt x="101" y="245"/>
                    </a:lnTo>
                    <a:lnTo>
                      <a:pt x="107" y="240"/>
                    </a:lnTo>
                    <a:lnTo>
                      <a:pt x="112" y="234"/>
                    </a:lnTo>
                    <a:lnTo>
                      <a:pt x="120" y="226"/>
                    </a:lnTo>
                    <a:lnTo>
                      <a:pt x="126" y="221"/>
                    </a:lnTo>
                    <a:lnTo>
                      <a:pt x="131" y="213"/>
                    </a:lnTo>
                    <a:lnTo>
                      <a:pt x="139" y="207"/>
                    </a:lnTo>
                    <a:lnTo>
                      <a:pt x="141" y="204"/>
                    </a:lnTo>
                    <a:lnTo>
                      <a:pt x="145" y="198"/>
                    </a:lnTo>
                    <a:lnTo>
                      <a:pt x="147" y="194"/>
                    </a:lnTo>
                    <a:lnTo>
                      <a:pt x="150" y="190"/>
                    </a:lnTo>
                    <a:lnTo>
                      <a:pt x="154" y="186"/>
                    </a:lnTo>
                    <a:lnTo>
                      <a:pt x="156" y="183"/>
                    </a:lnTo>
                    <a:lnTo>
                      <a:pt x="158" y="179"/>
                    </a:lnTo>
                    <a:lnTo>
                      <a:pt x="162" y="175"/>
                    </a:lnTo>
                    <a:lnTo>
                      <a:pt x="164" y="171"/>
                    </a:lnTo>
                    <a:lnTo>
                      <a:pt x="168" y="167"/>
                    </a:lnTo>
                    <a:lnTo>
                      <a:pt x="169" y="164"/>
                    </a:lnTo>
                    <a:lnTo>
                      <a:pt x="173" y="158"/>
                    </a:lnTo>
                    <a:lnTo>
                      <a:pt x="175" y="154"/>
                    </a:lnTo>
                    <a:lnTo>
                      <a:pt x="179" y="150"/>
                    </a:lnTo>
                    <a:lnTo>
                      <a:pt x="181" y="147"/>
                    </a:lnTo>
                    <a:lnTo>
                      <a:pt x="185" y="143"/>
                    </a:lnTo>
                    <a:lnTo>
                      <a:pt x="187" y="137"/>
                    </a:lnTo>
                    <a:lnTo>
                      <a:pt x="188" y="133"/>
                    </a:lnTo>
                    <a:lnTo>
                      <a:pt x="190" y="129"/>
                    </a:lnTo>
                    <a:lnTo>
                      <a:pt x="194" y="124"/>
                    </a:lnTo>
                    <a:lnTo>
                      <a:pt x="196" y="120"/>
                    </a:lnTo>
                    <a:lnTo>
                      <a:pt x="198" y="116"/>
                    </a:lnTo>
                    <a:lnTo>
                      <a:pt x="200" y="112"/>
                    </a:lnTo>
                    <a:lnTo>
                      <a:pt x="204" y="107"/>
                    </a:lnTo>
                    <a:lnTo>
                      <a:pt x="206" y="103"/>
                    </a:lnTo>
                    <a:lnTo>
                      <a:pt x="207" y="99"/>
                    </a:lnTo>
                    <a:lnTo>
                      <a:pt x="209" y="95"/>
                    </a:lnTo>
                    <a:lnTo>
                      <a:pt x="211" y="91"/>
                    </a:lnTo>
                    <a:lnTo>
                      <a:pt x="213" y="88"/>
                    </a:lnTo>
                    <a:lnTo>
                      <a:pt x="215" y="82"/>
                    </a:lnTo>
                    <a:lnTo>
                      <a:pt x="217" y="78"/>
                    </a:lnTo>
                    <a:lnTo>
                      <a:pt x="219" y="74"/>
                    </a:lnTo>
                    <a:lnTo>
                      <a:pt x="221" y="70"/>
                    </a:lnTo>
                    <a:lnTo>
                      <a:pt x="223" y="67"/>
                    </a:lnTo>
                    <a:lnTo>
                      <a:pt x="223" y="63"/>
                    </a:lnTo>
                    <a:lnTo>
                      <a:pt x="225" y="59"/>
                    </a:lnTo>
                    <a:lnTo>
                      <a:pt x="228" y="51"/>
                    </a:lnTo>
                    <a:lnTo>
                      <a:pt x="230" y="46"/>
                    </a:lnTo>
                    <a:lnTo>
                      <a:pt x="232" y="38"/>
                    </a:lnTo>
                    <a:lnTo>
                      <a:pt x="236" y="32"/>
                    </a:lnTo>
                    <a:lnTo>
                      <a:pt x="238" y="25"/>
                    </a:lnTo>
                    <a:lnTo>
                      <a:pt x="240" y="21"/>
                    </a:lnTo>
                    <a:lnTo>
                      <a:pt x="242" y="15"/>
                    </a:lnTo>
                    <a:lnTo>
                      <a:pt x="244" y="12"/>
                    </a:lnTo>
                    <a:lnTo>
                      <a:pt x="245" y="8"/>
                    </a:lnTo>
                    <a:lnTo>
                      <a:pt x="247" y="6"/>
                    </a:lnTo>
                    <a:lnTo>
                      <a:pt x="247" y="0"/>
                    </a:lnTo>
                    <a:lnTo>
                      <a:pt x="249" y="0"/>
                    </a:lnTo>
                    <a:lnTo>
                      <a:pt x="268" y="8"/>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20" name="Freeform 63"/>
              <p:cNvSpPr>
                <a:spLocks/>
              </p:cNvSpPr>
              <p:nvPr/>
            </p:nvSpPr>
            <p:spPr bwMode="auto">
              <a:xfrm>
                <a:off x="2051051" y="3563938"/>
                <a:ext cx="206375" cy="322263"/>
              </a:xfrm>
              <a:custGeom>
                <a:avLst/>
                <a:gdLst>
                  <a:gd name="T0" fmla="*/ 2147483646 w 260"/>
                  <a:gd name="T1" fmla="*/ 2147483646 h 407"/>
                  <a:gd name="T2" fmla="*/ 2147483646 w 260"/>
                  <a:gd name="T3" fmla="*/ 2147483646 h 407"/>
                  <a:gd name="T4" fmla="*/ 2147483646 w 260"/>
                  <a:gd name="T5" fmla="*/ 2147483646 h 407"/>
                  <a:gd name="T6" fmla="*/ 2147483646 w 260"/>
                  <a:gd name="T7" fmla="*/ 2147483646 h 407"/>
                  <a:gd name="T8" fmla="*/ 2147483646 w 260"/>
                  <a:gd name="T9" fmla="*/ 2147483646 h 407"/>
                  <a:gd name="T10" fmla="*/ 2147483646 w 260"/>
                  <a:gd name="T11" fmla="*/ 2147483646 h 407"/>
                  <a:gd name="T12" fmla="*/ 2147483646 w 260"/>
                  <a:gd name="T13" fmla="*/ 2147483646 h 407"/>
                  <a:gd name="T14" fmla="*/ 2147483646 w 260"/>
                  <a:gd name="T15" fmla="*/ 2147483646 h 407"/>
                  <a:gd name="T16" fmla="*/ 2147483646 w 260"/>
                  <a:gd name="T17" fmla="*/ 2147483646 h 407"/>
                  <a:gd name="T18" fmla="*/ 2147483646 w 260"/>
                  <a:gd name="T19" fmla="*/ 2147483646 h 407"/>
                  <a:gd name="T20" fmla="*/ 2147483646 w 260"/>
                  <a:gd name="T21" fmla="*/ 2147483646 h 407"/>
                  <a:gd name="T22" fmla="*/ 2147483646 w 260"/>
                  <a:gd name="T23" fmla="*/ 2147483646 h 407"/>
                  <a:gd name="T24" fmla="*/ 2147483646 w 260"/>
                  <a:gd name="T25" fmla="*/ 2147483646 h 407"/>
                  <a:gd name="T26" fmla="*/ 2147483646 w 260"/>
                  <a:gd name="T27" fmla="*/ 2147483646 h 407"/>
                  <a:gd name="T28" fmla="*/ 2147483646 w 260"/>
                  <a:gd name="T29" fmla="*/ 2147483646 h 407"/>
                  <a:gd name="T30" fmla="*/ 2147483646 w 260"/>
                  <a:gd name="T31" fmla="*/ 2147483646 h 407"/>
                  <a:gd name="T32" fmla="*/ 2147483646 w 260"/>
                  <a:gd name="T33" fmla="*/ 2147483646 h 407"/>
                  <a:gd name="T34" fmla="*/ 2147483646 w 260"/>
                  <a:gd name="T35" fmla="*/ 2147483646 h 407"/>
                  <a:gd name="T36" fmla="*/ 2147483646 w 260"/>
                  <a:gd name="T37" fmla="*/ 2147483646 h 407"/>
                  <a:gd name="T38" fmla="*/ 2147483646 w 260"/>
                  <a:gd name="T39" fmla="*/ 2147483646 h 407"/>
                  <a:gd name="T40" fmla="*/ 2147483646 w 260"/>
                  <a:gd name="T41" fmla="*/ 2147483646 h 407"/>
                  <a:gd name="T42" fmla="*/ 2147483646 w 260"/>
                  <a:gd name="T43" fmla="*/ 2147483646 h 407"/>
                  <a:gd name="T44" fmla="*/ 2147483646 w 260"/>
                  <a:gd name="T45" fmla="*/ 2147483646 h 407"/>
                  <a:gd name="T46" fmla="*/ 2147483646 w 260"/>
                  <a:gd name="T47" fmla="*/ 2147483646 h 407"/>
                  <a:gd name="T48" fmla="*/ 2147483646 w 260"/>
                  <a:gd name="T49" fmla="*/ 2147483646 h 407"/>
                  <a:gd name="T50" fmla="*/ 2147483646 w 260"/>
                  <a:gd name="T51" fmla="*/ 2147483646 h 407"/>
                  <a:gd name="T52" fmla="*/ 2147483646 w 260"/>
                  <a:gd name="T53" fmla="*/ 2147483646 h 407"/>
                  <a:gd name="T54" fmla="*/ 2147483646 w 260"/>
                  <a:gd name="T55" fmla="*/ 2147483646 h 407"/>
                  <a:gd name="T56" fmla="*/ 2147483646 w 260"/>
                  <a:gd name="T57" fmla="*/ 0 h 407"/>
                  <a:gd name="T58" fmla="*/ 2147483646 w 260"/>
                  <a:gd name="T59" fmla="*/ 2147483646 h 407"/>
                  <a:gd name="T60" fmla="*/ 2147483646 w 260"/>
                  <a:gd name="T61" fmla="*/ 2147483646 h 407"/>
                  <a:gd name="T62" fmla="*/ 2147483646 w 260"/>
                  <a:gd name="T63" fmla="*/ 2147483646 h 407"/>
                  <a:gd name="T64" fmla="*/ 2147483646 w 260"/>
                  <a:gd name="T65" fmla="*/ 2147483646 h 407"/>
                  <a:gd name="T66" fmla="*/ 2147483646 w 260"/>
                  <a:gd name="T67" fmla="*/ 2147483646 h 407"/>
                  <a:gd name="T68" fmla="*/ 2147483646 w 260"/>
                  <a:gd name="T69" fmla="*/ 2147483646 h 407"/>
                  <a:gd name="T70" fmla="*/ 2147483646 w 260"/>
                  <a:gd name="T71" fmla="*/ 2147483646 h 407"/>
                  <a:gd name="T72" fmla="*/ 2147483646 w 260"/>
                  <a:gd name="T73" fmla="*/ 2147483646 h 407"/>
                  <a:gd name="T74" fmla="*/ 2147483646 w 260"/>
                  <a:gd name="T75" fmla="*/ 2147483646 h 407"/>
                  <a:gd name="T76" fmla="*/ 2147483646 w 260"/>
                  <a:gd name="T77" fmla="*/ 2147483646 h 407"/>
                  <a:gd name="T78" fmla="*/ 2147483646 w 260"/>
                  <a:gd name="T79" fmla="*/ 2147483646 h 407"/>
                  <a:gd name="T80" fmla="*/ 2147483646 w 260"/>
                  <a:gd name="T81" fmla="*/ 2147483646 h 407"/>
                  <a:gd name="T82" fmla="*/ 2147483646 w 260"/>
                  <a:gd name="T83" fmla="*/ 2147483646 h 407"/>
                  <a:gd name="T84" fmla="*/ 2147483646 w 260"/>
                  <a:gd name="T85" fmla="*/ 2147483646 h 407"/>
                  <a:gd name="T86" fmla="*/ 2147483646 w 260"/>
                  <a:gd name="T87" fmla="*/ 2147483646 h 407"/>
                  <a:gd name="T88" fmla="*/ 2147483646 w 260"/>
                  <a:gd name="T89" fmla="*/ 2147483646 h 407"/>
                  <a:gd name="T90" fmla="*/ 2147483646 w 260"/>
                  <a:gd name="T91" fmla="*/ 2147483646 h 407"/>
                  <a:gd name="T92" fmla="*/ 2147483646 w 260"/>
                  <a:gd name="T93" fmla="*/ 2147483646 h 407"/>
                  <a:gd name="T94" fmla="*/ 2147483646 w 260"/>
                  <a:gd name="T95" fmla="*/ 2147483646 h 407"/>
                  <a:gd name="T96" fmla="*/ 2147483646 w 260"/>
                  <a:gd name="T97" fmla="*/ 2147483646 h 407"/>
                  <a:gd name="T98" fmla="*/ 2147483646 w 260"/>
                  <a:gd name="T99" fmla="*/ 2147483646 h 407"/>
                  <a:gd name="T100" fmla="*/ 2147483646 w 260"/>
                  <a:gd name="T101" fmla="*/ 2147483646 h 407"/>
                  <a:gd name="T102" fmla="*/ 2147483646 w 260"/>
                  <a:gd name="T103" fmla="*/ 2147483646 h 407"/>
                  <a:gd name="T104" fmla="*/ 2147483646 w 260"/>
                  <a:gd name="T105" fmla="*/ 2147483646 h 407"/>
                  <a:gd name="T106" fmla="*/ 2147483646 w 260"/>
                  <a:gd name="T107" fmla="*/ 2147483646 h 407"/>
                  <a:gd name="T108" fmla="*/ 2147483646 w 260"/>
                  <a:gd name="T109" fmla="*/ 2147483646 h 407"/>
                  <a:gd name="T110" fmla="*/ 2147483646 w 260"/>
                  <a:gd name="T111" fmla="*/ 2147483646 h 407"/>
                  <a:gd name="T112" fmla="*/ 2147483646 w 260"/>
                  <a:gd name="T113" fmla="*/ 2147483646 h 407"/>
                  <a:gd name="T114" fmla="*/ 2147483646 w 260"/>
                  <a:gd name="T115" fmla="*/ 2147483646 h 407"/>
                  <a:gd name="T116" fmla="*/ 2147483646 w 260"/>
                  <a:gd name="T117" fmla="*/ 2147483646 h 407"/>
                  <a:gd name="T118" fmla="*/ 2147483646 w 260"/>
                  <a:gd name="T119" fmla="*/ 2147483646 h 407"/>
                  <a:gd name="T120" fmla="*/ 0 w 260"/>
                  <a:gd name="T121" fmla="*/ 2147483646 h 4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0"/>
                  <a:gd name="T184" fmla="*/ 0 h 407"/>
                  <a:gd name="T185" fmla="*/ 260 w 260"/>
                  <a:gd name="T186" fmla="*/ 407 h 4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0" h="407">
                    <a:moveTo>
                      <a:pt x="0" y="399"/>
                    </a:moveTo>
                    <a:lnTo>
                      <a:pt x="1" y="397"/>
                    </a:lnTo>
                    <a:lnTo>
                      <a:pt x="5" y="396"/>
                    </a:lnTo>
                    <a:lnTo>
                      <a:pt x="7" y="394"/>
                    </a:lnTo>
                    <a:lnTo>
                      <a:pt x="11" y="392"/>
                    </a:lnTo>
                    <a:lnTo>
                      <a:pt x="15" y="388"/>
                    </a:lnTo>
                    <a:lnTo>
                      <a:pt x="20" y="386"/>
                    </a:lnTo>
                    <a:lnTo>
                      <a:pt x="24" y="380"/>
                    </a:lnTo>
                    <a:lnTo>
                      <a:pt x="30" y="377"/>
                    </a:lnTo>
                    <a:lnTo>
                      <a:pt x="34" y="373"/>
                    </a:lnTo>
                    <a:lnTo>
                      <a:pt x="39" y="369"/>
                    </a:lnTo>
                    <a:lnTo>
                      <a:pt x="45" y="363"/>
                    </a:lnTo>
                    <a:lnTo>
                      <a:pt x="51" y="357"/>
                    </a:lnTo>
                    <a:lnTo>
                      <a:pt x="57" y="352"/>
                    </a:lnTo>
                    <a:lnTo>
                      <a:pt x="64" y="346"/>
                    </a:lnTo>
                    <a:lnTo>
                      <a:pt x="70" y="338"/>
                    </a:lnTo>
                    <a:lnTo>
                      <a:pt x="76" y="333"/>
                    </a:lnTo>
                    <a:lnTo>
                      <a:pt x="77" y="327"/>
                    </a:lnTo>
                    <a:lnTo>
                      <a:pt x="79" y="323"/>
                    </a:lnTo>
                    <a:lnTo>
                      <a:pt x="81" y="319"/>
                    </a:lnTo>
                    <a:lnTo>
                      <a:pt x="85" y="316"/>
                    </a:lnTo>
                    <a:lnTo>
                      <a:pt x="87" y="312"/>
                    </a:lnTo>
                    <a:lnTo>
                      <a:pt x="91" y="308"/>
                    </a:lnTo>
                    <a:lnTo>
                      <a:pt x="93" y="302"/>
                    </a:lnTo>
                    <a:lnTo>
                      <a:pt x="95" y="299"/>
                    </a:lnTo>
                    <a:lnTo>
                      <a:pt x="96" y="295"/>
                    </a:lnTo>
                    <a:lnTo>
                      <a:pt x="100" y="289"/>
                    </a:lnTo>
                    <a:lnTo>
                      <a:pt x="102" y="285"/>
                    </a:lnTo>
                    <a:lnTo>
                      <a:pt x="104" y="280"/>
                    </a:lnTo>
                    <a:lnTo>
                      <a:pt x="104" y="276"/>
                    </a:lnTo>
                    <a:lnTo>
                      <a:pt x="106" y="270"/>
                    </a:lnTo>
                    <a:lnTo>
                      <a:pt x="108" y="264"/>
                    </a:lnTo>
                    <a:lnTo>
                      <a:pt x="110" y="261"/>
                    </a:lnTo>
                    <a:lnTo>
                      <a:pt x="110" y="255"/>
                    </a:lnTo>
                    <a:lnTo>
                      <a:pt x="112" y="249"/>
                    </a:lnTo>
                    <a:lnTo>
                      <a:pt x="112" y="243"/>
                    </a:lnTo>
                    <a:lnTo>
                      <a:pt x="114" y="238"/>
                    </a:lnTo>
                    <a:lnTo>
                      <a:pt x="114" y="232"/>
                    </a:lnTo>
                    <a:lnTo>
                      <a:pt x="114" y="226"/>
                    </a:lnTo>
                    <a:lnTo>
                      <a:pt x="114" y="221"/>
                    </a:lnTo>
                    <a:lnTo>
                      <a:pt x="115" y="215"/>
                    </a:lnTo>
                    <a:lnTo>
                      <a:pt x="114" y="209"/>
                    </a:lnTo>
                    <a:lnTo>
                      <a:pt x="114" y="204"/>
                    </a:lnTo>
                    <a:lnTo>
                      <a:pt x="114" y="196"/>
                    </a:lnTo>
                    <a:lnTo>
                      <a:pt x="114" y="190"/>
                    </a:lnTo>
                    <a:lnTo>
                      <a:pt x="112" y="185"/>
                    </a:lnTo>
                    <a:lnTo>
                      <a:pt x="112" y="181"/>
                    </a:lnTo>
                    <a:lnTo>
                      <a:pt x="112" y="175"/>
                    </a:lnTo>
                    <a:lnTo>
                      <a:pt x="112" y="169"/>
                    </a:lnTo>
                    <a:lnTo>
                      <a:pt x="110" y="165"/>
                    </a:lnTo>
                    <a:lnTo>
                      <a:pt x="110" y="160"/>
                    </a:lnTo>
                    <a:lnTo>
                      <a:pt x="110" y="156"/>
                    </a:lnTo>
                    <a:lnTo>
                      <a:pt x="110" y="152"/>
                    </a:lnTo>
                    <a:lnTo>
                      <a:pt x="110" y="146"/>
                    </a:lnTo>
                    <a:lnTo>
                      <a:pt x="110" y="143"/>
                    </a:lnTo>
                    <a:lnTo>
                      <a:pt x="112" y="137"/>
                    </a:lnTo>
                    <a:lnTo>
                      <a:pt x="112" y="133"/>
                    </a:lnTo>
                    <a:lnTo>
                      <a:pt x="112" y="129"/>
                    </a:lnTo>
                    <a:lnTo>
                      <a:pt x="114" y="126"/>
                    </a:lnTo>
                    <a:lnTo>
                      <a:pt x="114" y="120"/>
                    </a:lnTo>
                    <a:lnTo>
                      <a:pt x="115" y="116"/>
                    </a:lnTo>
                    <a:lnTo>
                      <a:pt x="115" y="112"/>
                    </a:lnTo>
                    <a:lnTo>
                      <a:pt x="115" y="108"/>
                    </a:lnTo>
                    <a:lnTo>
                      <a:pt x="117" y="105"/>
                    </a:lnTo>
                    <a:lnTo>
                      <a:pt x="119" y="101"/>
                    </a:lnTo>
                    <a:lnTo>
                      <a:pt x="121" y="93"/>
                    </a:lnTo>
                    <a:lnTo>
                      <a:pt x="125" y="86"/>
                    </a:lnTo>
                    <a:lnTo>
                      <a:pt x="129" y="78"/>
                    </a:lnTo>
                    <a:lnTo>
                      <a:pt x="133" y="70"/>
                    </a:lnTo>
                    <a:lnTo>
                      <a:pt x="136" y="65"/>
                    </a:lnTo>
                    <a:lnTo>
                      <a:pt x="140" y="59"/>
                    </a:lnTo>
                    <a:lnTo>
                      <a:pt x="146" y="53"/>
                    </a:lnTo>
                    <a:lnTo>
                      <a:pt x="150" y="48"/>
                    </a:lnTo>
                    <a:lnTo>
                      <a:pt x="155" y="42"/>
                    </a:lnTo>
                    <a:lnTo>
                      <a:pt x="161" y="36"/>
                    </a:lnTo>
                    <a:lnTo>
                      <a:pt x="165" y="32"/>
                    </a:lnTo>
                    <a:lnTo>
                      <a:pt x="171" y="27"/>
                    </a:lnTo>
                    <a:lnTo>
                      <a:pt x="178" y="23"/>
                    </a:lnTo>
                    <a:lnTo>
                      <a:pt x="184" y="19"/>
                    </a:lnTo>
                    <a:lnTo>
                      <a:pt x="190" y="15"/>
                    </a:lnTo>
                    <a:lnTo>
                      <a:pt x="195" y="13"/>
                    </a:lnTo>
                    <a:lnTo>
                      <a:pt x="201" y="10"/>
                    </a:lnTo>
                    <a:lnTo>
                      <a:pt x="209" y="8"/>
                    </a:lnTo>
                    <a:lnTo>
                      <a:pt x="214" y="4"/>
                    </a:lnTo>
                    <a:lnTo>
                      <a:pt x="222" y="2"/>
                    </a:lnTo>
                    <a:lnTo>
                      <a:pt x="228" y="2"/>
                    </a:lnTo>
                    <a:lnTo>
                      <a:pt x="235" y="0"/>
                    </a:lnTo>
                    <a:lnTo>
                      <a:pt x="260" y="0"/>
                    </a:lnTo>
                    <a:lnTo>
                      <a:pt x="258" y="0"/>
                    </a:lnTo>
                    <a:lnTo>
                      <a:pt x="256" y="2"/>
                    </a:lnTo>
                    <a:lnTo>
                      <a:pt x="252" y="2"/>
                    </a:lnTo>
                    <a:lnTo>
                      <a:pt x="248" y="4"/>
                    </a:lnTo>
                    <a:lnTo>
                      <a:pt x="245" y="6"/>
                    </a:lnTo>
                    <a:lnTo>
                      <a:pt x="239" y="10"/>
                    </a:lnTo>
                    <a:lnTo>
                      <a:pt x="231" y="13"/>
                    </a:lnTo>
                    <a:lnTo>
                      <a:pt x="226" y="17"/>
                    </a:lnTo>
                    <a:lnTo>
                      <a:pt x="218" y="21"/>
                    </a:lnTo>
                    <a:lnTo>
                      <a:pt x="210" y="27"/>
                    </a:lnTo>
                    <a:lnTo>
                      <a:pt x="203" y="32"/>
                    </a:lnTo>
                    <a:lnTo>
                      <a:pt x="197" y="38"/>
                    </a:lnTo>
                    <a:lnTo>
                      <a:pt x="190" y="44"/>
                    </a:lnTo>
                    <a:lnTo>
                      <a:pt x="186" y="51"/>
                    </a:lnTo>
                    <a:lnTo>
                      <a:pt x="182" y="55"/>
                    </a:lnTo>
                    <a:lnTo>
                      <a:pt x="180" y="59"/>
                    </a:lnTo>
                    <a:lnTo>
                      <a:pt x="178" y="63"/>
                    </a:lnTo>
                    <a:lnTo>
                      <a:pt x="174" y="67"/>
                    </a:lnTo>
                    <a:lnTo>
                      <a:pt x="171" y="74"/>
                    </a:lnTo>
                    <a:lnTo>
                      <a:pt x="167" y="82"/>
                    </a:lnTo>
                    <a:lnTo>
                      <a:pt x="165" y="86"/>
                    </a:lnTo>
                    <a:lnTo>
                      <a:pt x="163" y="89"/>
                    </a:lnTo>
                    <a:lnTo>
                      <a:pt x="161" y="93"/>
                    </a:lnTo>
                    <a:lnTo>
                      <a:pt x="161" y="97"/>
                    </a:lnTo>
                    <a:lnTo>
                      <a:pt x="159" y="101"/>
                    </a:lnTo>
                    <a:lnTo>
                      <a:pt x="157" y="105"/>
                    </a:lnTo>
                    <a:lnTo>
                      <a:pt x="155" y="108"/>
                    </a:lnTo>
                    <a:lnTo>
                      <a:pt x="155" y="112"/>
                    </a:lnTo>
                    <a:lnTo>
                      <a:pt x="153" y="118"/>
                    </a:lnTo>
                    <a:lnTo>
                      <a:pt x="153" y="122"/>
                    </a:lnTo>
                    <a:lnTo>
                      <a:pt x="153" y="126"/>
                    </a:lnTo>
                    <a:lnTo>
                      <a:pt x="153" y="131"/>
                    </a:lnTo>
                    <a:lnTo>
                      <a:pt x="152" y="135"/>
                    </a:lnTo>
                    <a:lnTo>
                      <a:pt x="150" y="141"/>
                    </a:lnTo>
                    <a:lnTo>
                      <a:pt x="150" y="146"/>
                    </a:lnTo>
                    <a:lnTo>
                      <a:pt x="150" y="152"/>
                    </a:lnTo>
                    <a:lnTo>
                      <a:pt x="150" y="158"/>
                    </a:lnTo>
                    <a:lnTo>
                      <a:pt x="150" y="164"/>
                    </a:lnTo>
                    <a:lnTo>
                      <a:pt x="150" y="169"/>
                    </a:lnTo>
                    <a:lnTo>
                      <a:pt x="150" y="177"/>
                    </a:lnTo>
                    <a:lnTo>
                      <a:pt x="150" y="183"/>
                    </a:lnTo>
                    <a:lnTo>
                      <a:pt x="150" y="190"/>
                    </a:lnTo>
                    <a:lnTo>
                      <a:pt x="150" y="194"/>
                    </a:lnTo>
                    <a:lnTo>
                      <a:pt x="150" y="198"/>
                    </a:lnTo>
                    <a:lnTo>
                      <a:pt x="150" y="202"/>
                    </a:lnTo>
                    <a:lnTo>
                      <a:pt x="150" y="205"/>
                    </a:lnTo>
                    <a:lnTo>
                      <a:pt x="150" y="209"/>
                    </a:lnTo>
                    <a:lnTo>
                      <a:pt x="150" y="213"/>
                    </a:lnTo>
                    <a:lnTo>
                      <a:pt x="150" y="217"/>
                    </a:lnTo>
                    <a:lnTo>
                      <a:pt x="150" y="221"/>
                    </a:lnTo>
                    <a:lnTo>
                      <a:pt x="150" y="226"/>
                    </a:lnTo>
                    <a:lnTo>
                      <a:pt x="150" y="230"/>
                    </a:lnTo>
                    <a:lnTo>
                      <a:pt x="150" y="236"/>
                    </a:lnTo>
                    <a:lnTo>
                      <a:pt x="150" y="240"/>
                    </a:lnTo>
                    <a:lnTo>
                      <a:pt x="150" y="243"/>
                    </a:lnTo>
                    <a:lnTo>
                      <a:pt x="150" y="247"/>
                    </a:lnTo>
                    <a:lnTo>
                      <a:pt x="150" y="253"/>
                    </a:lnTo>
                    <a:lnTo>
                      <a:pt x="150" y="257"/>
                    </a:lnTo>
                    <a:lnTo>
                      <a:pt x="150" y="261"/>
                    </a:lnTo>
                    <a:lnTo>
                      <a:pt x="150" y="264"/>
                    </a:lnTo>
                    <a:lnTo>
                      <a:pt x="148" y="270"/>
                    </a:lnTo>
                    <a:lnTo>
                      <a:pt x="148" y="274"/>
                    </a:lnTo>
                    <a:lnTo>
                      <a:pt x="148" y="278"/>
                    </a:lnTo>
                    <a:lnTo>
                      <a:pt x="146" y="281"/>
                    </a:lnTo>
                    <a:lnTo>
                      <a:pt x="146" y="285"/>
                    </a:lnTo>
                    <a:lnTo>
                      <a:pt x="146" y="289"/>
                    </a:lnTo>
                    <a:lnTo>
                      <a:pt x="144" y="293"/>
                    </a:lnTo>
                    <a:lnTo>
                      <a:pt x="144" y="297"/>
                    </a:lnTo>
                    <a:lnTo>
                      <a:pt x="142" y="300"/>
                    </a:lnTo>
                    <a:lnTo>
                      <a:pt x="140" y="304"/>
                    </a:lnTo>
                    <a:lnTo>
                      <a:pt x="138" y="310"/>
                    </a:lnTo>
                    <a:lnTo>
                      <a:pt x="134" y="318"/>
                    </a:lnTo>
                    <a:lnTo>
                      <a:pt x="131" y="323"/>
                    </a:lnTo>
                    <a:lnTo>
                      <a:pt x="129" y="329"/>
                    </a:lnTo>
                    <a:lnTo>
                      <a:pt x="123" y="335"/>
                    </a:lnTo>
                    <a:lnTo>
                      <a:pt x="119" y="342"/>
                    </a:lnTo>
                    <a:lnTo>
                      <a:pt x="115" y="346"/>
                    </a:lnTo>
                    <a:lnTo>
                      <a:pt x="112" y="352"/>
                    </a:lnTo>
                    <a:lnTo>
                      <a:pt x="108" y="357"/>
                    </a:lnTo>
                    <a:lnTo>
                      <a:pt x="102" y="361"/>
                    </a:lnTo>
                    <a:lnTo>
                      <a:pt x="98" y="367"/>
                    </a:lnTo>
                    <a:lnTo>
                      <a:pt x="93" y="371"/>
                    </a:lnTo>
                    <a:lnTo>
                      <a:pt x="87" y="375"/>
                    </a:lnTo>
                    <a:lnTo>
                      <a:pt x="81" y="378"/>
                    </a:lnTo>
                    <a:lnTo>
                      <a:pt x="77" y="382"/>
                    </a:lnTo>
                    <a:lnTo>
                      <a:pt x="72" y="386"/>
                    </a:lnTo>
                    <a:lnTo>
                      <a:pt x="66" y="388"/>
                    </a:lnTo>
                    <a:lnTo>
                      <a:pt x="60" y="392"/>
                    </a:lnTo>
                    <a:lnTo>
                      <a:pt x="55" y="394"/>
                    </a:lnTo>
                    <a:lnTo>
                      <a:pt x="49" y="397"/>
                    </a:lnTo>
                    <a:lnTo>
                      <a:pt x="43" y="399"/>
                    </a:lnTo>
                    <a:lnTo>
                      <a:pt x="38" y="401"/>
                    </a:lnTo>
                    <a:lnTo>
                      <a:pt x="32" y="403"/>
                    </a:lnTo>
                    <a:lnTo>
                      <a:pt x="28" y="407"/>
                    </a:lnTo>
                    <a:lnTo>
                      <a:pt x="0" y="399"/>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21" name="Freeform 64"/>
              <p:cNvSpPr>
                <a:spLocks/>
              </p:cNvSpPr>
              <p:nvPr/>
            </p:nvSpPr>
            <p:spPr bwMode="auto">
              <a:xfrm>
                <a:off x="2079626" y="3571876"/>
                <a:ext cx="65088" cy="190500"/>
              </a:xfrm>
              <a:custGeom>
                <a:avLst/>
                <a:gdLst>
                  <a:gd name="T0" fmla="*/ 2147483646 w 81"/>
                  <a:gd name="T1" fmla="*/ 0 h 239"/>
                  <a:gd name="T2" fmla="*/ 2147483646 w 81"/>
                  <a:gd name="T3" fmla="*/ 2147483646 h 239"/>
                  <a:gd name="T4" fmla="*/ 2147483646 w 81"/>
                  <a:gd name="T5" fmla="*/ 2147483646 h 239"/>
                  <a:gd name="T6" fmla="*/ 2147483646 w 81"/>
                  <a:gd name="T7" fmla="*/ 2147483646 h 239"/>
                  <a:gd name="T8" fmla="*/ 2147483646 w 81"/>
                  <a:gd name="T9" fmla="*/ 2147483646 h 239"/>
                  <a:gd name="T10" fmla="*/ 2147483646 w 81"/>
                  <a:gd name="T11" fmla="*/ 2147483646 h 239"/>
                  <a:gd name="T12" fmla="*/ 2147483646 w 81"/>
                  <a:gd name="T13" fmla="*/ 2147483646 h 239"/>
                  <a:gd name="T14" fmla="*/ 2147483646 w 81"/>
                  <a:gd name="T15" fmla="*/ 2147483646 h 239"/>
                  <a:gd name="T16" fmla="*/ 2147483646 w 81"/>
                  <a:gd name="T17" fmla="*/ 2147483646 h 239"/>
                  <a:gd name="T18" fmla="*/ 2147483646 w 81"/>
                  <a:gd name="T19" fmla="*/ 2147483646 h 239"/>
                  <a:gd name="T20" fmla="*/ 2147483646 w 81"/>
                  <a:gd name="T21" fmla="*/ 2147483646 h 239"/>
                  <a:gd name="T22" fmla="*/ 2147483646 w 81"/>
                  <a:gd name="T23" fmla="*/ 2147483646 h 239"/>
                  <a:gd name="T24" fmla="*/ 2147483646 w 81"/>
                  <a:gd name="T25" fmla="*/ 2147483646 h 239"/>
                  <a:gd name="T26" fmla="*/ 2147483646 w 81"/>
                  <a:gd name="T27" fmla="*/ 2147483646 h 239"/>
                  <a:gd name="T28" fmla="*/ 2147483646 w 81"/>
                  <a:gd name="T29" fmla="*/ 2147483646 h 239"/>
                  <a:gd name="T30" fmla="*/ 2147483646 w 81"/>
                  <a:gd name="T31" fmla="*/ 2147483646 h 239"/>
                  <a:gd name="T32" fmla="*/ 2147483646 w 81"/>
                  <a:gd name="T33" fmla="*/ 2147483646 h 239"/>
                  <a:gd name="T34" fmla="*/ 2147483646 w 81"/>
                  <a:gd name="T35" fmla="*/ 2147483646 h 239"/>
                  <a:gd name="T36" fmla="*/ 2147483646 w 81"/>
                  <a:gd name="T37" fmla="*/ 2147483646 h 239"/>
                  <a:gd name="T38" fmla="*/ 2147483646 w 81"/>
                  <a:gd name="T39" fmla="*/ 2147483646 h 239"/>
                  <a:gd name="T40" fmla="*/ 2147483646 w 81"/>
                  <a:gd name="T41" fmla="*/ 2147483646 h 239"/>
                  <a:gd name="T42" fmla="*/ 2147483646 w 81"/>
                  <a:gd name="T43" fmla="*/ 2147483646 h 239"/>
                  <a:gd name="T44" fmla="*/ 2147483646 w 81"/>
                  <a:gd name="T45" fmla="*/ 2147483646 h 239"/>
                  <a:gd name="T46" fmla="*/ 2147483646 w 81"/>
                  <a:gd name="T47" fmla="*/ 2147483646 h 239"/>
                  <a:gd name="T48" fmla="*/ 2147483646 w 81"/>
                  <a:gd name="T49" fmla="*/ 2147483646 h 239"/>
                  <a:gd name="T50" fmla="*/ 2147483646 w 81"/>
                  <a:gd name="T51" fmla="*/ 2147483646 h 239"/>
                  <a:gd name="T52" fmla="*/ 2147483646 w 81"/>
                  <a:gd name="T53" fmla="*/ 2147483646 h 239"/>
                  <a:gd name="T54" fmla="*/ 2147483646 w 81"/>
                  <a:gd name="T55" fmla="*/ 2147483646 h 239"/>
                  <a:gd name="T56" fmla="*/ 2147483646 w 81"/>
                  <a:gd name="T57" fmla="*/ 2147483646 h 239"/>
                  <a:gd name="T58" fmla="*/ 2147483646 w 81"/>
                  <a:gd name="T59" fmla="*/ 2147483646 h 239"/>
                  <a:gd name="T60" fmla="*/ 2147483646 w 81"/>
                  <a:gd name="T61" fmla="*/ 2147483646 h 239"/>
                  <a:gd name="T62" fmla="*/ 2147483646 w 81"/>
                  <a:gd name="T63" fmla="*/ 2147483646 h 239"/>
                  <a:gd name="T64" fmla="*/ 0 w 81"/>
                  <a:gd name="T65" fmla="*/ 2147483646 h 239"/>
                  <a:gd name="T66" fmla="*/ 0 w 81"/>
                  <a:gd name="T67" fmla="*/ 2147483646 h 239"/>
                  <a:gd name="T68" fmla="*/ 0 w 81"/>
                  <a:gd name="T69" fmla="*/ 2147483646 h 239"/>
                  <a:gd name="T70" fmla="*/ 0 w 81"/>
                  <a:gd name="T71" fmla="*/ 2147483646 h 239"/>
                  <a:gd name="T72" fmla="*/ 2147483646 w 81"/>
                  <a:gd name="T73" fmla="*/ 2147483646 h 239"/>
                  <a:gd name="T74" fmla="*/ 2147483646 w 81"/>
                  <a:gd name="T75" fmla="*/ 2147483646 h 239"/>
                  <a:gd name="T76" fmla="*/ 2147483646 w 81"/>
                  <a:gd name="T77" fmla="*/ 2147483646 h 239"/>
                  <a:gd name="T78" fmla="*/ 2147483646 w 81"/>
                  <a:gd name="T79" fmla="*/ 2147483646 h 239"/>
                  <a:gd name="T80" fmla="*/ 2147483646 w 81"/>
                  <a:gd name="T81" fmla="*/ 2147483646 h 239"/>
                  <a:gd name="T82" fmla="*/ 2147483646 w 81"/>
                  <a:gd name="T83" fmla="*/ 2147483646 h 239"/>
                  <a:gd name="T84" fmla="*/ 2147483646 w 81"/>
                  <a:gd name="T85" fmla="*/ 2147483646 h 239"/>
                  <a:gd name="T86" fmla="*/ 2147483646 w 81"/>
                  <a:gd name="T87" fmla="*/ 2147483646 h 239"/>
                  <a:gd name="T88" fmla="*/ 2147483646 w 81"/>
                  <a:gd name="T89" fmla="*/ 2147483646 h 239"/>
                  <a:gd name="T90" fmla="*/ 2147483646 w 81"/>
                  <a:gd name="T91" fmla="*/ 2147483646 h 239"/>
                  <a:gd name="T92" fmla="*/ 2147483646 w 81"/>
                  <a:gd name="T93" fmla="*/ 2147483646 h 239"/>
                  <a:gd name="T94" fmla="*/ 2147483646 w 81"/>
                  <a:gd name="T95" fmla="*/ 2147483646 h 239"/>
                  <a:gd name="T96" fmla="*/ 2147483646 w 81"/>
                  <a:gd name="T97" fmla="*/ 2147483646 h 239"/>
                  <a:gd name="T98" fmla="*/ 2147483646 w 81"/>
                  <a:gd name="T99" fmla="*/ 0 h 23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
                  <a:gd name="T151" fmla="*/ 0 h 239"/>
                  <a:gd name="T152" fmla="*/ 81 w 81"/>
                  <a:gd name="T153" fmla="*/ 239 h 23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 h="239">
                    <a:moveTo>
                      <a:pt x="81" y="0"/>
                    </a:moveTo>
                    <a:lnTo>
                      <a:pt x="79" y="0"/>
                    </a:lnTo>
                    <a:lnTo>
                      <a:pt x="79" y="2"/>
                    </a:lnTo>
                    <a:lnTo>
                      <a:pt x="76" y="3"/>
                    </a:lnTo>
                    <a:lnTo>
                      <a:pt x="74" y="9"/>
                    </a:lnTo>
                    <a:lnTo>
                      <a:pt x="70" y="15"/>
                    </a:lnTo>
                    <a:lnTo>
                      <a:pt x="66" y="22"/>
                    </a:lnTo>
                    <a:lnTo>
                      <a:pt x="64" y="26"/>
                    </a:lnTo>
                    <a:lnTo>
                      <a:pt x="62" y="30"/>
                    </a:lnTo>
                    <a:lnTo>
                      <a:pt x="60" y="34"/>
                    </a:lnTo>
                    <a:lnTo>
                      <a:pt x="59" y="40"/>
                    </a:lnTo>
                    <a:lnTo>
                      <a:pt x="55" y="43"/>
                    </a:lnTo>
                    <a:lnTo>
                      <a:pt x="53" y="49"/>
                    </a:lnTo>
                    <a:lnTo>
                      <a:pt x="51" y="55"/>
                    </a:lnTo>
                    <a:lnTo>
                      <a:pt x="49" y="60"/>
                    </a:lnTo>
                    <a:lnTo>
                      <a:pt x="47" y="66"/>
                    </a:lnTo>
                    <a:lnTo>
                      <a:pt x="45" y="72"/>
                    </a:lnTo>
                    <a:lnTo>
                      <a:pt x="43" y="78"/>
                    </a:lnTo>
                    <a:lnTo>
                      <a:pt x="41" y="85"/>
                    </a:lnTo>
                    <a:lnTo>
                      <a:pt x="40" y="91"/>
                    </a:lnTo>
                    <a:lnTo>
                      <a:pt x="38" y="97"/>
                    </a:lnTo>
                    <a:lnTo>
                      <a:pt x="36" y="104"/>
                    </a:lnTo>
                    <a:lnTo>
                      <a:pt x="36" y="112"/>
                    </a:lnTo>
                    <a:lnTo>
                      <a:pt x="36" y="117"/>
                    </a:lnTo>
                    <a:lnTo>
                      <a:pt x="34" y="125"/>
                    </a:lnTo>
                    <a:lnTo>
                      <a:pt x="34" y="129"/>
                    </a:lnTo>
                    <a:lnTo>
                      <a:pt x="34" y="133"/>
                    </a:lnTo>
                    <a:lnTo>
                      <a:pt x="34" y="136"/>
                    </a:lnTo>
                    <a:lnTo>
                      <a:pt x="34" y="140"/>
                    </a:lnTo>
                    <a:lnTo>
                      <a:pt x="34" y="148"/>
                    </a:lnTo>
                    <a:lnTo>
                      <a:pt x="34" y="154"/>
                    </a:lnTo>
                    <a:lnTo>
                      <a:pt x="34" y="159"/>
                    </a:lnTo>
                    <a:lnTo>
                      <a:pt x="34" y="167"/>
                    </a:lnTo>
                    <a:lnTo>
                      <a:pt x="34" y="171"/>
                    </a:lnTo>
                    <a:lnTo>
                      <a:pt x="34" y="176"/>
                    </a:lnTo>
                    <a:lnTo>
                      <a:pt x="34" y="182"/>
                    </a:lnTo>
                    <a:lnTo>
                      <a:pt x="36" y="186"/>
                    </a:lnTo>
                    <a:lnTo>
                      <a:pt x="36" y="190"/>
                    </a:lnTo>
                    <a:lnTo>
                      <a:pt x="36" y="194"/>
                    </a:lnTo>
                    <a:lnTo>
                      <a:pt x="36" y="197"/>
                    </a:lnTo>
                    <a:lnTo>
                      <a:pt x="36" y="201"/>
                    </a:lnTo>
                    <a:lnTo>
                      <a:pt x="38" y="207"/>
                    </a:lnTo>
                    <a:lnTo>
                      <a:pt x="40" y="213"/>
                    </a:lnTo>
                    <a:lnTo>
                      <a:pt x="40" y="216"/>
                    </a:lnTo>
                    <a:lnTo>
                      <a:pt x="40" y="220"/>
                    </a:lnTo>
                    <a:lnTo>
                      <a:pt x="40" y="222"/>
                    </a:lnTo>
                    <a:lnTo>
                      <a:pt x="41" y="224"/>
                    </a:lnTo>
                    <a:lnTo>
                      <a:pt x="43" y="226"/>
                    </a:lnTo>
                    <a:lnTo>
                      <a:pt x="43" y="228"/>
                    </a:lnTo>
                    <a:lnTo>
                      <a:pt x="17" y="239"/>
                    </a:lnTo>
                    <a:lnTo>
                      <a:pt x="15" y="237"/>
                    </a:lnTo>
                    <a:lnTo>
                      <a:pt x="15" y="235"/>
                    </a:lnTo>
                    <a:lnTo>
                      <a:pt x="13" y="232"/>
                    </a:lnTo>
                    <a:lnTo>
                      <a:pt x="11" y="228"/>
                    </a:lnTo>
                    <a:lnTo>
                      <a:pt x="9" y="224"/>
                    </a:lnTo>
                    <a:lnTo>
                      <a:pt x="9" y="220"/>
                    </a:lnTo>
                    <a:lnTo>
                      <a:pt x="7" y="216"/>
                    </a:lnTo>
                    <a:lnTo>
                      <a:pt x="7" y="213"/>
                    </a:lnTo>
                    <a:lnTo>
                      <a:pt x="5" y="209"/>
                    </a:lnTo>
                    <a:lnTo>
                      <a:pt x="3" y="203"/>
                    </a:lnTo>
                    <a:lnTo>
                      <a:pt x="3" y="199"/>
                    </a:lnTo>
                    <a:lnTo>
                      <a:pt x="3" y="194"/>
                    </a:lnTo>
                    <a:lnTo>
                      <a:pt x="2" y="190"/>
                    </a:lnTo>
                    <a:lnTo>
                      <a:pt x="2" y="184"/>
                    </a:lnTo>
                    <a:lnTo>
                      <a:pt x="0" y="176"/>
                    </a:lnTo>
                    <a:lnTo>
                      <a:pt x="0" y="173"/>
                    </a:lnTo>
                    <a:lnTo>
                      <a:pt x="0" y="165"/>
                    </a:lnTo>
                    <a:lnTo>
                      <a:pt x="0" y="159"/>
                    </a:lnTo>
                    <a:lnTo>
                      <a:pt x="0" y="154"/>
                    </a:lnTo>
                    <a:lnTo>
                      <a:pt x="0" y="148"/>
                    </a:lnTo>
                    <a:lnTo>
                      <a:pt x="0" y="140"/>
                    </a:lnTo>
                    <a:lnTo>
                      <a:pt x="0" y="133"/>
                    </a:lnTo>
                    <a:lnTo>
                      <a:pt x="2" y="127"/>
                    </a:lnTo>
                    <a:lnTo>
                      <a:pt x="2" y="119"/>
                    </a:lnTo>
                    <a:lnTo>
                      <a:pt x="3" y="112"/>
                    </a:lnTo>
                    <a:lnTo>
                      <a:pt x="5" y="104"/>
                    </a:lnTo>
                    <a:lnTo>
                      <a:pt x="7" y="98"/>
                    </a:lnTo>
                    <a:lnTo>
                      <a:pt x="11" y="91"/>
                    </a:lnTo>
                    <a:lnTo>
                      <a:pt x="11" y="87"/>
                    </a:lnTo>
                    <a:lnTo>
                      <a:pt x="13" y="83"/>
                    </a:lnTo>
                    <a:lnTo>
                      <a:pt x="15" y="79"/>
                    </a:lnTo>
                    <a:lnTo>
                      <a:pt x="17" y="76"/>
                    </a:lnTo>
                    <a:lnTo>
                      <a:pt x="19" y="70"/>
                    </a:lnTo>
                    <a:lnTo>
                      <a:pt x="21" y="64"/>
                    </a:lnTo>
                    <a:lnTo>
                      <a:pt x="24" y="59"/>
                    </a:lnTo>
                    <a:lnTo>
                      <a:pt x="26" y="53"/>
                    </a:lnTo>
                    <a:lnTo>
                      <a:pt x="30" y="47"/>
                    </a:lnTo>
                    <a:lnTo>
                      <a:pt x="34" y="43"/>
                    </a:lnTo>
                    <a:lnTo>
                      <a:pt x="36" y="38"/>
                    </a:lnTo>
                    <a:lnTo>
                      <a:pt x="40" y="34"/>
                    </a:lnTo>
                    <a:lnTo>
                      <a:pt x="41" y="30"/>
                    </a:lnTo>
                    <a:lnTo>
                      <a:pt x="45" y="26"/>
                    </a:lnTo>
                    <a:lnTo>
                      <a:pt x="51" y="21"/>
                    </a:lnTo>
                    <a:lnTo>
                      <a:pt x="57" y="15"/>
                    </a:lnTo>
                    <a:lnTo>
                      <a:pt x="60" y="11"/>
                    </a:lnTo>
                    <a:lnTo>
                      <a:pt x="66" y="7"/>
                    </a:lnTo>
                    <a:lnTo>
                      <a:pt x="70" y="3"/>
                    </a:lnTo>
                    <a:lnTo>
                      <a:pt x="74" y="2"/>
                    </a:lnTo>
                    <a:lnTo>
                      <a:pt x="79" y="0"/>
                    </a:lnTo>
                    <a:lnTo>
                      <a:pt x="81"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22" name="Freeform 65"/>
              <p:cNvSpPr>
                <a:spLocks/>
              </p:cNvSpPr>
              <p:nvPr/>
            </p:nvSpPr>
            <p:spPr bwMode="auto">
              <a:xfrm>
                <a:off x="2051051" y="3743326"/>
                <a:ext cx="230188" cy="265113"/>
              </a:xfrm>
              <a:custGeom>
                <a:avLst/>
                <a:gdLst>
                  <a:gd name="T0" fmla="*/ 2147483646 w 290"/>
                  <a:gd name="T1" fmla="*/ 2147483646 h 335"/>
                  <a:gd name="T2" fmla="*/ 2147483646 w 290"/>
                  <a:gd name="T3" fmla="*/ 2147483646 h 335"/>
                  <a:gd name="T4" fmla="*/ 2147483646 w 290"/>
                  <a:gd name="T5" fmla="*/ 2147483646 h 335"/>
                  <a:gd name="T6" fmla="*/ 2147483646 w 290"/>
                  <a:gd name="T7" fmla="*/ 2147483646 h 335"/>
                  <a:gd name="T8" fmla="*/ 2147483646 w 290"/>
                  <a:gd name="T9" fmla="*/ 2147483646 h 335"/>
                  <a:gd name="T10" fmla="*/ 2147483646 w 290"/>
                  <a:gd name="T11" fmla="*/ 2147483646 h 335"/>
                  <a:gd name="T12" fmla="*/ 2147483646 w 290"/>
                  <a:gd name="T13" fmla="*/ 2147483646 h 335"/>
                  <a:gd name="T14" fmla="*/ 2147483646 w 290"/>
                  <a:gd name="T15" fmla="*/ 2147483646 h 335"/>
                  <a:gd name="T16" fmla="*/ 2147483646 w 290"/>
                  <a:gd name="T17" fmla="*/ 2147483646 h 335"/>
                  <a:gd name="T18" fmla="*/ 2147483646 w 290"/>
                  <a:gd name="T19" fmla="*/ 2147483646 h 335"/>
                  <a:gd name="T20" fmla="*/ 2147483646 w 290"/>
                  <a:gd name="T21" fmla="*/ 2147483646 h 335"/>
                  <a:gd name="T22" fmla="*/ 2147483646 w 290"/>
                  <a:gd name="T23" fmla="*/ 2147483646 h 335"/>
                  <a:gd name="T24" fmla="*/ 2147483646 w 290"/>
                  <a:gd name="T25" fmla="*/ 2147483646 h 335"/>
                  <a:gd name="T26" fmla="*/ 2147483646 w 290"/>
                  <a:gd name="T27" fmla="*/ 2147483646 h 335"/>
                  <a:gd name="T28" fmla="*/ 2147483646 w 290"/>
                  <a:gd name="T29" fmla="*/ 2147483646 h 335"/>
                  <a:gd name="T30" fmla="*/ 2147483646 w 290"/>
                  <a:gd name="T31" fmla="*/ 2147483646 h 335"/>
                  <a:gd name="T32" fmla="*/ 2147483646 w 290"/>
                  <a:gd name="T33" fmla="*/ 2147483646 h 335"/>
                  <a:gd name="T34" fmla="*/ 2147483646 w 290"/>
                  <a:gd name="T35" fmla="*/ 2147483646 h 335"/>
                  <a:gd name="T36" fmla="*/ 2147483646 w 290"/>
                  <a:gd name="T37" fmla="*/ 2147483646 h 335"/>
                  <a:gd name="T38" fmla="*/ 2147483646 w 290"/>
                  <a:gd name="T39" fmla="*/ 2147483646 h 335"/>
                  <a:gd name="T40" fmla="*/ 2147483646 w 290"/>
                  <a:gd name="T41" fmla="*/ 2147483646 h 335"/>
                  <a:gd name="T42" fmla="*/ 2147483646 w 290"/>
                  <a:gd name="T43" fmla="*/ 2147483646 h 335"/>
                  <a:gd name="T44" fmla="*/ 2147483646 w 290"/>
                  <a:gd name="T45" fmla="*/ 2147483646 h 335"/>
                  <a:gd name="T46" fmla="*/ 2147483646 w 290"/>
                  <a:gd name="T47" fmla="*/ 2147483646 h 335"/>
                  <a:gd name="T48" fmla="*/ 2147483646 w 290"/>
                  <a:gd name="T49" fmla="*/ 2147483646 h 335"/>
                  <a:gd name="T50" fmla="*/ 2147483646 w 290"/>
                  <a:gd name="T51" fmla="*/ 2147483646 h 335"/>
                  <a:gd name="T52" fmla="*/ 0 w 290"/>
                  <a:gd name="T53" fmla="*/ 2147483646 h 335"/>
                  <a:gd name="T54" fmla="*/ 2147483646 w 290"/>
                  <a:gd name="T55" fmla="*/ 2147483646 h 335"/>
                  <a:gd name="T56" fmla="*/ 2147483646 w 290"/>
                  <a:gd name="T57" fmla="*/ 2147483646 h 335"/>
                  <a:gd name="T58" fmla="*/ 2147483646 w 290"/>
                  <a:gd name="T59" fmla="*/ 2147483646 h 335"/>
                  <a:gd name="T60" fmla="*/ 2147483646 w 290"/>
                  <a:gd name="T61" fmla="*/ 2147483646 h 335"/>
                  <a:gd name="T62" fmla="*/ 2147483646 w 290"/>
                  <a:gd name="T63" fmla="*/ 2147483646 h 335"/>
                  <a:gd name="T64" fmla="*/ 2147483646 w 290"/>
                  <a:gd name="T65" fmla="*/ 2147483646 h 335"/>
                  <a:gd name="T66" fmla="*/ 2147483646 w 290"/>
                  <a:gd name="T67" fmla="*/ 2147483646 h 335"/>
                  <a:gd name="T68" fmla="*/ 2147483646 w 290"/>
                  <a:gd name="T69" fmla="*/ 2147483646 h 335"/>
                  <a:gd name="T70" fmla="*/ 2147483646 w 290"/>
                  <a:gd name="T71" fmla="*/ 2147483646 h 335"/>
                  <a:gd name="T72" fmla="*/ 2147483646 w 290"/>
                  <a:gd name="T73" fmla="*/ 2147483646 h 335"/>
                  <a:gd name="T74" fmla="*/ 2147483646 w 290"/>
                  <a:gd name="T75" fmla="*/ 2147483646 h 335"/>
                  <a:gd name="T76" fmla="*/ 2147483646 w 290"/>
                  <a:gd name="T77" fmla="*/ 2147483646 h 335"/>
                  <a:gd name="T78" fmla="*/ 2147483646 w 290"/>
                  <a:gd name="T79" fmla="*/ 2147483646 h 335"/>
                  <a:gd name="T80" fmla="*/ 2147483646 w 290"/>
                  <a:gd name="T81" fmla="*/ 2147483646 h 335"/>
                  <a:gd name="T82" fmla="*/ 2147483646 w 290"/>
                  <a:gd name="T83" fmla="*/ 2147483646 h 335"/>
                  <a:gd name="T84" fmla="*/ 2147483646 w 290"/>
                  <a:gd name="T85" fmla="*/ 2147483646 h 335"/>
                  <a:gd name="T86" fmla="*/ 2147483646 w 290"/>
                  <a:gd name="T87" fmla="*/ 2147483646 h 335"/>
                  <a:gd name="T88" fmla="*/ 2147483646 w 290"/>
                  <a:gd name="T89" fmla="*/ 2147483646 h 335"/>
                  <a:gd name="T90" fmla="*/ 2147483646 w 290"/>
                  <a:gd name="T91" fmla="*/ 2147483646 h 335"/>
                  <a:gd name="T92" fmla="*/ 2147483646 w 290"/>
                  <a:gd name="T93" fmla="*/ 2147483646 h 335"/>
                  <a:gd name="T94" fmla="*/ 2147483646 w 290"/>
                  <a:gd name="T95" fmla="*/ 2147483646 h 335"/>
                  <a:gd name="T96" fmla="*/ 2147483646 w 290"/>
                  <a:gd name="T97" fmla="*/ 2147483646 h 335"/>
                  <a:gd name="T98" fmla="*/ 2147483646 w 290"/>
                  <a:gd name="T99" fmla="*/ 2147483646 h 335"/>
                  <a:gd name="T100" fmla="*/ 2147483646 w 290"/>
                  <a:gd name="T101" fmla="*/ 2147483646 h 335"/>
                  <a:gd name="T102" fmla="*/ 2147483646 w 290"/>
                  <a:gd name="T103" fmla="*/ 2147483646 h 335"/>
                  <a:gd name="T104" fmla="*/ 2147483646 w 290"/>
                  <a:gd name="T105" fmla="*/ 2147483646 h 335"/>
                  <a:gd name="T106" fmla="*/ 2147483646 w 290"/>
                  <a:gd name="T107" fmla="*/ 2147483646 h 335"/>
                  <a:gd name="T108" fmla="*/ 2147483646 w 290"/>
                  <a:gd name="T109" fmla="*/ 2147483646 h 335"/>
                  <a:gd name="T110" fmla="*/ 2147483646 w 290"/>
                  <a:gd name="T111" fmla="*/ 2147483646 h 335"/>
                  <a:gd name="T112" fmla="*/ 2147483646 w 290"/>
                  <a:gd name="T113" fmla="*/ 0 h 3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0"/>
                  <a:gd name="T172" fmla="*/ 0 h 335"/>
                  <a:gd name="T173" fmla="*/ 290 w 290"/>
                  <a:gd name="T174" fmla="*/ 335 h 33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0" h="335">
                    <a:moveTo>
                      <a:pt x="248" y="0"/>
                    </a:moveTo>
                    <a:lnTo>
                      <a:pt x="248" y="0"/>
                    </a:lnTo>
                    <a:lnTo>
                      <a:pt x="250" y="4"/>
                    </a:lnTo>
                    <a:lnTo>
                      <a:pt x="252" y="8"/>
                    </a:lnTo>
                    <a:lnTo>
                      <a:pt x="254" y="14"/>
                    </a:lnTo>
                    <a:lnTo>
                      <a:pt x="254" y="17"/>
                    </a:lnTo>
                    <a:lnTo>
                      <a:pt x="256" y="21"/>
                    </a:lnTo>
                    <a:lnTo>
                      <a:pt x="256" y="27"/>
                    </a:lnTo>
                    <a:lnTo>
                      <a:pt x="258" y="31"/>
                    </a:lnTo>
                    <a:lnTo>
                      <a:pt x="258" y="36"/>
                    </a:lnTo>
                    <a:lnTo>
                      <a:pt x="258" y="42"/>
                    </a:lnTo>
                    <a:lnTo>
                      <a:pt x="258" y="48"/>
                    </a:lnTo>
                    <a:lnTo>
                      <a:pt x="260" y="54"/>
                    </a:lnTo>
                    <a:lnTo>
                      <a:pt x="258" y="59"/>
                    </a:lnTo>
                    <a:lnTo>
                      <a:pt x="258" y="65"/>
                    </a:lnTo>
                    <a:lnTo>
                      <a:pt x="258" y="73"/>
                    </a:lnTo>
                    <a:lnTo>
                      <a:pt x="256" y="78"/>
                    </a:lnTo>
                    <a:lnTo>
                      <a:pt x="254" y="86"/>
                    </a:lnTo>
                    <a:lnTo>
                      <a:pt x="254" y="93"/>
                    </a:lnTo>
                    <a:lnTo>
                      <a:pt x="250" y="99"/>
                    </a:lnTo>
                    <a:lnTo>
                      <a:pt x="248" y="107"/>
                    </a:lnTo>
                    <a:lnTo>
                      <a:pt x="245" y="114"/>
                    </a:lnTo>
                    <a:lnTo>
                      <a:pt x="241" y="122"/>
                    </a:lnTo>
                    <a:lnTo>
                      <a:pt x="237" y="128"/>
                    </a:lnTo>
                    <a:lnTo>
                      <a:pt x="231" y="135"/>
                    </a:lnTo>
                    <a:lnTo>
                      <a:pt x="226" y="143"/>
                    </a:lnTo>
                    <a:lnTo>
                      <a:pt x="220" y="151"/>
                    </a:lnTo>
                    <a:lnTo>
                      <a:pt x="216" y="154"/>
                    </a:lnTo>
                    <a:lnTo>
                      <a:pt x="212" y="158"/>
                    </a:lnTo>
                    <a:lnTo>
                      <a:pt x="209" y="162"/>
                    </a:lnTo>
                    <a:lnTo>
                      <a:pt x="207" y="166"/>
                    </a:lnTo>
                    <a:lnTo>
                      <a:pt x="201" y="168"/>
                    </a:lnTo>
                    <a:lnTo>
                      <a:pt x="197" y="171"/>
                    </a:lnTo>
                    <a:lnTo>
                      <a:pt x="193" y="175"/>
                    </a:lnTo>
                    <a:lnTo>
                      <a:pt x="190" y="177"/>
                    </a:lnTo>
                    <a:lnTo>
                      <a:pt x="186" y="181"/>
                    </a:lnTo>
                    <a:lnTo>
                      <a:pt x="180" y="183"/>
                    </a:lnTo>
                    <a:lnTo>
                      <a:pt x="176" y="187"/>
                    </a:lnTo>
                    <a:lnTo>
                      <a:pt x="172" y="189"/>
                    </a:lnTo>
                    <a:lnTo>
                      <a:pt x="169" y="192"/>
                    </a:lnTo>
                    <a:lnTo>
                      <a:pt x="163" y="194"/>
                    </a:lnTo>
                    <a:lnTo>
                      <a:pt x="159" y="196"/>
                    </a:lnTo>
                    <a:lnTo>
                      <a:pt x="155" y="200"/>
                    </a:lnTo>
                    <a:lnTo>
                      <a:pt x="150" y="202"/>
                    </a:lnTo>
                    <a:lnTo>
                      <a:pt x="146" y="204"/>
                    </a:lnTo>
                    <a:lnTo>
                      <a:pt x="142" y="206"/>
                    </a:lnTo>
                    <a:lnTo>
                      <a:pt x="138" y="209"/>
                    </a:lnTo>
                    <a:lnTo>
                      <a:pt x="133" y="209"/>
                    </a:lnTo>
                    <a:lnTo>
                      <a:pt x="129" y="211"/>
                    </a:lnTo>
                    <a:lnTo>
                      <a:pt x="123" y="213"/>
                    </a:lnTo>
                    <a:lnTo>
                      <a:pt x="119" y="217"/>
                    </a:lnTo>
                    <a:lnTo>
                      <a:pt x="115" y="217"/>
                    </a:lnTo>
                    <a:lnTo>
                      <a:pt x="112" y="219"/>
                    </a:lnTo>
                    <a:lnTo>
                      <a:pt x="106" y="221"/>
                    </a:lnTo>
                    <a:lnTo>
                      <a:pt x="102" y="225"/>
                    </a:lnTo>
                    <a:lnTo>
                      <a:pt x="98" y="225"/>
                    </a:lnTo>
                    <a:lnTo>
                      <a:pt x="95" y="227"/>
                    </a:lnTo>
                    <a:lnTo>
                      <a:pt x="91" y="228"/>
                    </a:lnTo>
                    <a:lnTo>
                      <a:pt x="87" y="230"/>
                    </a:lnTo>
                    <a:lnTo>
                      <a:pt x="81" y="232"/>
                    </a:lnTo>
                    <a:lnTo>
                      <a:pt x="77" y="234"/>
                    </a:lnTo>
                    <a:lnTo>
                      <a:pt x="74" y="236"/>
                    </a:lnTo>
                    <a:lnTo>
                      <a:pt x="70" y="238"/>
                    </a:lnTo>
                    <a:lnTo>
                      <a:pt x="66" y="238"/>
                    </a:lnTo>
                    <a:lnTo>
                      <a:pt x="62" y="240"/>
                    </a:lnTo>
                    <a:lnTo>
                      <a:pt x="58" y="242"/>
                    </a:lnTo>
                    <a:lnTo>
                      <a:pt x="55" y="244"/>
                    </a:lnTo>
                    <a:lnTo>
                      <a:pt x="47" y="247"/>
                    </a:lnTo>
                    <a:lnTo>
                      <a:pt x="41" y="251"/>
                    </a:lnTo>
                    <a:lnTo>
                      <a:pt x="36" y="255"/>
                    </a:lnTo>
                    <a:lnTo>
                      <a:pt x="30" y="259"/>
                    </a:lnTo>
                    <a:lnTo>
                      <a:pt x="22" y="263"/>
                    </a:lnTo>
                    <a:lnTo>
                      <a:pt x="19" y="268"/>
                    </a:lnTo>
                    <a:lnTo>
                      <a:pt x="15" y="272"/>
                    </a:lnTo>
                    <a:lnTo>
                      <a:pt x="11" y="278"/>
                    </a:lnTo>
                    <a:lnTo>
                      <a:pt x="7" y="284"/>
                    </a:lnTo>
                    <a:lnTo>
                      <a:pt x="3" y="291"/>
                    </a:lnTo>
                    <a:lnTo>
                      <a:pt x="1" y="297"/>
                    </a:lnTo>
                    <a:lnTo>
                      <a:pt x="0" y="303"/>
                    </a:lnTo>
                    <a:lnTo>
                      <a:pt x="0" y="306"/>
                    </a:lnTo>
                    <a:lnTo>
                      <a:pt x="0" y="310"/>
                    </a:lnTo>
                    <a:lnTo>
                      <a:pt x="0" y="316"/>
                    </a:lnTo>
                    <a:lnTo>
                      <a:pt x="0" y="320"/>
                    </a:lnTo>
                    <a:lnTo>
                      <a:pt x="32" y="335"/>
                    </a:lnTo>
                    <a:lnTo>
                      <a:pt x="32" y="333"/>
                    </a:lnTo>
                    <a:lnTo>
                      <a:pt x="32" y="329"/>
                    </a:lnTo>
                    <a:lnTo>
                      <a:pt x="36" y="325"/>
                    </a:lnTo>
                    <a:lnTo>
                      <a:pt x="36" y="320"/>
                    </a:lnTo>
                    <a:lnTo>
                      <a:pt x="39" y="316"/>
                    </a:lnTo>
                    <a:lnTo>
                      <a:pt x="43" y="310"/>
                    </a:lnTo>
                    <a:lnTo>
                      <a:pt x="47" y="304"/>
                    </a:lnTo>
                    <a:lnTo>
                      <a:pt x="51" y="297"/>
                    </a:lnTo>
                    <a:lnTo>
                      <a:pt x="57" y="291"/>
                    </a:lnTo>
                    <a:lnTo>
                      <a:pt x="60" y="287"/>
                    </a:lnTo>
                    <a:lnTo>
                      <a:pt x="64" y="284"/>
                    </a:lnTo>
                    <a:lnTo>
                      <a:pt x="68" y="282"/>
                    </a:lnTo>
                    <a:lnTo>
                      <a:pt x="72" y="278"/>
                    </a:lnTo>
                    <a:lnTo>
                      <a:pt x="76" y="274"/>
                    </a:lnTo>
                    <a:lnTo>
                      <a:pt x="79" y="270"/>
                    </a:lnTo>
                    <a:lnTo>
                      <a:pt x="83" y="268"/>
                    </a:lnTo>
                    <a:lnTo>
                      <a:pt x="89" y="266"/>
                    </a:lnTo>
                    <a:lnTo>
                      <a:pt x="93" y="263"/>
                    </a:lnTo>
                    <a:lnTo>
                      <a:pt x="98" y="261"/>
                    </a:lnTo>
                    <a:lnTo>
                      <a:pt x="104" y="259"/>
                    </a:lnTo>
                    <a:lnTo>
                      <a:pt x="110" y="257"/>
                    </a:lnTo>
                    <a:lnTo>
                      <a:pt x="115" y="253"/>
                    </a:lnTo>
                    <a:lnTo>
                      <a:pt x="121" y="251"/>
                    </a:lnTo>
                    <a:lnTo>
                      <a:pt x="129" y="247"/>
                    </a:lnTo>
                    <a:lnTo>
                      <a:pt x="134" y="246"/>
                    </a:lnTo>
                    <a:lnTo>
                      <a:pt x="142" y="242"/>
                    </a:lnTo>
                    <a:lnTo>
                      <a:pt x="150" y="238"/>
                    </a:lnTo>
                    <a:lnTo>
                      <a:pt x="153" y="236"/>
                    </a:lnTo>
                    <a:lnTo>
                      <a:pt x="155" y="234"/>
                    </a:lnTo>
                    <a:lnTo>
                      <a:pt x="161" y="232"/>
                    </a:lnTo>
                    <a:lnTo>
                      <a:pt x="165" y="232"/>
                    </a:lnTo>
                    <a:lnTo>
                      <a:pt x="169" y="228"/>
                    </a:lnTo>
                    <a:lnTo>
                      <a:pt x="172" y="227"/>
                    </a:lnTo>
                    <a:lnTo>
                      <a:pt x="174" y="225"/>
                    </a:lnTo>
                    <a:lnTo>
                      <a:pt x="180" y="223"/>
                    </a:lnTo>
                    <a:lnTo>
                      <a:pt x="182" y="219"/>
                    </a:lnTo>
                    <a:lnTo>
                      <a:pt x="188" y="217"/>
                    </a:lnTo>
                    <a:lnTo>
                      <a:pt x="191" y="215"/>
                    </a:lnTo>
                    <a:lnTo>
                      <a:pt x="195" y="213"/>
                    </a:lnTo>
                    <a:lnTo>
                      <a:pt x="199" y="211"/>
                    </a:lnTo>
                    <a:lnTo>
                      <a:pt x="203" y="208"/>
                    </a:lnTo>
                    <a:lnTo>
                      <a:pt x="207" y="206"/>
                    </a:lnTo>
                    <a:lnTo>
                      <a:pt x="210" y="204"/>
                    </a:lnTo>
                    <a:lnTo>
                      <a:pt x="214" y="200"/>
                    </a:lnTo>
                    <a:lnTo>
                      <a:pt x="218" y="198"/>
                    </a:lnTo>
                    <a:lnTo>
                      <a:pt x="222" y="196"/>
                    </a:lnTo>
                    <a:lnTo>
                      <a:pt x="226" y="194"/>
                    </a:lnTo>
                    <a:lnTo>
                      <a:pt x="233" y="187"/>
                    </a:lnTo>
                    <a:lnTo>
                      <a:pt x="239" y="183"/>
                    </a:lnTo>
                    <a:lnTo>
                      <a:pt x="247" y="175"/>
                    </a:lnTo>
                    <a:lnTo>
                      <a:pt x="252" y="170"/>
                    </a:lnTo>
                    <a:lnTo>
                      <a:pt x="258" y="164"/>
                    </a:lnTo>
                    <a:lnTo>
                      <a:pt x="264" y="158"/>
                    </a:lnTo>
                    <a:lnTo>
                      <a:pt x="269" y="151"/>
                    </a:lnTo>
                    <a:lnTo>
                      <a:pt x="273" y="145"/>
                    </a:lnTo>
                    <a:lnTo>
                      <a:pt x="277" y="137"/>
                    </a:lnTo>
                    <a:lnTo>
                      <a:pt x="281" y="130"/>
                    </a:lnTo>
                    <a:lnTo>
                      <a:pt x="285" y="124"/>
                    </a:lnTo>
                    <a:lnTo>
                      <a:pt x="286" y="116"/>
                    </a:lnTo>
                    <a:lnTo>
                      <a:pt x="288" y="112"/>
                    </a:lnTo>
                    <a:lnTo>
                      <a:pt x="288" y="109"/>
                    </a:lnTo>
                    <a:lnTo>
                      <a:pt x="288" y="105"/>
                    </a:lnTo>
                    <a:lnTo>
                      <a:pt x="290" y="101"/>
                    </a:lnTo>
                    <a:lnTo>
                      <a:pt x="290" y="93"/>
                    </a:lnTo>
                    <a:lnTo>
                      <a:pt x="290" y="86"/>
                    </a:lnTo>
                    <a:lnTo>
                      <a:pt x="290" y="82"/>
                    </a:lnTo>
                    <a:lnTo>
                      <a:pt x="288" y="78"/>
                    </a:lnTo>
                    <a:lnTo>
                      <a:pt x="288" y="74"/>
                    </a:lnTo>
                    <a:lnTo>
                      <a:pt x="288" y="71"/>
                    </a:lnTo>
                    <a:lnTo>
                      <a:pt x="286" y="65"/>
                    </a:lnTo>
                    <a:lnTo>
                      <a:pt x="286" y="59"/>
                    </a:lnTo>
                    <a:lnTo>
                      <a:pt x="285" y="52"/>
                    </a:lnTo>
                    <a:lnTo>
                      <a:pt x="283" y="46"/>
                    </a:lnTo>
                    <a:lnTo>
                      <a:pt x="281" y="42"/>
                    </a:lnTo>
                    <a:lnTo>
                      <a:pt x="281" y="36"/>
                    </a:lnTo>
                    <a:lnTo>
                      <a:pt x="279" y="33"/>
                    </a:lnTo>
                    <a:lnTo>
                      <a:pt x="277" y="29"/>
                    </a:lnTo>
                    <a:lnTo>
                      <a:pt x="275" y="25"/>
                    </a:lnTo>
                    <a:lnTo>
                      <a:pt x="273" y="21"/>
                    </a:lnTo>
                    <a:lnTo>
                      <a:pt x="269" y="16"/>
                    </a:lnTo>
                    <a:lnTo>
                      <a:pt x="266" y="12"/>
                    </a:lnTo>
                    <a:lnTo>
                      <a:pt x="262" y="8"/>
                    </a:lnTo>
                    <a:lnTo>
                      <a:pt x="260" y="4"/>
                    </a:lnTo>
                    <a:lnTo>
                      <a:pt x="256" y="2"/>
                    </a:lnTo>
                    <a:lnTo>
                      <a:pt x="254" y="2"/>
                    </a:lnTo>
                    <a:lnTo>
                      <a:pt x="250" y="0"/>
                    </a:lnTo>
                    <a:lnTo>
                      <a:pt x="248"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23" name="Freeform 66"/>
              <p:cNvSpPr>
                <a:spLocks/>
              </p:cNvSpPr>
              <p:nvPr/>
            </p:nvSpPr>
            <p:spPr bwMode="auto">
              <a:xfrm>
                <a:off x="2063751" y="4011613"/>
                <a:ext cx="104775" cy="163513"/>
              </a:xfrm>
              <a:custGeom>
                <a:avLst/>
                <a:gdLst>
                  <a:gd name="T0" fmla="*/ 2147483646 w 131"/>
                  <a:gd name="T1" fmla="*/ 2147483646 h 205"/>
                  <a:gd name="T2" fmla="*/ 2147483646 w 131"/>
                  <a:gd name="T3" fmla="*/ 2147483646 h 205"/>
                  <a:gd name="T4" fmla="*/ 2147483646 w 131"/>
                  <a:gd name="T5" fmla="*/ 2147483646 h 205"/>
                  <a:gd name="T6" fmla="*/ 2147483646 w 131"/>
                  <a:gd name="T7" fmla="*/ 2147483646 h 205"/>
                  <a:gd name="T8" fmla="*/ 2147483646 w 131"/>
                  <a:gd name="T9" fmla="*/ 2147483646 h 205"/>
                  <a:gd name="T10" fmla="*/ 2147483646 w 131"/>
                  <a:gd name="T11" fmla="*/ 2147483646 h 205"/>
                  <a:gd name="T12" fmla="*/ 2147483646 w 131"/>
                  <a:gd name="T13" fmla="*/ 2147483646 h 205"/>
                  <a:gd name="T14" fmla="*/ 2147483646 w 131"/>
                  <a:gd name="T15" fmla="*/ 2147483646 h 205"/>
                  <a:gd name="T16" fmla="*/ 2147483646 w 131"/>
                  <a:gd name="T17" fmla="*/ 2147483646 h 205"/>
                  <a:gd name="T18" fmla="*/ 2147483646 w 131"/>
                  <a:gd name="T19" fmla="*/ 2147483646 h 205"/>
                  <a:gd name="T20" fmla="*/ 2147483646 w 131"/>
                  <a:gd name="T21" fmla="*/ 2147483646 h 205"/>
                  <a:gd name="T22" fmla="*/ 2147483646 w 131"/>
                  <a:gd name="T23" fmla="*/ 2147483646 h 205"/>
                  <a:gd name="T24" fmla="*/ 2147483646 w 131"/>
                  <a:gd name="T25" fmla="*/ 2147483646 h 205"/>
                  <a:gd name="T26" fmla="*/ 2147483646 w 131"/>
                  <a:gd name="T27" fmla="*/ 2147483646 h 205"/>
                  <a:gd name="T28" fmla="*/ 2147483646 w 131"/>
                  <a:gd name="T29" fmla="*/ 2147483646 h 205"/>
                  <a:gd name="T30" fmla="*/ 2147483646 w 131"/>
                  <a:gd name="T31" fmla="*/ 2147483646 h 205"/>
                  <a:gd name="T32" fmla="*/ 2147483646 w 131"/>
                  <a:gd name="T33" fmla="*/ 2147483646 h 205"/>
                  <a:gd name="T34" fmla="*/ 2147483646 w 131"/>
                  <a:gd name="T35" fmla="*/ 2147483646 h 205"/>
                  <a:gd name="T36" fmla="*/ 2147483646 w 131"/>
                  <a:gd name="T37" fmla="*/ 2147483646 h 205"/>
                  <a:gd name="T38" fmla="*/ 0 w 131"/>
                  <a:gd name="T39" fmla="*/ 2147483646 h 205"/>
                  <a:gd name="T40" fmla="*/ 2147483646 w 131"/>
                  <a:gd name="T41" fmla="*/ 2147483646 h 205"/>
                  <a:gd name="T42" fmla="*/ 2147483646 w 131"/>
                  <a:gd name="T43" fmla="*/ 2147483646 h 205"/>
                  <a:gd name="T44" fmla="*/ 2147483646 w 131"/>
                  <a:gd name="T45" fmla="*/ 2147483646 h 205"/>
                  <a:gd name="T46" fmla="*/ 2147483646 w 131"/>
                  <a:gd name="T47" fmla="*/ 2147483646 h 205"/>
                  <a:gd name="T48" fmla="*/ 2147483646 w 131"/>
                  <a:gd name="T49" fmla="*/ 2147483646 h 205"/>
                  <a:gd name="T50" fmla="*/ 2147483646 w 131"/>
                  <a:gd name="T51" fmla="*/ 2147483646 h 205"/>
                  <a:gd name="T52" fmla="*/ 2147483646 w 131"/>
                  <a:gd name="T53" fmla="*/ 2147483646 h 205"/>
                  <a:gd name="T54" fmla="*/ 2147483646 w 131"/>
                  <a:gd name="T55" fmla="*/ 2147483646 h 205"/>
                  <a:gd name="T56" fmla="*/ 2147483646 w 131"/>
                  <a:gd name="T57" fmla="*/ 2147483646 h 205"/>
                  <a:gd name="T58" fmla="*/ 2147483646 w 131"/>
                  <a:gd name="T59" fmla="*/ 2147483646 h 205"/>
                  <a:gd name="T60" fmla="*/ 2147483646 w 131"/>
                  <a:gd name="T61" fmla="*/ 2147483646 h 205"/>
                  <a:gd name="T62" fmla="*/ 2147483646 w 131"/>
                  <a:gd name="T63" fmla="*/ 2147483646 h 205"/>
                  <a:gd name="T64" fmla="*/ 2147483646 w 131"/>
                  <a:gd name="T65" fmla="*/ 2147483646 h 205"/>
                  <a:gd name="T66" fmla="*/ 2147483646 w 131"/>
                  <a:gd name="T67" fmla="*/ 2147483646 h 205"/>
                  <a:gd name="T68" fmla="*/ 2147483646 w 131"/>
                  <a:gd name="T69" fmla="*/ 2147483646 h 205"/>
                  <a:gd name="T70" fmla="*/ 2147483646 w 131"/>
                  <a:gd name="T71" fmla="*/ 2147483646 h 205"/>
                  <a:gd name="T72" fmla="*/ 2147483646 w 131"/>
                  <a:gd name="T73" fmla="*/ 2147483646 h 205"/>
                  <a:gd name="T74" fmla="*/ 2147483646 w 131"/>
                  <a:gd name="T75" fmla="*/ 2147483646 h 205"/>
                  <a:gd name="T76" fmla="*/ 2147483646 w 131"/>
                  <a:gd name="T77" fmla="*/ 2147483646 h 205"/>
                  <a:gd name="T78" fmla="*/ 2147483646 w 131"/>
                  <a:gd name="T79" fmla="*/ 2147483646 h 205"/>
                  <a:gd name="T80" fmla="*/ 2147483646 w 131"/>
                  <a:gd name="T81" fmla="*/ 2147483646 h 205"/>
                  <a:gd name="T82" fmla="*/ 2147483646 w 131"/>
                  <a:gd name="T83" fmla="*/ 2147483646 h 205"/>
                  <a:gd name="T84" fmla="*/ 2147483646 w 131"/>
                  <a:gd name="T85" fmla="*/ 2147483646 h 205"/>
                  <a:gd name="T86" fmla="*/ 2147483646 w 131"/>
                  <a:gd name="T87" fmla="*/ 2147483646 h 205"/>
                  <a:gd name="T88" fmla="*/ 2147483646 w 131"/>
                  <a:gd name="T89" fmla="*/ 2147483646 h 205"/>
                  <a:gd name="T90" fmla="*/ 2147483646 w 131"/>
                  <a:gd name="T91" fmla="*/ 2147483646 h 205"/>
                  <a:gd name="T92" fmla="*/ 2147483646 w 131"/>
                  <a:gd name="T93" fmla="*/ 0 h 20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1"/>
                  <a:gd name="T142" fmla="*/ 0 h 205"/>
                  <a:gd name="T143" fmla="*/ 131 w 131"/>
                  <a:gd name="T144" fmla="*/ 205 h 20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1" h="205">
                    <a:moveTo>
                      <a:pt x="117" y="0"/>
                    </a:moveTo>
                    <a:lnTo>
                      <a:pt x="117" y="2"/>
                    </a:lnTo>
                    <a:lnTo>
                      <a:pt x="116" y="7"/>
                    </a:lnTo>
                    <a:lnTo>
                      <a:pt x="116" y="11"/>
                    </a:lnTo>
                    <a:lnTo>
                      <a:pt x="114" y="15"/>
                    </a:lnTo>
                    <a:lnTo>
                      <a:pt x="112" y="21"/>
                    </a:lnTo>
                    <a:lnTo>
                      <a:pt x="110" y="26"/>
                    </a:lnTo>
                    <a:lnTo>
                      <a:pt x="106" y="32"/>
                    </a:lnTo>
                    <a:lnTo>
                      <a:pt x="102" y="38"/>
                    </a:lnTo>
                    <a:lnTo>
                      <a:pt x="98" y="43"/>
                    </a:lnTo>
                    <a:lnTo>
                      <a:pt x="93" y="49"/>
                    </a:lnTo>
                    <a:lnTo>
                      <a:pt x="89" y="53"/>
                    </a:lnTo>
                    <a:lnTo>
                      <a:pt x="85" y="57"/>
                    </a:lnTo>
                    <a:lnTo>
                      <a:pt x="83" y="61"/>
                    </a:lnTo>
                    <a:lnTo>
                      <a:pt x="79" y="62"/>
                    </a:lnTo>
                    <a:lnTo>
                      <a:pt x="74" y="66"/>
                    </a:lnTo>
                    <a:lnTo>
                      <a:pt x="70" y="70"/>
                    </a:lnTo>
                    <a:lnTo>
                      <a:pt x="64" y="72"/>
                    </a:lnTo>
                    <a:lnTo>
                      <a:pt x="60" y="76"/>
                    </a:lnTo>
                    <a:lnTo>
                      <a:pt x="55" y="78"/>
                    </a:lnTo>
                    <a:lnTo>
                      <a:pt x="51" y="81"/>
                    </a:lnTo>
                    <a:lnTo>
                      <a:pt x="45" y="83"/>
                    </a:lnTo>
                    <a:lnTo>
                      <a:pt x="41" y="87"/>
                    </a:lnTo>
                    <a:lnTo>
                      <a:pt x="38" y="89"/>
                    </a:lnTo>
                    <a:lnTo>
                      <a:pt x="34" y="93"/>
                    </a:lnTo>
                    <a:lnTo>
                      <a:pt x="30" y="97"/>
                    </a:lnTo>
                    <a:lnTo>
                      <a:pt x="26" y="100"/>
                    </a:lnTo>
                    <a:lnTo>
                      <a:pt x="19" y="106"/>
                    </a:lnTo>
                    <a:lnTo>
                      <a:pt x="13" y="114"/>
                    </a:lnTo>
                    <a:lnTo>
                      <a:pt x="11" y="118"/>
                    </a:lnTo>
                    <a:lnTo>
                      <a:pt x="9" y="119"/>
                    </a:lnTo>
                    <a:lnTo>
                      <a:pt x="7" y="125"/>
                    </a:lnTo>
                    <a:lnTo>
                      <a:pt x="5" y="129"/>
                    </a:lnTo>
                    <a:lnTo>
                      <a:pt x="3" y="131"/>
                    </a:lnTo>
                    <a:lnTo>
                      <a:pt x="3" y="137"/>
                    </a:lnTo>
                    <a:lnTo>
                      <a:pt x="2" y="140"/>
                    </a:lnTo>
                    <a:lnTo>
                      <a:pt x="2" y="144"/>
                    </a:lnTo>
                    <a:lnTo>
                      <a:pt x="2" y="148"/>
                    </a:lnTo>
                    <a:lnTo>
                      <a:pt x="0" y="152"/>
                    </a:lnTo>
                    <a:lnTo>
                      <a:pt x="0" y="156"/>
                    </a:lnTo>
                    <a:lnTo>
                      <a:pt x="2" y="161"/>
                    </a:lnTo>
                    <a:lnTo>
                      <a:pt x="2" y="165"/>
                    </a:lnTo>
                    <a:lnTo>
                      <a:pt x="2" y="171"/>
                    </a:lnTo>
                    <a:lnTo>
                      <a:pt x="2" y="175"/>
                    </a:lnTo>
                    <a:lnTo>
                      <a:pt x="3" y="180"/>
                    </a:lnTo>
                    <a:lnTo>
                      <a:pt x="5" y="184"/>
                    </a:lnTo>
                    <a:lnTo>
                      <a:pt x="7" y="190"/>
                    </a:lnTo>
                    <a:lnTo>
                      <a:pt x="9" y="196"/>
                    </a:lnTo>
                    <a:lnTo>
                      <a:pt x="11" y="201"/>
                    </a:lnTo>
                    <a:lnTo>
                      <a:pt x="53" y="205"/>
                    </a:lnTo>
                    <a:lnTo>
                      <a:pt x="53" y="203"/>
                    </a:lnTo>
                    <a:lnTo>
                      <a:pt x="49" y="199"/>
                    </a:lnTo>
                    <a:lnTo>
                      <a:pt x="47" y="196"/>
                    </a:lnTo>
                    <a:lnTo>
                      <a:pt x="45" y="194"/>
                    </a:lnTo>
                    <a:lnTo>
                      <a:pt x="43" y="190"/>
                    </a:lnTo>
                    <a:lnTo>
                      <a:pt x="41" y="186"/>
                    </a:lnTo>
                    <a:lnTo>
                      <a:pt x="40" y="180"/>
                    </a:lnTo>
                    <a:lnTo>
                      <a:pt x="38" y="175"/>
                    </a:lnTo>
                    <a:lnTo>
                      <a:pt x="36" y="171"/>
                    </a:lnTo>
                    <a:lnTo>
                      <a:pt x="36" y="165"/>
                    </a:lnTo>
                    <a:lnTo>
                      <a:pt x="36" y="159"/>
                    </a:lnTo>
                    <a:lnTo>
                      <a:pt x="38" y="154"/>
                    </a:lnTo>
                    <a:lnTo>
                      <a:pt x="40" y="146"/>
                    </a:lnTo>
                    <a:lnTo>
                      <a:pt x="43" y="142"/>
                    </a:lnTo>
                    <a:lnTo>
                      <a:pt x="45" y="135"/>
                    </a:lnTo>
                    <a:lnTo>
                      <a:pt x="49" y="129"/>
                    </a:lnTo>
                    <a:lnTo>
                      <a:pt x="53" y="123"/>
                    </a:lnTo>
                    <a:lnTo>
                      <a:pt x="59" y="119"/>
                    </a:lnTo>
                    <a:lnTo>
                      <a:pt x="62" y="114"/>
                    </a:lnTo>
                    <a:lnTo>
                      <a:pt x="68" y="110"/>
                    </a:lnTo>
                    <a:lnTo>
                      <a:pt x="72" y="106"/>
                    </a:lnTo>
                    <a:lnTo>
                      <a:pt x="78" y="102"/>
                    </a:lnTo>
                    <a:lnTo>
                      <a:pt x="81" y="99"/>
                    </a:lnTo>
                    <a:lnTo>
                      <a:pt x="87" y="95"/>
                    </a:lnTo>
                    <a:lnTo>
                      <a:pt x="93" y="89"/>
                    </a:lnTo>
                    <a:lnTo>
                      <a:pt x="98" y="85"/>
                    </a:lnTo>
                    <a:lnTo>
                      <a:pt x="102" y="78"/>
                    </a:lnTo>
                    <a:lnTo>
                      <a:pt x="108" y="72"/>
                    </a:lnTo>
                    <a:lnTo>
                      <a:pt x="114" y="66"/>
                    </a:lnTo>
                    <a:lnTo>
                      <a:pt x="119" y="59"/>
                    </a:lnTo>
                    <a:lnTo>
                      <a:pt x="121" y="55"/>
                    </a:lnTo>
                    <a:lnTo>
                      <a:pt x="123" y="51"/>
                    </a:lnTo>
                    <a:lnTo>
                      <a:pt x="125" y="47"/>
                    </a:lnTo>
                    <a:lnTo>
                      <a:pt x="127" y="43"/>
                    </a:lnTo>
                    <a:lnTo>
                      <a:pt x="129" y="36"/>
                    </a:lnTo>
                    <a:lnTo>
                      <a:pt x="131" y="30"/>
                    </a:lnTo>
                    <a:lnTo>
                      <a:pt x="131" y="24"/>
                    </a:lnTo>
                    <a:lnTo>
                      <a:pt x="131" y="21"/>
                    </a:lnTo>
                    <a:lnTo>
                      <a:pt x="129" y="17"/>
                    </a:lnTo>
                    <a:lnTo>
                      <a:pt x="129" y="13"/>
                    </a:lnTo>
                    <a:lnTo>
                      <a:pt x="125" y="7"/>
                    </a:lnTo>
                    <a:lnTo>
                      <a:pt x="121" y="4"/>
                    </a:lnTo>
                    <a:lnTo>
                      <a:pt x="119" y="0"/>
                    </a:lnTo>
                    <a:lnTo>
                      <a:pt x="11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24" name="Freeform 67"/>
              <p:cNvSpPr>
                <a:spLocks/>
              </p:cNvSpPr>
              <p:nvPr/>
            </p:nvSpPr>
            <p:spPr bwMode="auto">
              <a:xfrm>
                <a:off x="2193926" y="3941763"/>
                <a:ext cx="109538" cy="214313"/>
              </a:xfrm>
              <a:custGeom>
                <a:avLst/>
                <a:gdLst>
                  <a:gd name="T0" fmla="*/ 2147483646 w 139"/>
                  <a:gd name="T1" fmla="*/ 0 h 270"/>
                  <a:gd name="T2" fmla="*/ 2147483646 w 139"/>
                  <a:gd name="T3" fmla="*/ 0 h 270"/>
                  <a:gd name="T4" fmla="*/ 2147483646 w 139"/>
                  <a:gd name="T5" fmla="*/ 2147483646 h 270"/>
                  <a:gd name="T6" fmla="*/ 2147483646 w 139"/>
                  <a:gd name="T7" fmla="*/ 2147483646 h 270"/>
                  <a:gd name="T8" fmla="*/ 2147483646 w 139"/>
                  <a:gd name="T9" fmla="*/ 2147483646 h 270"/>
                  <a:gd name="T10" fmla="*/ 2147483646 w 139"/>
                  <a:gd name="T11" fmla="*/ 2147483646 h 270"/>
                  <a:gd name="T12" fmla="*/ 2147483646 w 139"/>
                  <a:gd name="T13" fmla="*/ 2147483646 h 270"/>
                  <a:gd name="T14" fmla="*/ 2147483646 w 139"/>
                  <a:gd name="T15" fmla="*/ 2147483646 h 270"/>
                  <a:gd name="T16" fmla="*/ 2147483646 w 139"/>
                  <a:gd name="T17" fmla="*/ 2147483646 h 270"/>
                  <a:gd name="T18" fmla="*/ 2147483646 w 139"/>
                  <a:gd name="T19" fmla="*/ 2147483646 h 270"/>
                  <a:gd name="T20" fmla="*/ 2147483646 w 139"/>
                  <a:gd name="T21" fmla="*/ 2147483646 h 270"/>
                  <a:gd name="T22" fmla="*/ 2147483646 w 139"/>
                  <a:gd name="T23" fmla="*/ 2147483646 h 270"/>
                  <a:gd name="T24" fmla="*/ 2147483646 w 139"/>
                  <a:gd name="T25" fmla="*/ 2147483646 h 270"/>
                  <a:gd name="T26" fmla="*/ 2147483646 w 139"/>
                  <a:gd name="T27" fmla="*/ 2147483646 h 270"/>
                  <a:gd name="T28" fmla="*/ 2147483646 w 139"/>
                  <a:gd name="T29" fmla="*/ 2147483646 h 270"/>
                  <a:gd name="T30" fmla="*/ 2147483646 w 139"/>
                  <a:gd name="T31" fmla="*/ 2147483646 h 270"/>
                  <a:gd name="T32" fmla="*/ 2147483646 w 139"/>
                  <a:gd name="T33" fmla="*/ 2147483646 h 270"/>
                  <a:gd name="T34" fmla="*/ 2147483646 w 139"/>
                  <a:gd name="T35" fmla="*/ 2147483646 h 270"/>
                  <a:gd name="T36" fmla="*/ 2147483646 w 139"/>
                  <a:gd name="T37" fmla="*/ 2147483646 h 270"/>
                  <a:gd name="T38" fmla="*/ 2147483646 w 139"/>
                  <a:gd name="T39" fmla="*/ 2147483646 h 270"/>
                  <a:gd name="T40" fmla="*/ 2147483646 w 139"/>
                  <a:gd name="T41" fmla="*/ 2147483646 h 270"/>
                  <a:gd name="T42" fmla="*/ 2147483646 w 139"/>
                  <a:gd name="T43" fmla="*/ 2147483646 h 270"/>
                  <a:gd name="T44" fmla="*/ 2147483646 w 139"/>
                  <a:gd name="T45" fmla="*/ 2147483646 h 270"/>
                  <a:gd name="T46" fmla="*/ 2147483646 w 139"/>
                  <a:gd name="T47" fmla="*/ 2147483646 h 270"/>
                  <a:gd name="T48" fmla="*/ 2147483646 w 139"/>
                  <a:gd name="T49" fmla="*/ 2147483646 h 270"/>
                  <a:gd name="T50" fmla="*/ 2147483646 w 139"/>
                  <a:gd name="T51" fmla="*/ 2147483646 h 270"/>
                  <a:gd name="T52" fmla="*/ 2147483646 w 139"/>
                  <a:gd name="T53" fmla="*/ 2147483646 h 270"/>
                  <a:gd name="T54" fmla="*/ 2147483646 w 139"/>
                  <a:gd name="T55" fmla="*/ 2147483646 h 270"/>
                  <a:gd name="T56" fmla="*/ 2147483646 w 139"/>
                  <a:gd name="T57" fmla="*/ 2147483646 h 270"/>
                  <a:gd name="T58" fmla="*/ 2147483646 w 139"/>
                  <a:gd name="T59" fmla="*/ 2147483646 h 270"/>
                  <a:gd name="T60" fmla="*/ 2147483646 w 139"/>
                  <a:gd name="T61" fmla="*/ 2147483646 h 270"/>
                  <a:gd name="T62" fmla="*/ 2147483646 w 139"/>
                  <a:gd name="T63" fmla="*/ 2147483646 h 270"/>
                  <a:gd name="T64" fmla="*/ 2147483646 w 139"/>
                  <a:gd name="T65" fmla="*/ 2147483646 h 270"/>
                  <a:gd name="T66" fmla="*/ 2147483646 w 139"/>
                  <a:gd name="T67" fmla="*/ 2147483646 h 270"/>
                  <a:gd name="T68" fmla="*/ 2147483646 w 139"/>
                  <a:gd name="T69" fmla="*/ 2147483646 h 270"/>
                  <a:gd name="T70" fmla="*/ 2147483646 w 139"/>
                  <a:gd name="T71" fmla="*/ 2147483646 h 270"/>
                  <a:gd name="T72" fmla="*/ 2147483646 w 139"/>
                  <a:gd name="T73" fmla="*/ 2147483646 h 270"/>
                  <a:gd name="T74" fmla="*/ 2147483646 w 139"/>
                  <a:gd name="T75" fmla="*/ 2147483646 h 270"/>
                  <a:gd name="T76" fmla="*/ 2147483646 w 139"/>
                  <a:gd name="T77" fmla="*/ 2147483646 h 270"/>
                  <a:gd name="T78" fmla="*/ 2147483646 w 139"/>
                  <a:gd name="T79" fmla="*/ 2147483646 h 270"/>
                  <a:gd name="T80" fmla="*/ 2147483646 w 139"/>
                  <a:gd name="T81" fmla="*/ 2147483646 h 270"/>
                  <a:gd name="T82" fmla="*/ 2147483646 w 139"/>
                  <a:gd name="T83" fmla="*/ 2147483646 h 270"/>
                  <a:gd name="T84" fmla="*/ 2147483646 w 139"/>
                  <a:gd name="T85" fmla="*/ 2147483646 h 270"/>
                  <a:gd name="T86" fmla="*/ 2147483646 w 139"/>
                  <a:gd name="T87" fmla="*/ 2147483646 h 270"/>
                  <a:gd name="T88" fmla="*/ 2147483646 w 139"/>
                  <a:gd name="T89" fmla="*/ 2147483646 h 270"/>
                  <a:gd name="T90" fmla="*/ 2147483646 w 139"/>
                  <a:gd name="T91" fmla="*/ 2147483646 h 270"/>
                  <a:gd name="T92" fmla="*/ 2147483646 w 139"/>
                  <a:gd name="T93" fmla="*/ 2147483646 h 270"/>
                  <a:gd name="T94" fmla="*/ 2147483646 w 139"/>
                  <a:gd name="T95" fmla="*/ 2147483646 h 270"/>
                  <a:gd name="T96" fmla="*/ 2147483646 w 139"/>
                  <a:gd name="T97" fmla="*/ 2147483646 h 270"/>
                  <a:gd name="T98" fmla="*/ 2147483646 w 139"/>
                  <a:gd name="T99" fmla="*/ 2147483646 h 270"/>
                  <a:gd name="T100" fmla="*/ 2147483646 w 139"/>
                  <a:gd name="T101" fmla="*/ 2147483646 h 270"/>
                  <a:gd name="T102" fmla="*/ 2147483646 w 139"/>
                  <a:gd name="T103" fmla="*/ 2147483646 h 270"/>
                  <a:gd name="T104" fmla="*/ 2147483646 w 139"/>
                  <a:gd name="T105" fmla="*/ 2147483646 h 270"/>
                  <a:gd name="T106" fmla="*/ 2147483646 w 139"/>
                  <a:gd name="T107" fmla="*/ 2147483646 h 270"/>
                  <a:gd name="T108" fmla="*/ 2147483646 w 139"/>
                  <a:gd name="T109" fmla="*/ 2147483646 h 270"/>
                  <a:gd name="T110" fmla="*/ 2147483646 w 139"/>
                  <a:gd name="T111" fmla="*/ 2147483646 h 270"/>
                  <a:gd name="T112" fmla="*/ 2147483646 w 139"/>
                  <a:gd name="T113" fmla="*/ 2147483646 h 270"/>
                  <a:gd name="T114" fmla="*/ 2147483646 w 139"/>
                  <a:gd name="T115" fmla="*/ 2147483646 h 270"/>
                  <a:gd name="T116" fmla="*/ 2147483646 w 139"/>
                  <a:gd name="T117" fmla="*/ 2147483646 h 270"/>
                  <a:gd name="T118" fmla="*/ 2147483646 w 139"/>
                  <a:gd name="T119" fmla="*/ 2147483646 h 270"/>
                  <a:gd name="T120" fmla="*/ 2147483646 w 139"/>
                  <a:gd name="T121" fmla="*/ 0 h 2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9"/>
                  <a:gd name="T184" fmla="*/ 0 h 270"/>
                  <a:gd name="T185" fmla="*/ 139 w 139"/>
                  <a:gd name="T186" fmla="*/ 270 h 27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9" h="270">
                    <a:moveTo>
                      <a:pt x="139" y="0"/>
                    </a:moveTo>
                    <a:lnTo>
                      <a:pt x="137" y="0"/>
                    </a:lnTo>
                    <a:lnTo>
                      <a:pt x="133" y="0"/>
                    </a:lnTo>
                    <a:lnTo>
                      <a:pt x="129" y="0"/>
                    </a:lnTo>
                    <a:lnTo>
                      <a:pt x="127" y="2"/>
                    </a:lnTo>
                    <a:lnTo>
                      <a:pt x="122" y="2"/>
                    </a:lnTo>
                    <a:lnTo>
                      <a:pt x="120" y="4"/>
                    </a:lnTo>
                    <a:lnTo>
                      <a:pt x="114" y="6"/>
                    </a:lnTo>
                    <a:lnTo>
                      <a:pt x="110" y="8"/>
                    </a:lnTo>
                    <a:lnTo>
                      <a:pt x="105" y="10"/>
                    </a:lnTo>
                    <a:lnTo>
                      <a:pt x="101" y="12"/>
                    </a:lnTo>
                    <a:lnTo>
                      <a:pt x="95" y="14"/>
                    </a:lnTo>
                    <a:lnTo>
                      <a:pt x="89" y="17"/>
                    </a:lnTo>
                    <a:lnTo>
                      <a:pt x="84" y="21"/>
                    </a:lnTo>
                    <a:lnTo>
                      <a:pt x="78" y="27"/>
                    </a:lnTo>
                    <a:lnTo>
                      <a:pt x="72" y="31"/>
                    </a:lnTo>
                    <a:lnTo>
                      <a:pt x="68" y="35"/>
                    </a:lnTo>
                    <a:lnTo>
                      <a:pt x="63" y="40"/>
                    </a:lnTo>
                    <a:lnTo>
                      <a:pt x="59" y="46"/>
                    </a:lnTo>
                    <a:lnTo>
                      <a:pt x="53" y="52"/>
                    </a:lnTo>
                    <a:lnTo>
                      <a:pt x="49" y="59"/>
                    </a:lnTo>
                    <a:lnTo>
                      <a:pt x="48" y="61"/>
                    </a:lnTo>
                    <a:lnTo>
                      <a:pt x="46" y="67"/>
                    </a:lnTo>
                    <a:lnTo>
                      <a:pt x="44" y="71"/>
                    </a:lnTo>
                    <a:lnTo>
                      <a:pt x="42" y="74"/>
                    </a:lnTo>
                    <a:lnTo>
                      <a:pt x="40" y="78"/>
                    </a:lnTo>
                    <a:lnTo>
                      <a:pt x="38" y="82"/>
                    </a:lnTo>
                    <a:lnTo>
                      <a:pt x="38" y="86"/>
                    </a:lnTo>
                    <a:lnTo>
                      <a:pt x="36" y="90"/>
                    </a:lnTo>
                    <a:lnTo>
                      <a:pt x="36" y="95"/>
                    </a:lnTo>
                    <a:lnTo>
                      <a:pt x="34" y="101"/>
                    </a:lnTo>
                    <a:lnTo>
                      <a:pt x="34" y="105"/>
                    </a:lnTo>
                    <a:lnTo>
                      <a:pt x="34" y="111"/>
                    </a:lnTo>
                    <a:lnTo>
                      <a:pt x="34" y="114"/>
                    </a:lnTo>
                    <a:lnTo>
                      <a:pt x="32" y="120"/>
                    </a:lnTo>
                    <a:lnTo>
                      <a:pt x="32" y="126"/>
                    </a:lnTo>
                    <a:lnTo>
                      <a:pt x="34" y="132"/>
                    </a:lnTo>
                    <a:lnTo>
                      <a:pt x="34" y="137"/>
                    </a:lnTo>
                    <a:lnTo>
                      <a:pt x="34" y="145"/>
                    </a:lnTo>
                    <a:lnTo>
                      <a:pt x="34" y="151"/>
                    </a:lnTo>
                    <a:lnTo>
                      <a:pt x="36" y="158"/>
                    </a:lnTo>
                    <a:lnTo>
                      <a:pt x="36" y="162"/>
                    </a:lnTo>
                    <a:lnTo>
                      <a:pt x="38" y="166"/>
                    </a:lnTo>
                    <a:lnTo>
                      <a:pt x="38" y="171"/>
                    </a:lnTo>
                    <a:lnTo>
                      <a:pt x="40" y="177"/>
                    </a:lnTo>
                    <a:lnTo>
                      <a:pt x="42" y="185"/>
                    </a:lnTo>
                    <a:lnTo>
                      <a:pt x="42" y="190"/>
                    </a:lnTo>
                    <a:lnTo>
                      <a:pt x="42" y="196"/>
                    </a:lnTo>
                    <a:lnTo>
                      <a:pt x="42" y="204"/>
                    </a:lnTo>
                    <a:lnTo>
                      <a:pt x="42" y="211"/>
                    </a:lnTo>
                    <a:lnTo>
                      <a:pt x="38" y="217"/>
                    </a:lnTo>
                    <a:lnTo>
                      <a:pt x="36" y="223"/>
                    </a:lnTo>
                    <a:lnTo>
                      <a:pt x="32" y="228"/>
                    </a:lnTo>
                    <a:lnTo>
                      <a:pt x="29" y="232"/>
                    </a:lnTo>
                    <a:lnTo>
                      <a:pt x="27" y="234"/>
                    </a:lnTo>
                    <a:lnTo>
                      <a:pt x="23" y="236"/>
                    </a:lnTo>
                    <a:lnTo>
                      <a:pt x="19" y="240"/>
                    </a:lnTo>
                    <a:lnTo>
                      <a:pt x="13" y="242"/>
                    </a:lnTo>
                    <a:lnTo>
                      <a:pt x="10" y="244"/>
                    </a:lnTo>
                    <a:lnTo>
                      <a:pt x="4" y="246"/>
                    </a:lnTo>
                    <a:lnTo>
                      <a:pt x="0" y="247"/>
                    </a:lnTo>
                    <a:lnTo>
                      <a:pt x="34" y="270"/>
                    </a:lnTo>
                    <a:lnTo>
                      <a:pt x="36" y="270"/>
                    </a:lnTo>
                    <a:lnTo>
                      <a:pt x="40" y="268"/>
                    </a:lnTo>
                    <a:lnTo>
                      <a:pt x="44" y="268"/>
                    </a:lnTo>
                    <a:lnTo>
                      <a:pt x="49" y="265"/>
                    </a:lnTo>
                    <a:lnTo>
                      <a:pt x="55" y="263"/>
                    </a:lnTo>
                    <a:lnTo>
                      <a:pt x="61" y="259"/>
                    </a:lnTo>
                    <a:lnTo>
                      <a:pt x="67" y="255"/>
                    </a:lnTo>
                    <a:lnTo>
                      <a:pt x="70" y="249"/>
                    </a:lnTo>
                    <a:lnTo>
                      <a:pt x="76" y="244"/>
                    </a:lnTo>
                    <a:lnTo>
                      <a:pt x="78" y="240"/>
                    </a:lnTo>
                    <a:lnTo>
                      <a:pt x="80" y="236"/>
                    </a:lnTo>
                    <a:lnTo>
                      <a:pt x="82" y="232"/>
                    </a:lnTo>
                    <a:lnTo>
                      <a:pt x="84" y="227"/>
                    </a:lnTo>
                    <a:lnTo>
                      <a:pt x="84" y="221"/>
                    </a:lnTo>
                    <a:lnTo>
                      <a:pt x="86" y="217"/>
                    </a:lnTo>
                    <a:lnTo>
                      <a:pt x="86" y="211"/>
                    </a:lnTo>
                    <a:lnTo>
                      <a:pt x="86" y="206"/>
                    </a:lnTo>
                    <a:lnTo>
                      <a:pt x="84" y="198"/>
                    </a:lnTo>
                    <a:lnTo>
                      <a:pt x="84" y="192"/>
                    </a:lnTo>
                    <a:lnTo>
                      <a:pt x="82" y="185"/>
                    </a:lnTo>
                    <a:lnTo>
                      <a:pt x="80" y="177"/>
                    </a:lnTo>
                    <a:lnTo>
                      <a:pt x="78" y="173"/>
                    </a:lnTo>
                    <a:lnTo>
                      <a:pt x="76" y="170"/>
                    </a:lnTo>
                    <a:lnTo>
                      <a:pt x="76" y="166"/>
                    </a:lnTo>
                    <a:lnTo>
                      <a:pt x="76" y="160"/>
                    </a:lnTo>
                    <a:lnTo>
                      <a:pt x="74" y="156"/>
                    </a:lnTo>
                    <a:lnTo>
                      <a:pt x="74" y="152"/>
                    </a:lnTo>
                    <a:lnTo>
                      <a:pt x="74" y="149"/>
                    </a:lnTo>
                    <a:lnTo>
                      <a:pt x="74" y="145"/>
                    </a:lnTo>
                    <a:lnTo>
                      <a:pt x="74" y="141"/>
                    </a:lnTo>
                    <a:lnTo>
                      <a:pt x="74" y="137"/>
                    </a:lnTo>
                    <a:lnTo>
                      <a:pt x="74" y="133"/>
                    </a:lnTo>
                    <a:lnTo>
                      <a:pt x="74" y="128"/>
                    </a:lnTo>
                    <a:lnTo>
                      <a:pt x="74" y="124"/>
                    </a:lnTo>
                    <a:lnTo>
                      <a:pt x="74" y="120"/>
                    </a:lnTo>
                    <a:lnTo>
                      <a:pt x="76" y="116"/>
                    </a:lnTo>
                    <a:lnTo>
                      <a:pt x="76" y="113"/>
                    </a:lnTo>
                    <a:lnTo>
                      <a:pt x="76" y="109"/>
                    </a:lnTo>
                    <a:lnTo>
                      <a:pt x="78" y="105"/>
                    </a:lnTo>
                    <a:lnTo>
                      <a:pt x="78" y="101"/>
                    </a:lnTo>
                    <a:lnTo>
                      <a:pt x="80" y="97"/>
                    </a:lnTo>
                    <a:lnTo>
                      <a:pt x="82" y="90"/>
                    </a:lnTo>
                    <a:lnTo>
                      <a:pt x="86" y="84"/>
                    </a:lnTo>
                    <a:lnTo>
                      <a:pt x="87" y="76"/>
                    </a:lnTo>
                    <a:lnTo>
                      <a:pt x="91" y="69"/>
                    </a:lnTo>
                    <a:lnTo>
                      <a:pt x="95" y="63"/>
                    </a:lnTo>
                    <a:lnTo>
                      <a:pt x="99" y="57"/>
                    </a:lnTo>
                    <a:lnTo>
                      <a:pt x="101" y="50"/>
                    </a:lnTo>
                    <a:lnTo>
                      <a:pt x="105" y="44"/>
                    </a:lnTo>
                    <a:lnTo>
                      <a:pt x="108" y="38"/>
                    </a:lnTo>
                    <a:lnTo>
                      <a:pt x="112" y="33"/>
                    </a:lnTo>
                    <a:lnTo>
                      <a:pt x="114" y="27"/>
                    </a:lnTo>
                    <a:lnTo>
                      <a:pt x="118" y="21"/>
                    </a:lnTo>
                    <a:lnTo>
                      <a:pt x="122" y="17"/>
                    </a:lnTo>
                    <a:lnTo>
                      <a:pt x="125" y="14"/>
                    </a:lnTo>
                    <a:lnTo>
                      <a:pt x="129" y="8"/>
                    </a:lnTo>
                    <a:lnTo>
                      <a:pt x="135" y="2"/>
                    </a:lnTo>
                    <a:lnTo>
                      <a:pt x="137" y="0"/>
                    </a:lnTo>
                    <a:lnTo>
                      <a:pt x="139"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25" name="Freeform 68"/>
              <p:cNvSpPr>
                <a:spLocks/>
              </p:cNvSpPr>
              <p:nvPr/>
            </p:nvSpPr>
            <p:spPr bwMode="auto">
              <a:xfrm>
                <a:off x="2725738" y="3933826"/>
                <a:ext cx="320675" cy="238125"/>
              </a:xfrm>
              <a:custGeom>
                <a:avLst/>
                <a:gdLst>
                  <a:gd name="T0" fmla="*/ 2147483646 w 403"/>
                  <a:gd name="T1" fmla="*/ 2147483646 h 300"/>
                  <a:gd name="T2" fmla="*/ 2147483646 w 403"/>
                  <a:gd name="T3" fmla="*/ 2147483646 h 300"/>
                  <a:gd name="T4" fmla="*/ 2147483646 w 403"/>
                  <a:gd name="T5" fmla="*/ 2147483646 h 300"/>
                  <a:gd name="T6" fmla="*/ 2147483646 w 403"/>
                  <a:gd name="T7" fmla="*/ 2147483646 h 300"/>
                  <a:gd name="T8" fmla="*/ 2147483646 w 403"/>
                  <a:gd name="T9" fmla="*/ 2147483646 h 300"/>
                  <a:gd name="T10" fmla="*/ 2147483646 w 403"/>
                  <a:gd name="T11" fmla="*/ 2147483646 h 300"/>
                  <a:gd name="T12" fmla="*/ 2147483646 w 403"/>
                  <a:gd name="T13" fmla="*/ 2147483646 h 300"/>
                  <a:gd name="T14" fmla="*/ 2147483646 w 403"/>
                  <a:gd name="T15" fmla="*/ 2147483646 h 300"/>
                  <a:gd name="T16" fmla="*/ 2147483646 w 403"/>
                  <a:gd name="T17" fmla="*/ 2147483646 h 300"/>
                  <a:gd name="T18" fmla="*/ 2147483646 w 403"/>
                  <a:gd name="T19" fmla="*/ 2147483646 h 300"/>
                  <a:gd name="T20" fmla="*/ 2147483646 w 403"/>
                  <a:gd name="T21" fmla="*/ 2147483646 h 300"/>
                  <a:gd name="T22" fmla="*/ 2147483646 w 403"/>
                  <a:gd name="T23" fmla="*/ 2147483646 h 300"/>
                  <a:gd name="T24" fmla="*/ 2147483646 w 403"/>
                  <a:gd name="T25" fmla="*/ 2147483646 h 300"/>
                  <a:gd name="T26" fmla="*/ 2147483646 w 403"/>
                  <a:gd name="T27" fmla="*/ 2147483646 h 300"/>
                  <a:gd name="T28" fmla="*/ 2147483646 w 403"/>
                  <a:gd name="T29" fmla="*/ 2147483646 h 300"/>
                  <a:gd name="T30" fmla="*/ 2147483646 w 403"/>
                  <a:gd name="T31" fmla="*/ 2147483646 h 300"/>
                  <a:gd name="T32" fmla="*/ 2147483646 w 403"/>
                  <a:gd name="T33" fmla="*/ 2147483646 h 300"/>
                  <a:gd name="T34" fmla="*/ 2147483646 w 403"/>
                  <a:gd name="T35" fmla="*/ 2147483646 h 300"/>
                  <a:gd name="T36" fmla="*/ 2147483646 w 403"/>
                  <a:gd name="T37" fmla="*/ 2147483646 h 300"/>
                  <a:gd name="T38" fmla="*/ 2147483646 w 403"/>
                  <a:gd name="T39" fmla="*/ 2147483646 h 300"/>
                  <a:gd name="T40" fmla="*/ 2147483646 w 403"/>
                  <a:gd name="T41" fmla="*/ 2147483646 h 300"/>
                  <a:gd name="T42" fmla="*/ 2147483646 w 403"/>
                  <a:gd name="T43" fmla="*/ 2147483646 h 300"/>
                  <a:gd name="T44" fmla="*/ 2147483646 w 403"/>
                  <a:gd name="T45" fmla="*/ 2147483646 h 300"/>
                  <a:gd name="T46" fmla="*/ 2147483646 w 403"/>
                  <a:gd name="T47" fmla="*/ 2147483646 h 300"/>
                  <a:gd name="T48" fmla="*/ 2147483646 w 403"/>
                  <a:gd name="T49" fmla="*/ 2147483646 h 300"/>
                  <a:gd name="T50" fmla="*/ 2147483646 w 403"/>
                  <a:gd name="T51" fmla="*/ 2147483646 h 300"/>
                  <a:gd name="T52" fmla="*/ 2147483646 w 403"/>
                  <a:gd name="T53" fmla="*/ 2147483646 h 300"/>
                  <a:gd name="T54" fmla="*/ 2147483646 w 403"/>
                  <a:gd name="T55" fmla="*/ 2147483646 h 300"/>
                  <a:gd name="T56" fmla="*/ 2147483646 w 403"/>
                  <a:gd name="T57" fmla="*/ 2147483646 h 300"/>
                  <a:gd name="T58" fmla="*/ 2147483646 w 403"/>
                  <a:gd name="T59" fmla="*/ 2147483646 h 300"/>
                  <a:gd name="T60" fmla="*/ 2147483646 w 403"/>
                  <a:gd name="T61" fmla="*/ 2147483646 h 300"/>
                  <a:gd name="T62" fmla="*/ 2147483646 w 403"/>
                  <a:gd name="T63" fmla="*/ 2147483646 h 300"/>
                  <a:gd name="T64" fmla="*/ 2147483646 w 403"/>
                  <a:gd name="T65" fmla="*/ 2147483646 h 300"/>
                  <a:gd name="T66" fmla="*/ 2147483646 w 403"/>
                  <a:gd name="T67" fmla="*/ 2147483646 h 300"/>
                  <a:gd name="T68" fmla="*/ 2147483646 w 403"/>
                  <a:gd name="T69" fmla="*/ 2147483646 h 300"/>
                  <a:gd name="T70" fmla="*/ 2147483646 w 403"/>
                  <a:gd name="T71" fmla="*/ 2147483646 h 300"/>
                  <a:gd name="T72" fmla="*/ 2147483646 w 403"/>
                  <a:gd name="T73" fmla="*/ 2147483646 h 300"/>
                  <a:gd name="T74" fmla="*/ 2147483646 w 403"/>
                  <a:gd name="T75" fmla="*/ 2147483646 h 300"/>
                  <a:gd name="T76" fmla="*/ 2147483646 w 403"/>
                  <a:gd name="T77" fmla="*/ 2147483646 h 300"/>
                  <a:gd name="T78" fmla="*/ 2147483646 w 403"/>
                  <a:gd name="T79" fmla="*/ 2147483646 h 300"/>
                  <a:gd name="T80" fmla="*/ 2147483646 w 403"/>
                  <a:gd name="T81" fmla="*/ 2147483646 h 300"/>
                  <a:gd name="T82" fmla="*/ 2147483646 w 403"/>
                  <a:gd name="T83" fmla="*/ 2147483646 h 300"/>
                  <a:gd name="T84" fmla="*/ 2147483646 w 403"/>
                  <a:gd name="T85" fmla="*/ 2147483646 h 300"/>
                  <a:gd name="T86" fmla="*/ 2147483646 w 403"/>
                  <a:gd name="T87" fmla="*/ 2147483646 h 300"/>
                  <a:gd name="T88" fmla="*/ 2147483646 w 403"/>
                  <a:gd name="T89" fmla="*/ 2147483646 h 300"/>
                  <a:gd name="T90" fmla="*/ 2147483646 w 403"/>
                  <a:gd name="T91" fmla="*/ 2147483646 h 300"/>
                  <a:gd name="T92" fmla="*/ 2147483646 w 403"/>
                  <a:gd name="T93" fmla="*/ 2147483646 h 300"/>
                  <a:gd name="T94" fmla="*/ 2147483646 w 403"/>
                  <a:gd name="T95" fmla="*/ 2147483646 h 300"/>
                  <a:gd name="T96" fmla="*/ 2147483646 w 403"/>
                  <a:gd name="T97" fmla="*/ 2147483646 h 300"/>
                  <a:gd name="T98" fmla="*/ 2147483646 w 403"/>
                  <a:gd name="T99" fmla="*/ 2147483646 h 300"/>
                  <a:gd name="T100" fmla="*/ 2147483646 w 403"/>
                  <a:gd name="T101" fmla="*/ 2147483646 h 300"/>
                  <a:gd name="T102" fmla="*/ 2147483646 w 403"/>
                  <a:gd name="T103" fmla="*/ 2147483646 h 300"/>
                  <a:gd name="T104" fmla="*/ 2147483646 w 403"/>
                  <a:gd name="T105" fmla="*/ 2147483646 h 300"/>
                  <a:gd name="T106" fmla="*/ 2147483646 w 403"/>
                  <a:gd name="T107" fmla="*/ 2147483646 h 300"/>
                  <a:gd name="T108" fmla="*/ 2147483646 w 403"/>
                  <a:gd name="T109" fmla="*/ 2147483646 h 300"/>
                  <a:gd name="T110" fmla="*/ 2147483646 w 403"/>
                  <a:gd name="T111" fmla="*/ 2147483646 h 300"/>
                  <a:gd name="T112" fmla="*/ 2147483646 w 403"/>
                  <a:gd name="T113" fmla="*/ 0 h 3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03"/>
                  <a:gd name="T172" fmla="*/ 0 h 300"/>
                  <a:gd name="T173" fmla="*/ 403 w 403"/>
                  <a:gd name="T174" fmla="*/ 300 h 3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03" h="300">
                    <a:moveTo>
                      <a:pt x="338" y="0"/>
                    </a:moveTo>
                    <a:lnTo>
                      <a:pt x="338" y="0"/>
                    </a:lnTo>
                    <a:lnTo>
                      <a:pt x="340" y="4"/>
                    </a:lnTo>
                    <a:lnTo>
                      <a:pt x="342" y="7"/>
                    </a:lnTo>
                    <a:lnTo>
                      <a:pt x="344" y="11"/>
                    </a:lnTo>
                    <a:lnTo>
                      <a:pt x="346" y="15"/>
                    </a:lnTo>
                    <a:lnTo>
                      <a:pt x="347" y="21"/>
                    </a:lnTo>
                    <a:lnTo>
                      <a:pt x="349" y="25"/>
                    </a:lnTo>
                    <a:lnTo>
                      <a:pt x="351" y="30"/>
                    </a:lnTo>
                    <a:lnTo>
                      <a:pt x="353" y="36"/>
                    </a:lnTo>
                    <a:lnTo>
                      <a:pt x="355" y="44"/>
                    </a:lnTo>
                    <a:lnTo>
                      <a:pt x="357" y="49"/>
                    </a:lnTo>
                    <a:lnTo>
                      <a:pt x="359" y="57"/>
                    </a:lnTo>
                    <a:lnTo>
                      <a:pt x="359" y="61"/>
                    </a:lnTo>
                    <a:lnTo>
                      <a:pt x="361" y="64"/>
                    </a:lnTo>
                    <a:lnTo>
                      <a:pt x="361" y="68"/>
                    </a:lnTo>
                    <a:lnTo>
                      <a:pt x="363" y="72"/>
                    </a:lnTo>
                    <a:lnTo>
                      <a:pt x="363" y="80"/>
                    </a:lnTo>
                    <a:lnTo>
                      <a:pt x="365" y="87"/>
                    </a:lnTo>
                    <a:lnTo>
                      <a:pt x="365" y="91"/>
                    </a:lnTo>
                    <a:lnTo>
                      <a:pt x="365" y="95"/>
                    </a:lnTo>
                    <a:lnTo>
                      <a:pt x="365" y="99"/>
                    </a:lnTo>
                    <a:lnTo>
                      <a:pt x="366" y="103"/>
                    </a:lnTo>
                    <a:lnTo>
                      <a:pt x="365" y="106"/>
                    </a:lnTo>
                    <a:lnTo>
                      <a:pt x="365" y="110"/>
                    </a:lnTo>
                    <a:lnTo>
                      <a:pt x="365" y="114"/>
                    </a:lnTo>
                    <a:lnTo>
                      <a:pt x="365" y="120"/>
                    </a:lnTo>
                    <a:lnTo>
                      <a:pt x="365" y="123"/>
                    </a:lnTo>
                    <a:lnTo>
                      <a:pt x="363" y="127"/>
                    </a:lnTo>
                    <a:lnTo>
                      <a:pt x="363" y="131"/>
                    </a:lnTo>
                    <a:lnTo>
                      <a:pt x="363" y="135"/>
                    </a:lnTo>
                    <a:lnTo>
                      <a:pt x="361" y="139"/>
                    </a:lnTo>
                    <a:lnTo>
                      <a:pt x="361" y="142"/>
                    </a:lnTo>
                    <a:lnTo>
                      <a:pt x="359" y="146"/>
                    </a:lnTo>
                    <a:lnTo>
                      <a:pt x="359" y="150"/>
                    </a:lnTo>
                    <a:lnTo>
                      <a:pt x="357" y="154"/>
                    </a:lnTo>
                    <a:lnTo>
                      <a:pt x="355" y="158"/>
                    </a:lnTo>
                    <a:lnTo>
                      <a:pt x="353" y="161"/>
                    </a:lnTo>
                    <a:lnTo>
                      <a:pt x="351" y="165"/>
                    </a:lnTo>
                    <a:lnTo>
                      <a:pt x="346" y="173"/>
                    </a:lnTo>
                    <a:lnTo>
                      <a:pt x="342" y="179"/>
                    </a:lnTo>
                    <a:lnTo>
                      <a:pt x="334" y="186"/>
                    </a:lnTo>
                    <a:lnTo>
                      <a:pt x="328" y="192"/>
                    </a:lnTo>
                    <a:lnTo>
                      <a:pt x="325" y="194"/>
                    </a:lnTo>
                    <a:lnTo>
                      <a:pt x="321" y="198"/>
                    </a:lnTo>
                    <a:lnTo>
                      <a:pt x="317" y="199"/>
                    </a:lnTo>
                    <a:lnTo>
                      <a:pt x="313" y="201"/>
                    </a:lnTo>
                    <a:lnTo>
                      <a:pt x="308" y="203"/>
                    </a:lnTo>
                    <a:lnTo>
                      <a:pt x="302" y="205"/>
                    </a:lnTo>
                    <a:lnTo>
                      <a:pt x="298" y="207"/>
                    </a:lnTo>
                    <a:lnTo>
                      <a:pt x="294" y="209"/>
                    </a:lnTo>
                    <a:lnTo>
                      <a:pt x="289" y="211"/>
                    </a:lnTo>
                    <a:lnTo>
                      <a:pt x="283" y="211"/>
                    </a:lnTo>
                    <a:lnTo>
                      <a:pt x="279" y="213"/>
                    </a:lnTo>
                    <a:lnTo>
                      <a:pt x="273" y="215"/>
                    </a:lnTo>
                    <a:lnTo>
                      <a:pt x="268" y="215"/>
                    </a:lnTo>
                    <a:lnTo>
                      <a:pt x="264" y="217"/>
                    </a:lnTo>
                    <a:lnTo>
                      <a:pt x="258" y="217"/>
                    </a:lnTo>
                    <a:lnTo>
                      <a:pt x="252" y="218"/>
                    </a:lnTo>
                    <a:lnTo>
                      <a:pt x="247" y="218"/>
                    </a:lnTo>
                    <a:lnTo>
                      <a:pt x="241" y="218"/>
                    </a:lnTo>
                    <a:lnTo>
                      <a:pt x="235" y="220"/>
                    </a:lnTo>
                    <a:lnTo>
                      <a:pt x="232" y="220"/>
                    </a:lnTo>
                    <a:lnTo>
                      <a:pt x="226" y="220"/>
                    </a:lnTo>
                    <a:lnTo>
                      <a:pt x="220" y="220"/>
                    </a:lnTo>
                    <a:lnTo>
                      <a:pt x="214" y="220"/>
                    </a:lnTo>
                    <a:lnTo>
                      <a:pt x="209" y="222"/>
                    </a:lnTo>
                    <a:lnTo>
                      <a:pt x="203" y="222"/>
                    </a:lnTo>
                    <a:lnTo>
                      <a:pt x="197" y="222"/>
                    </a:lnTo>
                    <a:lnTo>
                      <a:pt x="192" y="222"/>
                    </a:lnTo>
                    <a:lnTo>
                      <a:pt x="186" y="222"/>
                    </a:lnTo>
                    <a:lnTo>
                      <a:pt x="180" y="222"/>
                    </a:lnTo>
                    <a:lnTo>
                      <a:pt x="175" y="224"/>
                    </a:lnTo>
                    <a:lnTo>
                      <a:pt x="167" y="224"/>
                    </a:lnTo>
                    <a:lnTo>
                      <a:pt x="163" y="224"/>
                    </a:lnTo>
                    <a:lnTo>
                      <a:pt x="156" y="224"/>
                    </a:lnTo>
                    <a:lnTo>
                      <a:pt x="150" y="224"/>
                    </a:lnTo>
                    <a:lnTo>
                      <a:pt x="144" y="224"/>
                    </a:lnTo>
                    <a:lnTo>
                      <a:pt x="138" y="226"/>
                    </a:lnTo>
                    <a:lnTo>
                      <a:pt x="133" y="226"/>
                    </a:lnTo>
                    <a:lnTo>
                      <a:pt x="127" y="226"/>
                    </a:lnTo>
                    <a:lnTo>
                      <a:pt x="121" y="226"/>
                    </a:lnTo>
                    <a:lnTo>
                      <a:pt x="116" y="228"/>
                    </a:lnTo>
                    <a:lnTo>
                      <a:pt x="110" y="228"/>
                    </a:lnTo>
                    <a:lnTo>
                      <a:pt x="104" y="230"/>
                    </a:lnTo>
                    <a:lnTo>
                      <a:pt x="99" y="230"/>
                    </a:lnTo>
                    <a:lnTo>
                      <a:pt x="93" y="232"/>
                    </a:lnTo>
                    <a:lnTo>
                      <a:pt x="87" y="232"/>
                    </a:lnTo>
                    <a:lnTo>
                      <a:pt x="81" y="234"/>
                    </a:lnTo>
                    <a:lnTo>
                      <a:pt x="76" y="236"/>
                    </a:lnTo>
                    <a:lnTo>
                      <a:pt x="72" y="237"/>
                    </a:lnTo>
                    <a:lnTo>
                      <a:pt x="66" y="239"/>
                    </a:lnTo>
                    <a:lnTo>
                      <a:pt x="61" y="241"/>
                    </a:lnTo>
                    <a:lnTo>
                      <a:pt x="55" y="243"/>
                    </a:lnTo>
                    <a:lnTo>
                      <a:pt x="51" y="245"/>
                    </a:lnTo>
                    <a:lnTo>
                      <a:pt x="45" y="247"/>
                    </a:lnTo>
                    <a:lnTo>
                      <a:pt x="42" y="251"/>
                    </a:lnTo>
                    <a:lnTo>
                      <a:pt x="36" y="253"/>
                    </a:lnTo>
                    <a:lnTo>
                      <a:pt x="32" y="256"/>
                    </a:lnTo>
                    <a:lnTo>
                      <a:pt x="28" y="258"/>
                    </a:lnTo>
                    <a:lnTo>
                      <a:pt x="23" y="262"/>
                    </a:lnTo>
                    <a:lnTo>
                      <a:pt x="19" y="266"/>
                    </a:lnTo>
                    <a:lnTo>
                      <a:pt x="15" y="270"/>
                    </a:lnTo>
                    <a:lnTo>
                      <a:pt x="11" y="274"/>
                    </a:lnTo>
                    <a:lnTo>
                      <a:pt x="5" y="277"/>
                    </a:lnTo>
                    <a:lnTo>
                      <a:pt x="4" y="281"/>
                    </a:lnTo>
                    <a:lnTo>
                      <a:pt x="0" y="287"/>
                    </a:lnTo>
                    <a:lnTo>
                      <a:pt x="23" y="300"/>
                    </a:lnTo>
                    <a:lnTo>
                      <a:pt x="23" y="296"/>
                    </a:lnTo>
                    <a:lnTo>
                      <a:pt x="28" y="293"/>
                    </a:lnTo>
                    <a:lnTo>
                      <a:pt x="32" y="289"/>
                    </a:lnTo>
                    <a:lnTo>
                      <a:pt x="36" y="285"/>
                    </a:lnTo>
                    <a:lnTo>
                      <a:pt x="43" y="281"/>
                    </a:lnTo>
                    <a:lnTo>
                      <a:pt x="49" y="277"/>
                    </a:lnTo>
                    <a:lnTo>
                      <a:pt x="53" y="274"/>
                    </a:lnTo>
                    <a:lnTo>
                      <a:pt x="57" y="272"/>
                    </a:lnTo>
                    <a:lnTo>
                      <a:pt x="61" y="270"/>
                    </a:lnTo>
                    <a:lnTo>
                      <a:pt x="66" y="268"/>
                    </a:lnTo>
                    <a:lnTo>
                      <a:pt x="70" y="266"/>
                    </a:lnTo>
                    <a:lnTo>
                      <a:pt x="76" y="264"/>
                    </a:lnTo>
                    <a:lnTo>
                      <a:pt x="80" y="262"/>
                    </a:lnTo>
                    <a:lnTo>
                      <a:pt x="87" y="262"/>
                    </a:lnTo>
                    <a:lnTo>
                      <a:pt x="91" y="260"/>
                    </a:lnTo>
                    <a:lnTo>
                      <a:pt x="99" y="258"/>
                    </a:lnTo>
                    <a:lnTo>
                      <a:pt x="104" y="256"/>
                    </a:lnTo>
                    <a:lnTo>
                      <a:pt x="112" y="256"/>
                    </a:lnTo>
                    <a:lnTo>
                      <a:pt x="118" y="256"/>
                    </a:lnTo>
                    <a:lnTo>
                      <a:pt x="125" y="256"/>
                    </a:lnTo>
                    <a:lnTo>
                      <a:pt x="129" y="256"/>
                    </a:lnTo>
                    <a:lnTo>
                      <a:pt x="133" y="256"/>
                    </a:lnTo>
                    <a:lnTo>
                      <a:pt x="138" y="256"/>
                    </a:lnTo>
                    <a:lnTo>
                      <a:pt x="142" y="256"/>
                    </a:lnTo>
                    <a:lnTo>
                      <a:pt x="146" y="256"/>
                    </a:lnTo>
                    <a:lnTo>
                      <a:pt x="150" y="256"/>
                    </a:lnTo>
                    <a:lnTo>
                      <a:pt x="154" y="256"/>
                    </a:lnTo>
                    <a:lnTo>
                      <a:pt x="157" y="256"/>
                    </a:lnTo>
                    <a:lnTo>
                      <a:pt x="161" y="256"/>
                    </a:lnTo>
                    <a:lnTo>
                      <a:pt x="167" y="256"/>
                    </a:lnTo>
                    <a:lnTo>
                      <a:pt x="171" y="256"/>
                    </a:lnTo>
                    <a:lnTo>
                      <a:pt x="175" y="256"/>
                    </a:lnTo>
                    <a:lnTo>
                      <a:pt x="180" y="256"/>
                    </a:lnTo>
                    <a:lnTo>
                      <a:pt x="184" y="256"/>
                    </a:lnTo>
                    <a:lnTo>
                      <a:pt x="190" y="256"/>
                    </a:lnTo>
                    <a:lnTo>
                      <a:pt x="194" y="256"/>
                    </a:lnTo>
                    <a:lnTo>
                      <a:pt x="197" y="256"/>
                    </a:lnTo>
                    <a:lnTo>
                      <a:pt x="203" y="256"/>
                    </a:lnTo>
                    <a:lnTo>
                      <a:pt x="207" y="256"/>
                    </a:lnTo>
                    <a:lnTo>
                      <a:pt x="213" y="258"/>
                    </a:lnTo>
                    <a:lnTo>
                      <a:pt x="216" y="256"/>
                    </a:lnTo>
                    <a:lnTo>
                      <a:pt x="222" y="256"/>
                    </a:lnTo>
                    <a:lnTo>
                      <a:pt x="226" y="256"/>
                    </a:lnTo>
                    <a:lnTo>
                      <a:pt x="232" y="256"/>
                    </a:lnTo>
                    <a:lnTo>
                      <a:pt x="235" y="256"/>
                    </a:lnTo>
                    <a:lnTo>
                      <a:pt x="241" y="256"/>
                    </a:lnTo>
                    <a:lnTo>
                      <a:pt x="245" y="256"/>
                    </a:lnTo>
                    <a:lnTo>
                      <a:pt x="251" y="256"/>
                    </a:lnTo>
                    <a:lnTo>
                      <a:pt x="254" y="256"/>
                    </a:lnTo>
                    <a:lnTo>
                      <a:pt x="258" y="255"/>
                    </a:lnTo>
                    <a:lnTo>
                      <a:pt x="264" y="255"/>
                    </a:lnTo>
                    <a:lnTo>
                      <a:pt x="268" y="255"/>
                    </a:lnTo>
                    <a:lnTo>
                      <a:pt x="273" y="255"/>
                    </a:lnTo>
                    <a:lnTo>
                      <a:pt x="277" y="253"/>
                    </a:lnTo>
                    <a:lnTo>
                      <a:pt x="283" y="253"/>
                    </a:lnTo>
                    <a:lnTo>
                      <a:pt x="289" y="253"/>
                    </a:lnTo>
                    <a:lnTo>
                      <a:pt x="292" y="251"/>
                    </a:lnTo>
                    <a:lnTo>
                      <a:pt x="296" y="251"/>
                    </a:lnTo>
                    <a:lnTo>
                      <a:pt x="300" y="249"/>
                    </a:lnTo>
                    <a:lnTo>
                      <a:pt x="306" y="249"/>
                    </a:lnTo>
                    <a:lnTo>
                      <a:pt x="309" y="247"/>
                    </a:lnTo>
                    <a:lnTo>
                      <a:pt x="313" y="245"/>
                    </a:lnTo>
                    <a:lnTo>
                      <a:pt x="317" y="245"/>
                    </a:lnTo>
                    <a:lnTo>
                      <a:pt x="323" y="243"/>
                    </a:lnTo>
                    <a:lnTo>
                      <a:pt x="325" y="241"/>
                    </a:lnTo>
                    <a:lnTo>
                      <a:pt x="328" y="241"/>
                    </a:lnTo>
                    <a:lnTo>
                      <a:pt x="334" y="237"/>
                    </a:lnTo>
                    <a:lnTo>
                      <a:pt x="338" y="237"/>
                    </a:lnTo>
                    <a:lnTo>
                      <a:pt x="342" y="236"/>
                    </a:lnTo>
                    <a:lnTo>
                      <a:pt x="346" y="234"/>
                    </a:lnTo>
                    <a:lnTo>
                      <a:pt x="349" y="230"/>
                    </a:lnTo>
                    <a:lnTo>
                      <a:pt x="353" y="228"/>
                    </a:lnTo>
                    <a:lnTo>
                      <a:pt x="359" y="224"/>
                    </a:lnTo>
                    <a:lnTo>
                      <a:pt x="366" y="218"/>
                    </a:lnTo>
                    <a:lnTo>
                      <a:pt x="372" y="213"/>
                    </a:lnTo>
                    <a:lnTo>
                      <a:pt x="378" y="205"/>
                    </a:lnTo>
                    <a:lnTo>
                      <a:pt x="384" y="199"/>
                    </a:lnTo>
                    <a:lnTo>
                      <a:pt x="389" y="192"/>
                    </a:lnTo>
                    <a:lnTo>
                      <a:pt x="391" y="188"/>
                    </a:lnTo>
                    <a:lnTo>
                      <a:pt x="393" y="184"/>
                    </a:lnTo>
                    <a:lnTo>
                      <a:pt x="395" y="179"/>
                    </a:lnTo>
                    <a:lnTo>
                      <a:pt x="397" y="175"/>
                    </a:lnTo>
                    <a:lnTo>
                      <a:pt x="397" y="171"/>
                    </a:lnTo>
                    <a:lnTo>
                      <a:pt x="399" y="165"/>
                    </a:lnTo>
                    <a:lnTo>
                      <a:pt x="399" y="161"/>
                    </a:lnTo>
                    <a:lnTo>
                      <a:pt x="401" y="156"/>
                    </a:lnTo>
                    <a:lnTo>
                      <a:pt x="401" y="152"/>
                    </a:lnTo>
                    <a:lnTo>
                      <a:pt x="403" y="146"/>
                    </a:lnTo>
                    <a:lnTo>
                      <a:pt x="403" y="142"/>
                    </a:lnTo>
                    <a:lnTo>
                      <a:pt x="403" y="139"/>
                    </a:lnTo>
                    <a:lnTo>
                      <a:pt x="403" y="135"/>
                    </a:lnTo>
                    <a:lnTo>
                      <a:pt x="403" y="131"/>
                    </a:lnTo>
                    <a:lnTo>
                      <a:pt x="403" y="127"/>
                    </a:lnTo>
                    <a:lnTo>
                      <a:pt x="403" y="122"/>
                    </a:lnTo>
                    <a:lnTo>
                      <a:pt x="403" y="118"/>
                    </a:lnTo>
                    <a:lnTo>
                      <a:pt x="403" y="114"/>
                    </a:lnTo>
                    <a:lnTo>
                      <a:pt x="401" y="110"/>
                    </a:lnTo>
                    <a:lnTo>
                      <a:pt x="401" y="106"/>
                    </a:lnTo>
                    <a:lnTo>
                      <a:pt x="401" y="103"/>
                    </a:lnTo>
                    <a:lnTo>
                      <a:pt x="399" y="99"/>
                    </a:lnTo>
                    <a:lnTo>
                      <a:pt x="399" y="95"/>
                    </a:lnTo>
                    <a:lnTo>
                      <a:pt x="397" y="89"/>
                    </a:lnTo>
                    <a:lnTo>
                      <a:pt x="395" y="83"/>
                    </a:lnTo>
                    <a:lnTo>
                      <a:pt x="393" y="76"/>
                    </a:lnTo>
                    <a:lnTo>
                      <a:pt x="389" y="68"/>
                    </a:lnTo>
                    <a:lnTo>
                      <a:pt x="385" y="63"/>
                    </a:lnTo>
                    <a:lnTo>
                      <a:pt x="384" y="55"/>
                    </a:lnTo>
                    <a:lnTo>
                      <a:pt x="380" y="51"/>
                    </a:lnTo>
                    <a:lnTo>
                      <a:pt x="376" y="44"/>
                    </a:lnTo>
                    <a:lnTo>
                      <a:pt x="372" y="38"/>
                    </a:lnTo>
                    <a:lnTo>
                      <a:pt x="368" y="34"/>
                    </a:lnTo>
                    <a:lnTo>
                      <a:pt x="365" y="28"/>
                    </a:lnTo>
                    <a:lnTo>
                      <a:pt x="361" y="23"/>
                    </a:lnTo>
                    <a:lnTo>
                      <a:pt x="357" y="19"/>
                    </a:lnTo>
                    <a:lnTo>
                      <a:pt x="353" y="15"/>
                    </a:lnTo>
                    <a:lnTo>
                      <a:pt x="351" y="13"/>
                    </a:lnTo>
                    <a:lnTo>
                      <a:pt x="346" y="6"/>
                    </a:lnTo>
                    <a:lnTo>
                      <a:pt x="342" y="4"/>
                    </a:lnTo>
                    <a:lnTo>
                      <a:pt x="338"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26" name="Freeform 69"/>
              <p:cNvSpPr>
                <a:spLocks/>
              </p:cNvSpPr>
              <p:nvPr/>
            </p:nvSpPr>
            <p:spPr bwMode="auto">
              <a:xfrm>
                <a:off x="2249488" y="3303588"/>
                <a:ext cx="136525" cy="182563"/>
              </a:xfrm>
              <a:custGeom>
                <a:avLst/>
                <a:gdLst>
                  <a:gd name="T0" fmla="*/ 2147483646 w 171"/>
                  <a:gd name="T1" fmla="*/ 0 h 230"/>
                  <a:gd name="T2" fmla="*/ 2147483646 w 171"/>
                  <a:gd name="T3" fmla="*/ 2147483646 h 230"/>
                  <a:gd name="T4" fmla="*/ 2147483646 w 171"/>
                  <a:gd name="T5" fmla="*/ 2147483646 h 230"/>
                  <a:gd name="T6" fmla="*/ 2147483646 w 171"/>
                  <a:gd name="T7" fmla="*/ 2147483646 h 230"/>
                  <a:gd name="T8" fmla="*/ 2147483646 w 171"/>
                  <a:gd name="T9" fmla="*/ 2147483646 h 230"/>
                  <a:gd name="T10" fmla="*/ 2147483646 w 171"/>
                  <a:gd name="T11" fmla="*/ 2147483646 h 230"/>
                  <a:gd name="T12" fmla="*/ 2147483646 w 171"/>
                  <a:gd name="T13" fmla="*/ 2147483646 h 230"/>
                  <a:gd name="T14" fmla="*/ 2147483646 w 171"/>
                  <a:gd name="T15" fmla="*/ 2147483646 h 230"/>
                  <a:gd name="T16" fmla="*/ 2147483646 w 171"/>
                  <a:gd name="T17" fmla="*/ 2147483646 h 230"/>
                  <a:gd name="T18" fmla="*/ 2147483646 w 171"/>
                  <a:gd name="T19" fmla="*/ 2147483646 h 230"/>
                  <a:gd name="T20" fmla="*/ 2147483646 w 171"/>
                  <a:gd name="T21" fmla="*/ 2147483646 h 230"/>
                  <a:gd name="T22" fmla="*/ 2147483646 w 171"/>
                  <a:gd name="T23" fmla="*/ 2147483646 h 230"/>
                  <a:gd name="T24" fmla="*/ 2147483646 w 171"/>
                  <a:gd name="T25" fmla="*/ 2147483646 h 230"/>
                  <a:gd name="T26" fmla="*/ 2147483646 w 171"/>
                  <a:gd name="T27" fmla="*/ 2147483646 h 230"/>
                  <a:gd name="T28" fmla="*/ 2147483646 w 171"/>
                  <a:gd name="T29" fmla="*/ 2147483646 h 230"/>
                  <a:gd name="T30" fmla="*/ 2147483646 w 171"/>
                  <a:gd name="T31" fmla="*/ 2147483646 h 230"/>
                  <a:gd name="T32" fmla="*/ 2147483646 w 171"/>
                  <a:gd name="T33" fmla="*/ 2147483646 h 230"/>
                  <a:gd name="T34" fmla="*/ 2147483646 w 171"/>
                  <a:gd name="T35" fmla="*/ 2147483646 h 230"/>
                  <a:gd name="T36" fmla="*/ 2147483646 w 171"/>
                  <a:gd name="T37" fmla="*/ 2147483646 h 230"/>
                  <a:gd name="T38" fmla="*/ 2147483646 w 171"/>
                  <a:gd name="T39" fmla="*/ 2147483646 h 230"/>
                  <a:gd name="T40" fmla="*/ 2147483646 w 171"/>
                  <a:gd name="T41" fmla="*/ 2147483646 h 230"/>
                  <a:gd name="T42" fmla="*/ 2147483646 w 171"/>
                  <a:gd name="T43" fmla="*/ 2147483646 h 230"/>
                  <a:gd name="T44" fmla="*/ 2147483646 w 171"/>
                  <a:gd name="T45" fmla="*/ 2147483646 h 230"/>
                  <a:gd name="T46" fmla="*/ 2147483646 w 171"/>
                  <a:gd name="T47" fmla="*/ 2147483646 h 230"/>
                  <a:gd name="T48" fmla="*/ 2147483646 w 171"/>
                  <a:gd name="T49" fmla="*/ 2147483646 h 230"/>
                  <a:gd name="T50" fmla="*/ 0 w 171"/>
                  <a:gd name="T51" fmla="*/ 2147483646 h 230"/>
                  <a:gd name="T52" fmla="*/ 0 w 171"/>
                  <a:gd name="T53" fmla="*/ 2147483646 h 230"/>
                  <a:gd name="T54" fmla="*/ 2147483646 w 171"/>
                  <a:gd name="T55" fmla="*/ 2147483646 h 230"/>
                  <a:gd name="T56" fmla="*/ 2147483646 w 171"/>
                  <a:gd name="T57" fmla="*/ 2147483646 h 230"/>
                  <a:gd name="T58" fmla="*/ 2147483646 w 171"/>
                  <a:gd name="T59" fmla="*/ 2147483646 h 230"/>
                  <a:gd name="T60" fmla="*/ 2147483646 w 171"/>
                  <a:gd name="T61" fmla="*/ 2147483646 h 230"/>
                  <a:gd name="T62" fmla="*/ 2147483646 w 171"/>
                  <a:gd name="T63" fmla="*/ 2147483646 h 230"/>
                  <a:gd name="T64" fmla="*/ 2147483646 w 171"/>
                  <a:gd name="T65" fmla="*/ 2147483646 h 230"/>
                  <a:gd name="T66" fmla="*/ 2147483646 w 171"/>
                  <a:gd name="T67" fmla="*/ 2147483646 h 230"/>
                  <a:gd name="T68" fmla="*/ 2147483646 w 171"/>
                  <a:gd name="T69" fmla="*/ 2147483646 h 230"/>
                  <a:gd name="T70" fmla="*/ 2147483646 w 171"/>
                  <a:gd name="T71" fmla="*/ 2147483646 h 230"/>
                  <a:gd name="T72" fmla="*/ 2147483646 w 171"/>
                  <a:gd name="T73" fmla="*/ 2147483646 h 230"/>
                  <a:gd name="T74" fmla="*/ 2147483646 w 171"/>
                  <a:gd name="T75" fmla="*/ 2147483646 h 230"/>
                  <a:gd name="T76" fmla="*/ 2147483646 w 171"/>
                  <a:gd name="T77" fmla="*/ 2147483646 h 230"/>
                  <a:gd name="T78" fmla="*/ 2147483646 w 171"/>
                  <a:gd name="T79" fmla="*/ 2147483646 h 230"/>
                  <a:gd name="T80" fmla="*/ 2147483646 w 171"/>
                  <a:gd name="T81" fmla="*/ 2147483646 h 230"/>
                  <a:gd name="T82" fmla="*/ 2147483646 w 171"/>
                  <a:gd name="T83" fmla="*/ 2147483646 h 230"/>
                  <a:gd name="T84" fmla="*/ 2147483646 w 171"/>
                  <a:gd name="T85" fmla="*/ 2147483646 h 230"/>
                  <a:gd name="T86" fmla="*/ 2147483646 w 171"/>
                  <a:gd name="T87" fmla="*/ 2147483646 h 230"/>
                  <a:gd name="T88" fmla="*/ 2147483646 w 171"/>
                  <a:gd name="T89" fmla="*/ 2147483646 h 230"/>
                  <a:gd name="T90" fmla="*/ 2147483646 w 171"/>
                  <a:gd name="T91" fmla="*/ 2147483646 h 230"/>
                  <a:gd name="T92" fmla="*/ 2147483646 w 171"/>
                  <a:gd name="T93" fmla="*/ 2147483646 h 230"/>
                  <a:gd name="T94" fmla="*/ 2147483646 w 171"/>
                  <a:gd name="T95" fmla="*/ 2147483646 h 230"/>
                  <a:gd name="T96" fmla="*/ 2147483646 w 171"/>
                  <a:gd name="T97" fmla="*/ 2147483646 h 230"/>
                  <a:gd name="T98" fmla="*/ 2147483646 w 171"/>
                  <a:gd name="T99" fmla="*/ 2147483646 h 230"/>
                  <a:gd name="T100" fmla="*/ 2147483646 w 171"/>
                  <a:gd name="T101" fmla="*/ 2147483646 h 230"/>
                  <a:gd name="T102" fmla="*/ 2147483646 w 171"/>
                  <a:gd name="T103" fmla="*/ 0 h 2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1"/>
                  <a:gd name="T157" fmla="*/ 0 h 230"/>
                  <a:gd name="T158" fmla="*/ 171 w 171"/>
                  <a:gd name="T159" fmla="*/ 230 h 2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1" h="230">
                    <a:moveTo>
                      <a:pt x="171" y="0"/>
                    </a:moveTo>
                    <a:lnTo>
                      <a:pt x="169" y="0"/>
                    </a:lnTo>
                    <a:lnTo>
                      <a:pt x="166" y="0"/>
                    </a:lnTo>
                    <a:lnTo>
                      <a:pt x="164" y="2"/>
                    </a:lnTo>
                    <a:lnTo>
                      <a:pt x="160" y="4"/>
                    </a:lnTo>
                    <a:lnTo>
                      <a:pt x="156" y="6"/>
                    </a:lnTo>
                    <a:lnTo>
                      <a:pt x="152" y="8"/>
                    </a:lnTo>
                    <a:lnTo>
                      <a:pt x="147" y="10"/>
                    </a:lnTo>
                    <a:lnTo>
                      <a:pt x="141" y="12"/>
                    </a:lnTo>
                    <a:lnTo>
                      <a:pt x="135" y="14"/>
                    </a:lnTo>
                    <a:lnTo>
                      <a:pt x="131" y="17"/>
                    </a:lnTo>
                    <a:lnTo>
                      <a:pt x="126" y="21"/>
                    </a:lnTo>
                    <a:lnTo>
                      <a:pt x="120" y="25"/>
                    </a:lnTo>
                    <a:lnTo>
                      <a:pt x="112" y="29"/>
                    </a:lnTo>
                    <a:lnTo>
                      <a:pt x="107" y="33"/>
                    </a:lnTo>
                    <a:lnTo>
                      <a:pt x="101" y="38"/>
                    </a:lnTo>
                    <a:lnTo>
                      <a:pt x="93" y="42"/>
                    </a:lnTo>
                    <a:lnTo>
                      <a:pt x="88" y="48"/>
                    </a:lnTo>
                    <a:lnTo>
                      <a:pt x="80" y="53"/>
                    </a:lnTo>
                    <a:lnTo>
                      <a:pt x="74" y="59"/>
                    </a:lnTo>
                    <a:lnTo>
                      <a:pt x="67" y="65"/>
                    </a:lnTo>
                    <a:lnTo>
                      <a:pt x="61" y="72"/>
                    </a:lnTo>
                    <a:lnTo>
                      <a:pt x="55" y="78"/>
                    </a:lnTo>
                    <a:lnTo>
                      <a:pt x="50" y="86"/>
                    </a:lnTo>
                    <a:lnTo>
                      <a:pt x="42" y="93"/>
                    </a:lnTo>
                    <a:lnTo>
                      <a:pt x="40" y="97"/>
                    </a:lnTo>
                    <a:lnTo>
                      <a:pt x="36" y="101"/>
                    </a:lnTo>
                    <a:lnTo>
                      <a:pt x="35" y="107"/>
                    </a:lnTo>
                    <a:lnTo>
                      <a:pt x="33" y="110"/>
                    </a:lnTo>
                    <a:lnTo>
                      <a:pt x="29" y="114"/>
                    </a:lnTo>
                    <a:lnTo>
                      <a:pt x="27" y="118"/>
                    </a:lnTo>
                    <a:lnTo>
                      <a:pt x="25" y="124"/>
                    </a:lnTo>
                    <a:lnTo>
                      <a:pt x="23" y="129"/>
                    </a:lnTo>
                    <a:lnTo>
                      <a:pt x="21" y="133"/>
                    </a:lnTo>
                    <a:lnTo>
                      <a:pt x="19" y="139"/>
                    </a:lnTo>
                    <a:lnTo>
                      <a:pt x="17" y="143"/>
                    </a:lnTo>
                    <a:lnTo>
                      <a:pt x="16" y="149"/>
                    </a:lnTo>
                    <a:lnTo>
                      <a:pt x="14" y="154"/>
                    </a:lnTo>
                    <a:lnTo>
                      <a:pt x="12" y="158"/>
                    </a:lnTo>
                    <a:lnTo>
                      <a:pt x="12" y="164"/>
                    </a:lnTo>
                    <a:lnTo>
                      <a:pt x="10" y="168"/>
                    </a:lnTo>
                    <a:lnTo>
                      <a:pt x="8" y="171"/>
                    </a:lnTo>
                    <a:lnTo>
                      <a:pt x="8" y="175"/>
                    </a:lnTo>
                    <a:lnTo>
                      <a:pt x="6" y="181"/>
                    </a:lnTo>
                    <a:lnTo>
                      <a:pt x="6" y="185"/>
                    </a:lnTo>
                    <a:lnTo>
                      <a:pt x="4" y="190"/>
                    </a:lnTo>
                    <a:lnTo>
                      <a:pt x="4" y="198"/>
                    </a:lnTo>
                    <a:lnTo>
                      <a:pt x="2" y="204"/>
                    </a:lnTo>
                    <a:lnTo>
                      <a:pt x="2" y="209"/>
                    </a:lnTo>
                    <a:lnTo>
                      <a:pt x="2" y="215"/>
                    </a:lnTo>
                    <a:lnTo>
                      <a:pt x="0" y="219"/>
                    </a:lnTo>
                    <a:lnTo>
                      <a:pt x="0" y="223"/>
                    </a:lnTo>
                    <a:lnTo>
                      <a:pt x="0" y="225"/>
                    </a:lnTo>
                    <a:lnTo>
                      <a:pt x="0" y="228"/>
                    </a:lnTo>
                    <a:lnTo>
                      <a:pt x="2" y="230"/>
                    </a:lnTo>
                    <a:lnTo>
                      <a:pt x="14" y="228"/>
                    </a:lnTo>
                    <a:lnTo>
                      <a:pt x="14" y="226"/>
                    </a:lnTo>
                    <a:lnTo>
                      <a:pt x="14" y="225"/>
                    </a:lnTo>
                    <a:lnTo>
                      <a:pt x="14" y="219"/>
                    </a:lnTo>
                    <a:lnTo>
                      <a:pt x="16" y="213"/>
                    </a:lnTo>
                    <a:lnTo>
                      <a:pt x="16" y="209"/>
                    </a:lnTo>
                    <a:lnTo>
                      <a:pt x="16" y="206"/>
                    </a:lnTo>
                    <a:lnTo>
                      <a:pt x="17" y="200"/>
                    </a:lnTo>
                    <a:lnTo>
                      <a:pt x="19" y="196"/>
                    </a:lnTo>
                    <a:lnTo>
                      <a:pt x="21" y="190"/>
                    </a:lnTo>
                    <a:lnTo>
                      <a:pt x="21" y="187"/>
                    </a:lnTo>
                    <a:lnTo>
                      <a:pt x="23" y="181"/>
                    </a:lnTo>
                    <a:lnTo>
                      <a:pt x="27" y="177"/>
                    </a:lnTo>
                    <a:lnTo>
                      <a:pt x="29" y="171"/>
                    </a:lnTo>
                    <a:lnTo>
                      <a:pt x="31" y="164"/>
                    </a:lnTo>
                    <a:lnTo>
                      <a:pt x="33" y="158"/>
                    </a:lnTo>
                    <a:lnTo>
                      <a:pt x="36" y="152"/>
                    </a:lnTo>
                    <a:lnTo>
                      <a:pt x="40" y="147"/>
                    </a:lnTo>
                    <a:lnTo>
                      <a:pt x="44" y="141"/>
                    </a:lnTo>
                    <a:lnTo>
                      <a:pt x="48" y="133"/>
                    </a:lnTo>
                    <a:lnTo>
                      <a:pt x="52" y="128"/>
                    </a:lnTo>
                    <a:lnTo>
                      <a:pt x="57" y="122"/>
                    </a:lnTo>
                    <a:lnTo>
                      <a:pt x="61" y="114"/>
                    </a:lnTo>
                    <a:lnTo>
                      <a:pt x="67" y="109"/>
                    </a:lnTo>
                    <a:lnTo>
                      <a:pt x="73" y="103"/>
                    </a:lnTo>
                    <a:lnTo>
                      <a:pt x="78" y="97"/>
                    </a:lnTo>
                    <a:lnTo>
                      <a:pt x="86" y="90"/>
                    </a:lnTo>
                    <a:lnTo>
                      <a:pt x="90" y="86"/>
                    </a:lnTo>
                    <a:lnTo>
                      <a:pt x="92" y="84"/>
                    </a:lnTo>
                    <a:lnTo>
                      <a:pt x="97" y="80"/>
                    </a:lnTo>
                    <a:lnTo>
                      <a:pt x="101" y="78"/>
                    </a:lnTo>
                    <a:lnTo>
                      <a:pt x="105" y="74"/>
                    </a:lnTo>
                    <a:lnTo>
                      <a:pt x="111" y="69"/>
                    </a:lnTo>
                    <a:lnTo>
                      <a:pt x="116" y="65"/>
                    </a:lnTo>
                    <a:lnTo>
                      <a:pt x="120" y="61"/>
                    </a:lnTo>
                    <a:lnTo>
                      <a:pt x="124" y="57"/>
                    </a:lnTo>
                    <a:lnTo>
                      <a:pt x="130" y="53"/>
                    </a:lnTo>
                    <a:lnTo>
                      <a:pt x="133" y="50"/>
                    </a:lnTo>
                    <a:lnTo>
                      <a:pt x="137" y="46"/>
                    </a:lnTo>
                    <a:lnTo>
                      <a:pt x="143" y="38"/>
                    </a:lnTo>
                    <a:lnTo>
                      <a:pt x="149" y="33"/>
                    </a:lnTo>
                    <a:lnTo>
                      <a:pt x="154" y="27"/>
                    </a:lnTo>
                    <a:lnTo>
                      <a:pt x="158" y="21"/>
                    </a:lnTo>
                    <a:lnTo>
                      <a:pt x="162" y="15"/>
                    </a:lnTo>
                    <a:lnTo>
                      <a:pt x="166" y="12"/>
                    </a:lnTo>
                    <a:lnTo>
                      <a:pt x="168" y="8"/>
                    </a:lnTo>
                    <a:lnTo>
                      <a:pt x="169" y="6"/>
                    </a:lnTo>
                    <a:lnTo>
                      <a:pt x="171"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27" name="Freeform 70"/>
              <p:cNvSpPr>
                <a:spLocks/>
              </p:cNvSpPr>
              <p:nvPr/>
            </p:nvSpPr>
            <p:spPr bwMode="auto">
              <a:xfrm>
                <a:off x="2413001" y="3314701"/>
                <a:ext cx="92075" cy="169863"/>
              </a:xfrm>
              <a:custGeom>
                <a:avLst/>
                <a:gdLst>
                  <a:gd name="T0" fmla="*/ 2147483646 w 115"/>
                  <a:gd name="T1" fmla="*/ 0 h 213"/>
                  <a:gd name="T2" fmla="*/ 2147483646 w 115"/>
                  <a:gd name="T3" fmla="*/ 2147483646 h 213"/>
                  <a:gd name="T4" fmla="*/ 2147483646 w 115"/>
                  <a:gd name="T5" fmla="*/ 2147483646 h 213"/>
                  <a:gd name="T6" fmla="*/ 2147483646 w 115"/>
                  <a:gd name="T7" fmla="*/ 2147483646 h 213"/>
                  <a:gd name="T8" fmla="*/ 2147483646 w 115"/>
                  <a:gd name="T9" fmla="*/ 2147483646 h 213"/>
                  <a:gd name="T10" fmla="*/ 2147483646 w 115"/>
                  <a:gd name="T11" fmla="*/ 2147483646 h 213"/>
                  <a:gd name="T12" fmla="*/ 0 w 115"/>
                  <a:gd name="T13" fmla="*/ 2147483646 h 213"/>
                  <a:gd name="T14" fmla="*/ 0 w 115"/>
                  <a:gd name="T15" fmla="*/ 2147483646 h 213"/>
                  <a:gd name="T16" fmla="*/ 0 w 115"/>
                  <a:gd name="T17" fmla="*/ 2147483646 h 213"/>
                  <a:gd name="T18" fmla="*/ 2147483646 w 115"/>
                  <a:gd name="T19" fmla="*/ 2147483646 h 213"/>
                  <a:gd name="T20" fmla="*/ 2147483646 w 115"/>
                  <a:gd name="T21" fmla="*/ 2147483646 h 213"/>
                  <a:gd name="T22" fmla="*/ 2147483646 w 115"/>
                  <a:gd name="T23" fmla="*/ 2147483646 h 213"/>
                  <a:gd name="T24" fmla="*/ 2147483646 w 115"/>
                  <a:gd name="T25" fmla="*/ 2147483646 h 213"/>
                  <a:gd name="T26" fmla="*/ 2147483646 w 115"/>
                  <a:gd name="T27" fmla="*/ 2147483646 h 213"/>
                  <a:gd name="T28" fmla="*/ 2147483646 w 115"/>
                  <a:gd name="T29" fmla="*/ 2147483646 h 213"/>
                  <a:gd name="T30" fmla="*/ 2147483646 w 115"/>
                  <a:gd name="T31" fmla="*/ 2147483646 h 213"/>
                  <a:gd name="T32" fmla="*/ 2147483646 w 115"/>
                  <a:gd name="T33" fmla="*/ 2147483646 h 213"/>
                  <a:gd name="T34" fmla="*/ 2147483646 w 115"/>
                  <a:gd name="T35" fmla="*/ 2147483646 h 213"/>
                  <a:gd name="T36" fmla="*/ 2147483646 w 115"/>
                  <a:gd name="T37" fmla="*/ 2147483646 h 213"/>
                  <a:gd name="T38" fmla="*/ 2147483646 w 115"/>
                  <a:gd name="T39" fmla="*/ 2147483646 h 213"/>
                  <a:gd name="T40" fmla="*/ 2147483646 w 115"/>
                  <a:gd name="T41" fmla="*/ 2147483646 h 213"/>
                  <a:gd name="T42" fmla="*/ 2147483646 w 115"/>
                  <a:gd name="T43" fmla="*/ 2147483646 h 213"/>
                  <a:gd name="T44" fmla="*/ 2147483646 w 115"/>
                  <a:gd name="T45" fmla="*/ 2147483646 h 213"/>
                  <a:gd name="T46" fmla="*/ 2147483646 w 115"/>
                  <a:gd name="T47" fmla="*/ 2147483646 h 213"/>
                  <a:gd name="T48" fmla="*/ 2147483646 w 115"/>
                  <a:gd name="T49" fmla="*/ 2147483646 h 213"/>
                  <a:gd name="T50" fmla="*/ 2147483646 w 115"/>
                  <a:gd name="T51" fmla="*/ 2147483646 h 213"/>
                  <a:gd name="T52" fmla="*/ 2147483646 w 115"/>
                  <a:gd name="T53" fmla="*/ 2147483646 h 213"/>
                  <a:gd name="T54" fmla="*/ 2147483646 w 115"/>
                  <a:gd name="T55" fmla="*/ 2147483646 h 213"/>
                  <a:gd name="T56" fmla="*/ 2147483646 w 115"/>
                  <a:gd name="T57" fmla="*/ 2147483646 h 213"/>
                  <a:gd name="T58" fmla="*/ 2147483646 w 115"/>
                  <a:gd name="T59" fmla="*/ 2147483646 h 213"/>
                  <a:gd name="T60" fmla="*/ 2147483646 w 115"/>
                  <a:gd name="T61" fmla="*/ 2147483646 h 213"/>
                  <a:gd name="T62" fmla="*/ 2147483646 w 115"/>
                  <a:gd name="T63" fmla="*/ 2147483646 h 213"/>
                  <a:gd name="T64" fmla="*/ 2147483646 w 115"/>
                  <a:gd name="T65" fmla="*/ 2147483646 h 213"/>
                  <a:gd name="T66" fmla="*/ 2147483646 w 115"/>
                  <a:gd name="T67" fmla="*/ 2147483646 h 213"/>
                  <a:gd name="T68" fmla="*/ 2147483646 w 115"/>
                  <a:gd name="T69" fmla="*/ 2147483646 h 213"/>
                  <a:gd name="T70" fmla="*/ 2147483646 w 115"/>
                  <a:gd name="T71" fmla="*/ 2147483646 h 213"/>
                  <a:gd name="T72" fmla="*/ 2147483646 w 115"/>
                  <a:gd name="T73" fmla="*/ 2147483646 h 213"/>
                  <a:gd name="T74" fmla="*/ 2147483646 w 115"/>
                  <a:gd name="T75" fmla="*/ 2147483646 h 213"/>
                  <a:gd name="T76" fmla="*/ 2147483646 w 115"/>
                  <a:gd name="T77" fmla="*/ 2147483646 h 213"/>
                  <a:gd name="T78" fmla="*/ 2147483646 w 115"/>
                  <a:gd name="T79" fmla="*/ 2147483646 h 213"/>
                  <a:gd name="T80" fmla="*/ 2147483646 w 115"/>
                  <a:gd name="T81" fmla="*/ 2147483646 h 213"/>
                  <a:gd name="T82" fmla="*/ 2147483646 w 115"/>
                  <a:gd name="T83" fmla="*/ 2147483646 h 213"/>
                  <a:gd name="T84" fmla="*/ 2147483646 w 115"/>
                  <a:gd name="T85" fmla="*/ 2147483646 h 213"/>
                  <a:gd name="T86" fmla="*/ 2147483646 w 115"/>
                  <a:gd name="T87" fmla="*/ 2147483646 h 213"/>
                  <a:gd name="T88" fmla="*/ 2147483646 w 115"/>
                  <a:gd name="T89" fmla="*/ 2147483646 h 213"/>
                  <a:gd name="T90" fmla="*/ 2147483646 w 115"/>
                  <a:gd name="T91" fmla="*/ 2147483646 h 213"/>
                  <a:gd name="T92" fmla="*/ 2147483646 w 115"/>
                  <a:gd name="T93" fmla="*/ 2147483646 h 213"/>
                  <a:gd name="T94" fmla="*/ 2147483646 w 115"/>
                  <a:gd name="T95" fmla="*/ 0 h 2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5"/>
                  <a:gd name="T145" fmla="*/ 0 h 213"/>
                  <a:gd name="T146" fmla="*/ 115 w 115"/>
                  <a:gd name="T147" fmla="*/ 213 h 2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5" h="213">
                    <a:moveTo>
                      <a:pt x="43" y="0"/>
                    </a:moveTo>
                    <a:lnTo>
                      <a:pt x="41" y="0"/>
                    </a:lnTo>
                    <a:lnTo>
                      <a:pt x="36" y="2"/>
                    </a:lnTo>
                    <a:lnTo>
                      <a:pt x="32" y="2"/>
                    </a:lnTo>
                    <a:lnTo>
                      <a:pt x="28" y="4"/>
                    </a:lnTo>
                    <a:lnTo>
                      <a:pt x="22" y="6"/>
                    </a:lnTo>
                    <a:lnTo>
                      <a:pt x="19" y="10"/>
                    </a:lnTo>
                    <a:lnTo>
                      <a:pt x="15" y="14"/>
                    </a:lnTo>
                    <a:lnTo>
                      <a:pt x="11" y="19"/>
                    </a:lnTo>
                    <a:lnTo>
                      <a:pt x="7" y="23"/>
                    </a:lnTo>
                    <a:lnTo>
                      <a:pt x="3" y="31"/>
                    </a:lnTo>
                    <a:lnTo>
                      <a:pt x="1" y="33"/>
                    </a:lnTo>
                    <a:lnTo>
                      <a:pt x="1" y="37"/>
                    </a:lnTo>
                    <a:lnTo>
                      <a:pt x="0" y="40"/>
                    </a:lnTo>
                    <a:lnTo>
                      <a:pt x="0" y="44"/>
                    </a:lnTo>
                    <a:lnTo>
                      <a:pt x="0" y="48"/>
                    </a:lnTo>
                    <a:lnTo>
                      <a:pt x="0" y="54"/>
                    </a:lnTo>
                    <a:lnTo>
                      <a:pt x="0" y="57"/>
                    </a:lnTo>
                    <a:lnTo>
                      <a:pt x="1" y="63"/>
                    </a:lnTo>
                    <a:lnTo>
                      <a:pt x="1" y="67"/>
                    </a:lnTo>
                    <a:lnTo>
                      <a:pt x="1" y="73"/>
                    </a:lnTo>
                    <a:lnTo>
                      <a:pt x="3" y="76"/>
                    </a:lnTo>
                    <a:lnTo>
                      <a:pt x="7" y="82"/>
                    </a:lnTo>
                    <a:lnTo>
                      <a:pt x="7" y="86"/>
                    </a:lnTo>
                    <a:lnTo>
                      <a:pt x="9" y="90"/>
                    </a:lnTo>
                    <a:lnTo>
                      <a:pt x="13" y="94"/>
                    </a:lnTo>
                    <a:lnTo>
                      <a:pt x="17" y="99"/>
                    </a:lnTo>
                    <a:lnTo>
                      <a:pt x="19" y="101"/>
                    </a:lnTo>
                    <a:lnTo>
                      <a:pt x="20" y="107"/>
                    </a:lnTo>
                    <a:lnTo>
                      <a:pt x="24" y="109"/>
                    </a:lnTo>
                    <a:lnTo>
                      <a:pt x="28" y="114"/>
                    </a:lnTo>
                    <a:lnTo>
                      <a:pt x="30" y="116"/>
                    </a:lnTo>
                    <a:lnTo>
                      <a:pt x="34" y="120"/>
                    </a:lnTo>
                    <a:lnTo>
                      <a:pt x="38" y="124"/>
                    </a:lnTo>
                    <a:lnTo>
                      <a:pt x="39" y="128"/>
                    </a:lnTo>
                    <a:lnTo>
                      <a:pt x="45" y="135"/>
                    </a:lnTo>
                    <a:lnTo>
                      <a:pt x="51" y="141"/>
                    </a:lnTo>
                    <a:lnTo>
                      <a:pt x="55" y="149"/>
                    </a:lnTo>
                    <a:lnTo>
                      <a:pt x="60" y="156"/>
                    </a:lnTo>
                    <a:lnTo>
                      <a:pt x="62" y="162"/>
                    </a:lnTo>
                    <a:lnTo>
                      <a:pt x="64" y="170"/>
                    </a:lnTo>
                    <a:lnTo>
                      <a:pt x="64" y="173"/>
                    </a:lnTo>
                    <a:lnTo>
                      <a:pt x="64" y="177"/>
                    </a:lnTo>
                    <a:lnTo>
                      <a:pt x="62" y="181"/>
                    </a:lnTo>
                    <a:lnTo>
                      <a:pt x="62" y="185"/>
                    </a:lnTo>
                    <a:lnTo>
                      <a:pt x="102" y="213"/>
                    </a:lnTo>
                    <a:lnTo>
                      <a:pt x="104" y="211"/>
                    </a:lnTo>
                    <a:lnTo>
                      <a:pt x="108" y="208"/>
                    </a:lnTo>
                    <a:lnTo>
                      <a:pt x="110" y="204"/>
                    </a:lnTo>
                    <a:lnTo>
                      <a:pt x="112" y="200"/>
                    </a:lnTo>
                    <a:lnTo>
                      <a:pt x="114" y="196"/>
                    </a:lnTo>
                    <a:lnTo>
                      <a:pt x="115" y="192"/>
                    </a:lnTo>
                    <a:lnTo>
                      <a:pt x="115" y="187"/>
                    </a:lnTo>
                    <a:lnTo>
                      <a:pt x="115" y="181"/>
                    </a:lnTo>
                    <a:lnTo>
                      <a:pt x="114" y="173"/>
                    </a:lnTo>
                    <a:lnTo>
                      <a:pt x="114" y="168"/>
                    </a:lnTo>
                    <a:lnTo>
                      <a:pt x="112" y="164"/>
                    </a:lnTo>
                    <a:lnTo>
                      <a:pt x="110" y="158"/>
                    </a:lnTo>
                    <a:lnTo>
                      <a:pt x="106" y="154"/>
                    </a:lnTo>
                    <a:lnTo>
                      <a:pt x="104" y="151"/>
                    </a:lnTo>
                    <a:lnTo>
                      <a:pt x="102" y="147"/>
                    </a:lnTo>
                    <a:lnTo>
                      <a:pt x="98" y="143"/>
                    </a:lnTo>
                    <a:lnTo>
                      <a:pt x="95" y="139"/>
                    </a:lnTo>
                    <a:lnTo>
                      <a:pt x="91" y="134"/>
                    </a:lnTo>
                    <a:lnTo>
                      <a:pt x="85" y="128"/>
                    </a:lnTo>
                    <a:lnTo>
                      <a:pt x="81" y="124"/>
                    </a:lnTo>
                    <a:lnTo>
                      <a:pt x="77" y="120"/>
                    </a:lnTo>
                    <a:lnTo>
                      <a:pt x="72" y="116"/>
                    </a:lnTo>
                    <a:lnTo>
                      <a:pt x="66" y="109"/>
                    </a:lnTo>
                    <a:lnTo>
                      <a:pt x="60" y="103"/>
                    </a:lnTo>
                    <a:lnTo>
                      <a:pt x="53" y="97"/>
                    </a:lnTo>
                    <a:lnTo>
                      <a:pt x="49" y="92"/>
                    </a:lnTo>
                    <a:lnTo>
                      <a:pt x="45" y="88"/>
                    </a:lnTo>
                    <a:lnTo>
                      <a:pt x="41" y="84"/>
                    </a:lnTo>
                    <a:lnTo>
                      <a:pt x="38" y="80"/>
                    </a:lnTo>
                    <a:lnTo>
                      <a:pt x="36" y="76"/>
                    </a:lnTo>
                    <a:lnTo>
                      <a:pt x="34" y="73"/>
                    </a:lnTo>
                    <a:lnTo>
                      <a:pt x="32" y="69"/>
                    </a:lnTo>
                    <a:lnTo>
                      <a:pt x="30" y="65"/>
                    </a:lnTo>
                    <a:lnTo>
                      <a:pt x="28" y="61"/>
                    </a:lnTo>
                    <a:lnTo>
                      <a:pt x="26" y="57"/>
                    </a:lnTo>
                    <a:lnTo>
                      <a:pt x="26" y="52"/>
                    </a:lnTo>
                    <a:lnTo>
                      <a:pt x="24" y="48"/>
                    </a:lnTo>
                    <a:lnTo>
                      <a:pt x="24" y="42"/>
                    </a:lnTo>
                    <a:lnTo>
                      <a:pt x="24" y="37"/>
                    </a:lnTo>
                    <a:lnTo>
                      <a:pt x="26" y="33"/>
                    </a:lnTo>
                    <a:lnTo>
                      <a:pt x="26" y="29"/>
                    </a:lnTo>
                    <a:lnTo>
                      <a:pt x="28" y="25"/>
                    </a:lnTo>
                    <a:lnTo>
                      <a:pt x="30" y="19"/>
                    </a:lnTo>
                    <a:lnTo>
                      <a:pt x="32" y="18"/>
                    </a:lnTo>
                    <a:lnTo>
                      <a:pt x="34" y="14"/>
                    </a:lnTo>
                    <a:lnTo>
                      <a:pt x="36" y="10"/>
                    </a:lnTo>
                    <a:lnTo>
                      <a:pt x="38" y="6"/>
                    </a:lnTo>
                    <a:lnTo>
                      <a:pt x="39" y="4"/>
                    </a:lnTo>
                    <a:lnTo>
                      <a:pt x="43"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28" name="Freeform 71"/>
              <p:cNvSpPr>
                <a:spLocks/>
              </p:cNvSpPr>
              <p:nvPr/>
            </p:nvSpPr>
            <p:spPr bwMode="auto">
              <a:xfrm>
                <a:off x="2493963" y="3297238"/>
                <a:ext cx="41275" cy="96838"/>
              </a:xfrm>
              <a:custGeom>
                <a:avLst/>
                <a:gdLst>
                  <a:gd name="T0" fmla="*/ 2147483646 w 51"/>
                  <a:gd name="T1" fmla="*/ 0 h 121"/>
                  <a:gd name="T2" fmla="*/ 2147483646 w 51"/>
                  <a:gd name="T3" fmla="*/ 2147483646 h 121"/>
                  <a:gd name="T4" fmla="*/ 2147483646 w 51"/>
                  <a:gd name="T5" fmla="*/ 2147483646 h 121"/>
                  <a:gd name="T6" fmla="*/ 2147483646 w 51"/>
                  <a:gd name="T7" fmla="*/ 2147483646 h 121"/>
                  <a:gd name="T8" fmla="*/ 2147483646 w 51"/>
                  <a:gd name="T9" fmla="*/ 2147483646 h 121"/>
                  <a:gd name="T10" fmla="*/ 2147483646 w 51"/>
                  <a:gd name="T11" fmla="*/ 2147483646 h 121"/>
                  <a:gd name="T12" fmla="*/ 2147483646 w 51"/>
                  <a:gd name="T13" fmla="*/ 2147483646 h 121"/>
                  <a:gd name="T14" fmla="*/ 2147483646 w 51"/>
                  <a:gd name="T15" fmla="*/ 2147483646 h 121"/>
                  <a:gd name="T16" fmla="*/ 2147483646 w 51"/>
                  <a:gd name="T17" fmla="*/ 2147483646 h 121"/>
                  <a:gd name="T18" fmla="*/ 2147483646 w 51"/>
                  <a:gd name="T19" fmla="*/ 2147483646 h 121"/>
                  <a:gd name="T20" fmla="*/ 2147483646 w 51"/>
                  <a:gd name="T21" fmla="*/ 2147483646 h 121"/>
                  <a:gd name="T22" fmla="*/ 2147483646 w 51"/>
                  <a:gd name="T23" fmla="*/ 2147483646 h 121"/>
                  <a:gd name="T24" fmla="*/ 2147483646 w 51"/>
                  <a:gd name="T25" fmla="*/ 2147483646 h 121"/>
                  <a:gd name="T26" fmla="*/ 2147483646 w 51"/>
                  <a:gd name="T27" fmla="*/ 2147483646 h 121"/>
                  <a:gd name="T28" fmla="*/ 2147483646 w 51"/>
                  <a:gd name="T29" fmla="*/ 2147483646 h 121"/>
                  <a:gd name="T30" fmla="*/ 2147483646 w 51"/>
                  <a:gd name="T31" fmla="*/ 2147483646 h 121"/>
                  <a:gd name="T32" fmla="*/ 2147483646 w 51"/>
                  <a:gd name="T33" fmla="*/ 2147483646 h 121"/>
                  <a:gd name="T34" fmla="*/ 2147483646 w 51"/>
                  <a:gd name="T35" fmla="*/ 2147483646 h 121"/>
                  <a:gd name="T36" fmla="*/ 2147483646 w 51"/>
                  <a:gd name="T37" fmla="*/ 2147483646 h 121"/>
                  <a:gd name="T38" fmla="*/ 2147483646 w 51"/>
                  <a:gd name="T39" fmla="*/ 2147483646 h 121"/>
                  <a:gd name="T40" fmla="*/ 2147483646 w 51"/>
                  <a:gd name="T41" fmla="*/ 2147483646 h 121"/>
                  <a:gd name="T42" fmla="*/ 2147483646 w 51"/>
                  <a:gd name="T43" fmla="*/ 2147483646 h 121"/>
                  <a:gd name="T44" fmla="*/ 2147483646 w 51"/>
                  <a:gd name="T45" fmla="*/ 2147483646 h 121"/>
                  <a:gd name="T46" fmla="*/ 0 w 51"/>
                  <a:gd name="T47" fmla="*/ 2147483646 h 121"/>
                  <a:gd name="T48" fmla="*/ 2147483646 w 51"/>
                  <a:gd name="T49" fmla="*/ 2147483646 h 121"/>
                  <a:gd name="T50" fmla="*/ 2147483646 w 51"/>
                  <a:gd name="T51" fmla="*/ 2147483646 h 121"/>
                  <a:gd name="T52" fmla="*/ 2147483646 w 51"/>
                  <a:gd name="T53" fmla="*/ 2147483646 h 121"/>
                  <a:gd name="T54" fmla="*/ 2147483646 w 51"/>
                  <a:gd name="T55" fmla="*/ 2147483646 h 121"/>
                  <a:gd name="T56" fmla="*/ 2147483646 w 51"/>
                  <a:gd name="T57" fmla="*/ 2147483646 h 121"/>
                  <a:gd name="T58" fmla="*/ 2147483646 w 51"/>
                  <a:gd name="T59" fmla="*/ 2147483646 h 121"/>
                  <a:gd name="T60" fmla="*/ 2147483646 w 51"/>
                  <a:gd name="T61" fmla="*/ 2147483646 h 121"/>
                  <a:gd name="T62" fmla="*/ 2147483646 w 51"/>
                  <a:gd name="T63" fmla="*/ 2147483646 h 121"/>
                  <a:gd name="T64" fmla="*/ 2147483646 w 51"/>
                  <a:gd name="T65" fmla="*/ 2147483646 h 121"/>
                  <a:gd name="T66" fmla="*/ 2147483646 w 51"/>
                  <a:gd name="T67" fmla="*/ 2147483646 h 121"/>
                  <a:gd name="T68" fmla="*/ 2147483646 w 51"/>
                  <a:gd name="T69" fmla="*/ 2147483646 h 121"/>
                  <a:gd name="T70" fmla="*/ 2147483646 w 51"/>
                  <a:gd name="T71" fmla="*/ 2147483646 h 121"/>
                  <a:gd name="T72" fmla="*/ 2147483646 w 51"/>
                  <a:gd name="T73" fmla="*/ 2147483646 h 121"/>
                  <a:gd name="T74" fmla="*/ 2147483646 w 51"/>
                  <a:gd name="T75" fmla="*/ 2147483646 h 121"/>
                  <a:gd name="T76" fmla="*/ 2147483646 w 51"/>
                  <a:gd name="T77" fmla="*/ 2147483646 h 121"/>
                  <a:gd name="T78" fmla="*/ 2147483646 w 51"/>
                  <a:gd name="T79" fmla="*/ 2147483646 h 121"/>
                  <a:gd name="T80" fmla="*/ 2147483646 w 51"/>
                  <a:gd name="T81" fmla="*/ 2147483646 h 121"/>
                  <a:gd name="T82" fmla="*/ 2147483646 w 51"/>
                  <a:gd name="T83" fmla="*/ 2147483646 h 121"/>
                  <a:gd name="T84" fmla="*/ 2147483646 w 51"/>
                  <a:gd name="T85" fmla="*/ 2147483646 h 121"/>
                  <a:gd name="T86" fmla="*/ 2147483646 w 51"/>
                  <a:gd name="T87" fmla="*/ 2147483646 h 121"/>
                  <a:gd name="T88" fmla="*/ 2147483646 w 51"/>
                  <a:gd name="T89" fmla="*/ 2147483646 h 121"/>
                  <a:gd name="T90" fmla="*/ 2147483646 w 51"/>
                  <a:gd name="T91" fmla="*/ 2147483646 h 121"/>
                  <a:gd name="T92" fmla="*/ 2147483646 w 51"/>
                  <a:gd name="T93" fmla="*/ 2147483646 h 121"/>
                  <a:gd name="T94" fmla="*/ 2147483646 w 51"/>
                  <a:gd name="T95" fmla="*/ 2147483646 h 121"/>
                  <a:gd name="T96" fmla="*/ 2147483646 w 51"/>
                  <a:gd name="T97" fmla="*/ 2147483646 h 121"/>
                  <a:gd name="T98" fmla="*/ 2147483646 w 51"/>
                  <a:gd name="T99" fmla="*/ 2147483646 h 121"/>
                  <a:gd name="T100" fmla="*/ 2147483646 w 51"/>
                  <a:gd name="T101" fmla="*/ 2147483646 h 121"/>
                  <a:gd name="T102" fmla="*/ 2147483646 w 51"/>
                  <a:gd name="T103" fmla="*/ 2147483646 h 121"/>
                  <a:gd name="T104" fmla="*/ 2147483646 w 51"/>
                  <a:gd name="T105" fmla="*/ 2147483646 h 121"/>
                  <a:gd name="T106" fmla="*/ 2147483646 w 51"/>
                  <a:gd name="T107" fmla="*/ 2147483646 h 121"/>
                  <a:gd name="T108" fmla="*/ 2147483646 w 51"/>
                  <a:gd name="T109" fmla="*/ 2147483646 h 121"/>
                  <a:gd name="T110" fmla="*/ 2147483646 w 51"/>
                  <a:gd name="T111" fmla="*/ 0 h 121"/>
                  <a:gd name="T112" fmla="*/ 2147483646 w 51"/>
                  <a:gd name="T113" fmla="*/ 0 h 121"/>
                  <a:gd name="T114" fmla="*/ 2147483646 w 51"/>
                  <a:gd name="T115" fmla="*/ 0 h 1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
                  <a:gd name="T175" fmla="*/ 0 h 121"/>
                  <a:gd name="T176" fmla="*/ 51 w 51"/>
                  <a:gd name="T177" fmla="*/ 121 h 1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 h="121">
                    <a:moveTo>
                      <a:pt x="25" y="0"/>
                    </a:moveTo>
                    <a:lnTo>
                      <a:pt x="25" y="2"/>
                    </a:lnTo>
                    <a:lnTo>
                      <a:pt x="25" y="3"/>
                    </a:lnTo>
                    <a:lnTo>
                      <a:pt x="27" y="9"/>
                    </a:lnTo>
                    <a:lnTo>
                      <a:pt x="27" y="13"/>
                    </a:lnTo>
                    <a:lnTo>
                      <a:pt x="27" y="19"/>
                    </a:lnTo>
                    <a:lnTo>
                      <a:pt x="27" y="24"/>
                    </a:lnTo>
                    <a:lnTo>
                      <a:pt x="27" y="32"/>
                    </a:lnTo>
                    <a:lnTo>
                      <a:pt x="25" y="36"/>
                    </a:lnTo>
                    <a:lnTo>
                      <a:pt x="25" y="40"/>
                    </a:lnTo>
                    <a:lnTo>
                      <a:pt x="25" y="43"/>
                    </a:lnTo>
                    <a:lnTo>
                      <a:pt x="23" y="47"/>
                    </a:lnTo>
                    <a:lnTo>
                      <a:pt x="21" y="53"/>
                    </a:lnTo>
                    <a:lnTo>
                      <a:pt x="21" y="57"/>
                    </a:lnTo>
                    <a:lnTo>
                      <a:pt x="19" y="60"/>
                    </a:lnTo>
                    <a:lnTo>
                      <a:pt x="19" y="64"/>
                    </a:lnTo>
                    <a:lnTo>
                      <a:pt x="17" y="68"/>
                    </a:lnTo>
                    <a:lnTo>
                      <a:pt x="15" y="72"/>
                    </a:lnTo>
                    <a:lnTo>
                      <a:pt x="13" y="76"/>
                    </a:lnTo>
                    <a:lnTo>
                      <a:pt x="12" y="79"/>
                    </a:lnTo>
                    <a:lnTo>
                      <a:pt x="10" y="83"/>
                    </a:lnTo>
                    <a:lnTo>
                      <a:pt x="6" y="87"/>
                    </a:lnTo>
                    <a:lnTo>
                      <a:pt x="4" y="91"/>
                    </a:lnTo>
                    <a:lnTo>
                      <a:pt x="0" y="97"/>
                    </a:lnTo>
                    <a:lnTo>
                      <a:pt x="36" y="121"/>
                    </a:lnTo>
                    <a:lnTo>
                      <a:pt x="36" y="119"/>
                    </a:lnTo>
                    <a:lnTo>
                      <a:pt x="38" y="119"/>
                    </a:lnTo>
                    <a:lnTo>
                      <a:pt x="40" y="117"/>
                    </a:lnTo>
                    <a:lnTo>
                      <a:pt x="42" y="114"/>
                    </a:lnTo>
                    <a:lnTo>
                      <a:pt x="44" y="110"/>
                    </a:lnTo>
                    <a:lnTo>
                      <a:pt x="44" y="106"/>
                    </a:lnTo>
                    <a:lnTo>
                      <a:pt x="46" y="102"/>
                    </a:lnTo>
                    <a:lnTo>
                      <a:pt x="48" y="98"/>
                    </a:lnTo>
                    <a:lnTo>
                      <a:pt x="48" y="93"/>
                    </a:lnTo>
                    <a:lnTo>
                      <a:pt x="50" y="85"/>
                    </a:lnTo>
                    <a:lnTo>
                      <a:pt x="50" y="81"/>
                    </a:lnTo>
                    <a:lnTo>
                      <a:pt x="50" y="78"/>
                    </a:lnTo>
                    <a:lnTo>
                      <a:pt x="51" y="74"/>
                    </a:lnTo>
                    <a:lnTo>
                      <a:pt x="51" y="70"/>
                    </a:lnTo>
                    <a:lnTo>
                      <a:pt x="51" y="64"/>
                    </a:lnTo>
                    <a:lnTo>
                      <a:pt x="51" y="59"/>
                    </a:lnTo>
                    <a:lnTo>
                      <a:pt x="51" y="55"/>
                    </a:lnTo>
                    <a:lnTo>
                      <a:pt x="51" y="51"/>
                    </a:lnTo>
                    <a:lnTo>
                      <a:pt x="50" y="47"/>
                    </a:lnTo>
                    <a:lnTo>
                      <a:pt x="50" y="43"/>
                    </a:lnTo>
                    <a:lnTo>
                      <a:pt x="50" y="40"/>
                    </a:lnTo>
                    <a:lnTo>
                      <a:pt x="48" y="38"/>
                    </a:lnTo>
                    <a:lnTo>
                      <a:pt x="46" y="30"/>
                    </a:lnTo>
                    <a:lnTo>
                      <a:pt x="44" y="24"/>
                    </a:lnTo>
                    <a:lnTo>
                      <a:pt x="42" y="19"/>
                    </a:lnTo>
                    <a:lnTo>
                      <a:pt x="38" y="15"/>
                    </a:lnTo>
                    <a:lnTo>
                      <a:pt x="36" y="11"/>
                    </a:lnTo>
                    <a:lnTo>
                      <a:pt x="34" y="7"/>
                    </a:lnTo>
                    <a:lnTo>
                      <a:pt x="31" y="5"/>
                    </a:lnTo>
                    <a:lnTo>
                      <a:pt x="29" y="3"/>
                    </a:lnTo>
                    <a:lnTo>
                      <a:pt x="27" y="0"/>
                    </a:lnTo>
                    <a:lnTo>
                      <a:pt x="25"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29" name="Freeform 72"/>
              <p:cNvSpPr>
                <a:spLocks/>
              </p:cNvSpPr>
              <p:nvPr/>
            </p:nvSpPr>
            <p:spPr bwMode="auto">
              <a:xfrm>
                <a:off x="2832101" y="3306763"/>
                <a:ext cx="53975" cy="282575"/>
              </a:xfrm>
              <a:custGeom>
                <a:avLst/>
                <a:gdLst>
                  <a:gd name="T0" fmla="*/ 2147483646 w 68"/>
                  <a:gd name="T1" fmla="*/ 2147483646 h 357"/>
                  <a:gd name="T2" fmla="*/ 2147483646 w 68"/>
                  <a:gd name="T3" fmla="*/ 2147483646 h 357"/>
                  <a:gd name="T4" fmla="*/ 2147483646 w 68"/>
                  <a:gd name="T5" fmla="*/ 2147483646 h 357"/>
                  <a:gd name="T6" fmla="*/ 2147483646 w 68"/>
                  <a:gd name="T7" fmla="*/ 2147483646 h 357"/>
                  <a:gd name="T8" fmla="*/ 2147483646 w 68"/>
                  <a:gd name="T9" fmla="*/ 2147483646 h 357"/>
                  <a:gd name="T10" fmla="*/ 0 w 68"/>
                  <a:gd name="T11" fmla="*/ 2147483646 h 357"/>
                  <a:gd name="T12" fmla="*/ 0 w 68"/>
                  <a:gd name="T13" fmla="*/ 2147483646 h 357"/>
                  <a:gd name="T14" fmla="*/ 0 w 68"/>
                  <a:gd name="T15" fmla="*/ 2147483646 h 357"/>
                  <a:gd name="T16" fmla="*/ 2147483646 w 68"/>
                  <a:gd name="T17" fmla="*/ 2147483646 h 357"/>
                  <a:gd name="T18" fmla="*/ 2147483646 w 68"/>
                  <a:gd name="T19" fmla="*/ 2147483646 h 357"/>
                  <a:gd name="T20" fmla="*/ 2147483646 w 68"/>
                  <a:gd name="T21" fmla="*/ 2147483646 h 357"/>
                  <a:gd name="T22" fmla="*/ 2147483646 w 68"/>
                  <a:gd name="T23" fmla="*/ 2147483646 h 357"/>
                  <a:gd name="T24" fmla="*/ 2147483646 w 68"/>
                  <a:gd name="T25" fmla="*/ 2147483646 h 357"/>
                  <a:gd name="T26" fmla="*/ 2147483646 w 68"/>
                  <a:gd name="T27" fmla="*/ 2147483646 h 357"/>
                  <a:gd name="T28" fmla="*/ 2147483646 w 68"/>
                  <a:gd name="T29" fmla="*/ 2147483646 h 357"/>
                  <a:gd name="T30" fmla="*/ 2147483646 w 68"/>
                  <a:gd name="T31" fmla="*/ 2147483646 h 357"/>
                  <a:gd name="T32" fmla="*/ 2147483646 w 68"/>
                  <a:gd name="T33" fmla="*/ 2147483646 h 357"/>
                  <a:gd name="T34" fmla="*/ 2147483646 w 68"/>
                  <a:gd name="T35" fmla="*/ 2147483646 h 357"/>
                  <a:gd name="T36" fmla="*/ 2147483646 w 68"/>
                  <a:gd name="T37" fmla="*/ 2147483646 h 357"/>
                  <a:gd name="T38" fmla="*/ 2147483646 w 68"/>
                  <a:gd name="T39" fmla="*/ 2147483646 h 357"/>
                  <a:gd name="T40" fmla="*/ 2147483646 w 68"/>
                  <a:gd name="T41" fmla="*/ 2147483646 h 357"/>
                  <a:gd name="T42" fmla="*/ 2147483646 w 68"/>
                  <a:gd name="T43" fmla="*/ 2147483646 h 357"/>
                  <a:gd name="T44" fmla="*/ 2147483646 w 68"/>
                  <a:gd name="T45" fmla="*/ 2147483646 h 357"/>
                  <a:gd name="T46" fmla="*/ 2147483646 w 68"/>
                  <a:gd name="T47" fmla="*/ 2147483646 h 357"/>
                  <a:gd name="T48" fmla="*/ 2147483646 w 68"/>
                  <a:gd name="T49" fmla="*/ 2147483646 h 357"/>
                  <a:gd name="T50" fmla="*/ 2147483646 w 68"/>
                  <a:gd name="T51" fmla="*/ 2147483646 h 357"/>
                  <a:gd name="T52" fmla="*/ 2147483646 w 68"/>
                  <a:gd name="T53" fmla="*/ 2147483646 h 357"/>
                  <a:gd name="T54" fmla="*/ 2147483646 w 68"/>
                  <a:gd name="T55" fmla="*/ 2147483646 h 357"/>
                  <a:gd name="T56" fmla="*/ 2147483646 w 68"/>
                  <a:gd name="T57" fmla="*/ 2147483646 h 357"/>
                  <a:gd name="T58" fmla="*/ 2147483646 w 68"/>
                  <a:gd name="T59" fmla="*/ 2147483646 h 357"/>
                  <a:gd name="T60" fmla="*/ 2147483646 w 68"/>
                  <a:gd name="T61" fmla="*/ 2147483646 h 357"/>
                  <a:gd name="T62" fmla="*/ 2147483646 w 68"/>
                  <a:gd name="T63" fmla="*/ 2147483646 h 357"/>
                  <a:gd name="T64" fmla="*/ 2147483646 w 68"/>
                  <a:gd name="T65" fmla="*/ 2147483646 h 357"/>
                  <a:gd name="T66" fmla="*/ 2147483646 w 68"/>
                  <a:gd name="T67" fmla="*/ 2147483646 h 357"/>
                  <a:gd name="T68" fmla="*/ 2147483646 w 68"/>
                  <a:gd name="T69" fmla="*/ 2147483646 h 357"/>
                  <a:gd name="T70" fmla="*/ 2147483646 w 68"/>
                  <a:gd name="T71" fmla="*/ 2147483646 h 357"/>
                  <a:gd name="T72" fmla="*/ 2147483646 w 68"/>
                  <a:gd name="T73" fmla="*/ 2147483646 h 357"/>
                  <a:gd name="T74" fmla="*/ 2147483646 w 68"/>
                  <a:gd name="T75" fmla="*/ 2147483646 h 357"/>
                  <a:gd name="T76" fmla="*/ 2147483646 w 68"/>
                  <a:gd name="T77" fmla="*/ 2147483646 h 357"/>
                  <a:gd name="T78" fmla="*/ 2147483646 w 68"/>
                  <a:gd name="T79" fmla="*/ 2147483646 h 357"/>
                  <a:gd name="T80" fmla="*/ 2147483646 w 68"/>
                  <a:gd name="T81" fmla="*/ 2147483646 h 357"/>
                  <a:gd name="T82" fmla="*/ 2147483646 w 68"/>
                  <a:gd name="T83" fmla="*/ 2147483646 h 357"/>
                  <a:gd name="T84" fmla="*/ 2147483646 w 68"/>
                  <a:gd name="T85" fmla="*/ 2147483646 h 3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
                  <a:gd name="T130" fmla="*/ 0 h 357"/>
                  <a:gd name="T131" fmla="*/ 68 w 68"/>
                  <a:gd name="T132" fmla="*/ 357 h 35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 h="357">
                    <a:moveTo>
                      <a:pt x="23" y="11"/>
                    </a:moveTo>
                    <a:lnTo>
                      <a:pt x="23" y="11"/>
                    </a:lnTo>
                    <a:lnTo>
                      <a:pt x="21" y="13"/>
                    </a:lnTo>
                    <a:lnTo>
                      <a:pt x="19" y="17"/>
                    </a:lnTo>
                    <a:lnTo>
                      <a:pt x="17" y="21"/>
                    </a:lnTo>
                    <a:lnTo>
                      <a:pt x="15" y="27"/>
                    </a:lnTo>
                    <a:lnTo>
                      <a:pt x="13" y="34"/>
                    </a:lnTo>
                    <a:lnTo>
                      <a:pt x="11" y="38"/>
                    </a:lnTo>
                    <a:lnTo>
                      <a:pt x="9" y="42"/>
                    </a:lnTo>
                    <a:lnTo>
                      <a:pt x="7" y="46"/>
                    </a:lnTo>
                    <a:lnTo>
                      <a:pt x="7" y="51"/>
                    </a:lnTo>
                    <a:lnTo>
                      <a:pt x="5" y="55"/>
                    </a:lnTo>
                    <a:lnTo>
                      <a:pt x="5" y="61"/>
                    </a:lnTo>
                    <a:lnTo>
                      <a:pt x="4" y="67"/>
                    </a:lnTo>
                    <a:lnTo>
                      <a:pt x="4" y="72"/>
                    </a:lnTo>
                    <a:lnTo>
                      <a:pt x="2" y="78"/>
                    </a:lnTo>
                    <a:lnTo>
                      <a:pt x="0" y="86"/>
                    </a:lnTo>
                    <a:lnTo>
                      <a:pt x="0" y="91"/>
                    </a:lnTo>
                    <a:lnTo>
                      <a:pt x="0" y="99"/>
                    </a:lnTo>
                    <a:lnTo>
                      <a:pt x="0" y="105"/>
                    </a:lnTo>
                    <a:lnTo>
                      <a:pt x="0" y="112"/>
                    </a:lnTo>
                    <a:lnTo>
                      <a:pt x="0" y="120"/>
                    </a:lnTo>
                    <a:lnTo>
                      <a:pt x="0" y="127"/>
                    </a:lnTo>
                    <a:lnTo>
                      <a:pt x="0" y="129"/>
                    </a:lnTo>
                    <a:lnTo>
                      <a:pt x="0" y="135"/>
                    </a:lnTo>
                    <a:lnTo>
                      <a:pt x="0" y="139"/>
                    </a:lnTo>
                    <a:lnTo>
                      <a:pt x="2" y="143"/>
                    </a:lnTo>
                    <a:lnTo>
                      <a:pt x="2" y="146"/>
                    </a:lnTo>
                    <a:lnTo>
                      <a:pt x="4" y="150"/>
                    </a:lnTo>
                    <a:lnTo>
                      <a:pt x="4" y="154"/>
                    </a:lnTo>
                    <a:lnTo>
                      <a:pt x="5" y="160"/>
                    </a:lnTo>
                    <a:lnTo>
                      <a:pt x="5" y="165"/>
                    </a:lnTo>
                    <a:lnTo>
                      <a:pt x="7" y="171"/>
                    </a:lnTo>
                    <a:lnTo>
                      <a:pt x="7" y="179"/>
                    </a:lnTo>
                    <a:lnTo>
                      <a:pt x="11" y="184"/>
                    </a:lnTo>
                    <a:lnTo>
                      <a:pt x="11" y="192"/>
                    </a:lnTo>
                    <a:lnTo>
                      <a:pt x="13" y="198"/>
                    </a:lnTo>
                    <a:lnTo>
                      <a:pt x="15" y="203"/>
                    </a:lnTo>
                    <a:lnTo>
                      <a:pt x="17" y="211"/>
                    </a:lnTo>
                    <a:lnTo>
                      <a:pt x="19" y="217"/>
                    </a:lnTo>
                    <a:lnTo>
                      <a:pt x="21" y="222"/>
                    </a:lnTo>
                    <a:lnTo>
                      <a:pt x="23" y="228"/>
                    </a:lnTo>
                    <a:lnTo>
                      <a:pt x="24" y="234"/>
                    </a:lnTo>
                    <a:lnTo>
                      <a:pt x="26" y="240"/>
                    </a:lnTo>
                    <a:lnTo>
                      <a:pt x="30" y="247"/>
                    </a:lnTo>
                    <a:lnTo>
                      <a:pt x="32" y="253"/>
                    </a:lnTo>
                    <a:lnTo>
                      <a:pt x="34" y="259"/>
                    </a:lnTo>
                    <a:lnTo>
                      <a:pt x="36" y="264"/>
                    </a:lnTo>
                    <a:lnTo>
                      <a:pt x="38" y="270"/>
                    </a:lnTo>
                    <a:lnTo>
                      <a:pt x="40" y="276"/>
                    </a:lnTo>
                    <a:lnTo>
                      <a:pt x="42" y="281"/>
                    </a:lnTo>
                    <a:lnTo>
                      <a:pt x="43" y="287"/>
                    </a:lnTo>
                    <a:lnTo>
                      <a:pt x="47" y="295"/>
                    </a:lnTo>
                    <a:lnTo>
                      <a:pt x="49" y="300"/>
                    </a:lnTo>
                    <a:lnTo>
                      <a:pt x="51" y="306"/>
                    </a:lnTo>
                    <a:lnTo>
                      <a:pt x="51" y="312"/>
                    </a:lnTo>
                    <a:lnTo>
                      <a:pt x="55" y="319"/>
                    </a:lnTo>
                    <a:lnTo>
                      <a:pt x="57" y="325"/>
                    </a:lnTo>
                    <a:lnTo>
                      <a:pt x="59" y="331"/>
                    </a:lnTo>
                    <a:lnTo>
                      <a:pt x="59" y="337"/>
                    </a:lnTo>
                    <a:lnTo>
                      <a:pt x="61" y="344"/>
                    </a:lnTo>
                    <a:lnTo>
                      <a:pt x="62" y="350"/>
                    </a:lnTo>
                    <a:lnTo>
                      <a:pt x="64" y="357"/>
                    </a:lnTo>
                    <a:lnTo>
                      <a:pt x="64" y="350"/>
                    </a:lnTo>
                    <a:lnTo>
                      <a:pt x="64" y="344"/>
                    </a:lnTo>
                    <a:lnTo>
                      <a:pt x="64" y="340"/>
                    </a:lnTo>
                    <a:lnTo>
                      <a:pt x="64" y="337"/>
                    </a:lnTo>
                    <a:lnTo>
                      <a:pt x="64" y="333"/>
                    </a:lnTo>
                    <a:lnTo>
                      <a:pt x="66" y="329"/>
                    </a:lnTo>
                    <a:lnTo>
                      <a:pt x="64" y="325"/>
                    </a:lnTo>
                    <a:lnTo>
                      <a:pt x="64" y="321"/>
                    </a:lnTo>
                    <a:lnTo>
                      <a:pt x="64" y="318"/>
                    </a:lnTo>
                    <a:lnTo>
                      <a:pt x="64" y="312"/>
                    </a:lnTo>
                    <a:lnTo>
                      <a:pt x="64" y="306"/>
                    </a:lnTo>
                    <a:lnTo>
                      <a:pt x="64" y="302"/>
                    </a:lnTo>
                    <a:lnTo>
                      <a:pt x="62" y="297"/>
                    </a:lnTo>
                    <a:lnTo>
                      <a:pt x="62" y="293"/>
                    </a:lnTo>
                    <a:lnTo>
                      <a:pt x="61" y="287"/>
                    </a:lnTo>
                    <a:lnTo>
                      <a:pt x="61" y="281"/>
                    </a:lnTo>
                    <a:lnTo>
                      <a:pt x="61" y="278"/>
                    </a:lnTo>
                    <a:lnTo>
                      <a:pt x="59" y="272"/>
                    </a:lnTo>
                    <a:lnTo>
                      <a:pt x="59" y="266"/>
                    </a:lnTo>
                    <a:lnTo>
                      <a:pt x="57" y="262"/>
                    </a:lnTo>
                    <a:lnTo>
                      <a:pt x="57" y="257"/>
                    </a:lnTo>
                    <a:lnTo>
                      <a:pt x="55" y="251"/>
                    </a:lnTo>
                    <a:lnTo>
                      <a:pt x="55" y="245"/>
                    </a:lnTo>
                    <a:lnTo>
                      <a:pt x="53" y="240"/>
                    </a:lnTo>
                    <a:lnTo>
                      <a:pt x="51" y="236"/>
                    </a:lnTo>
                    <a:lnTo>
                      <a:pt x="51" y="230"/>
                    </a:lnTo>
                    <a:lnTo>
                      <a:pt x="49" y="226"/>
                    </a:lnTo>
                    <a:lnTo>
                      <a:pt x="47" y="221"/>
                    </a:lnTo>
                    <a:lnTo>
                      <a:pt x="47" y="217"/>
                    </a:lnTo>
                    <a:lnTo>
                      <a:pt x="45" y="211"/>
                    </a:lnTo>
                    <a:lnTo>
                      <a:pt x="43" y="205"/>
                    </a:lnTo>
                    <a:lnTo>
                      <a:pt x="42" y="202"/>
                    </a:lnTo>
                    <a:lnTo>
                      <a:pt x="42" y="196"/>
                    </a:lnTo>
                    <a:lnTo>
                      <a:pt x="40" y="190"/>
                    </a:lnTo>
                    <a:lnTo>
                      <a:pt x="38" y="184"/>
                    </a:lnTo>
                    <a:lnTo>
                      <a:pt x="38" y="179"/>
                    </a:lnTo>
                    <a:lnTo>
                      <a:pt x="36" y="171"/>
                    </a:lnTo>
                    <a:lnTo>
                      <a:pt x="36" y="167"/>
                    </a:lnTo>
                    <a:lnTo>
                      <a:pt x="34" y="160"/>
                    </a:lnTo>
                    <a:lnTo>
                      <a:pt x="34" y="152"/>
                    </a:lnTo>
                    <a:lnTo>
                      <a:pt x="34" y="146"/>
                    </a:lnTo>
                    <a:lnTo>
                      <a:pt x="34" y="139"/>
                    </a:lnTo>
                    <a:lnTo>
                      <a:pt x="34" y="131"/>
                    </a:lnTo>
                    <a:lnTo>
                      <a:pt x="34" y="125"/>
                    </a:lnTo>
                    <a:lnTo>
                      <a:pt x="34" y="118"/>
                    </a:lnTo>
                    <a:lnTo>
                      <a:pt x="34" y="112"/>
                    </a:lnTo>
                    <a:lnTo>
                      <a:pt x="34" y="106"/>
                    </a:lnTo>
                    <a:lnTo>
                      <a:pt x="34" y="105"/>
                    </a:lnTo>
                    <a:lnTo>
                      <a:pt x="34" y="99"/>
                    </a:lnTo>
                    <a:lnTo>
                      <a:pt x="36" y="97"/>
                    </a:lnTo>
                    <a:lnTo>
                      <a:pt x="36" y="89"/>
                    </a:lnTo>
                    <a:lnTo>
                      <a:pt x="38" y="82"/>
                    </a:lnTo>
                    <a:lnTo>
                      <a:pt x="40" y="74"/>
                    </a:lnTo>
                    <a:lnTo>
                      <a:pt x="40" y="68"/>
                    </a:lnTo>
                    <a:lnTo>
                      <a:pt x="42" y="61"/>
                    </a:lnTo>
                    <a:lnTo>
                      <a:pt x="43" y="53"/>
                    </a:lnTo>
                    <a:lnTo>
                      <a:pt x="47" y="46"/>
                    </a:lnTo>
                    <a:lnTo>
                      <a:pt x="49" y="38"/>
                    </a:lnTo>
                    <a:lnTo>
                      <a:pt x="51" y="32"/>
                    </a:lnTo>
                    <a:lnTo>
                      <a:pt x="55" y="27"/>
                    </a:lnTo>
                    <a:lnTo>
                      <a:pt x="57" y="19"/>
                    </a:lnTo>
                    <a:lnTo>
                      <a:pt x="61" y="11"/>
                    </a:lnTo>
                    <a:lnTo>
                      <a:pt x="64" y="6"/>
                    </a:lnTo>
                    <a:lnTo>
                      <a:pt x="68" y="0"/>
                    </a:lnTo>
                    <a:lnTo>
                      <a:pt x="23" y="11"/>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30" name="Freeform 73"/>
              <p:cNvSpPr>
                <a:spLocks/>
              </p:cNvSpPr>
              <p:nvPr/>
            </p:nvSpPr>
            <p:spPr bwMode="auto">
              <a:xfrm>
                <a:off x="2901951" y="3268663"/>
                <a:ext cx="104775" cy="160338"/>
              </a:xfrm>
              <a:custGeom>
                <a:avLst/>
                <a:gdLst>
                  <a:gd name="T0" fmla="*/ 2147483646 w 133"/>
                  <a:gd name="T1" fmla="*/ 0 h 201"/>
                  <a:gd name="T2" fmla="*/ 2147483646 w 133"/>
                  <a:gd name="T3" fmla="*/ 2147483646 h 201"/>
                  <a:gd name="T4" fmla="*/ 2147483646 w 133"/>
                  <a:gd name="T5" fmla="*/ 2147483646 h 201"/>
                  <a:gd name="T6" fmla="*/ 2147483646 w 133"/>
                  <a:gd name="T7" fmla="*/ 2147483646 h 201"/>
                  <a:gd name="T8" fmla="*/ 2147483646 w 133"/>
                  <a:gd name="T9" fmla="*/ 2147483646 h 201"/>
                  <a:gd name="T10" fmla="*/ 2147483646 w 133"/>
                  <a:gd name="T11" fmla="*/ 2147483646 h 201"/>
                  <a:gd name="T12" fmla="*/ 2147483646 w 133"/>
                  <a:gd name="T13" fmla="*/ 2147483646 h 201"/>
                  <a:gd name="T14" fmla="*/ 2147483646 w 133"/>
                  <a:gd name="T15" fmla="*/ 2147483646 h 201"/>
                  <a:gd name="T16" fmla="*/ 2147483646 w 133"/>
                  <a:gd name="T17" fmla="*/ 2147483646 h 201"/>
                  <a:gd name="T18" fmla="*/ 2147483646 w 133"/>
                  <a:gd name="T19" fmla="*/ 2147483646 h 201"/>
                  <a:gd name="T20" fmla="*/ 2147483646 w 133"/>
                  <a:gd name="T21" fmla="*/ 2147483646 h 201"/>
                  <a:gd name="T22" fmla="*/ 2147483646 w 133"/>
                  <a:gd name="T23" fmla="*/ 2147483646 h 201"/>
                  <a:gd name="T24" fmla="*/ 2147483646 w 133"/>
                  <a:gd name="T25" fmla="*/ 2147483646 h 201"/>
                  <a:gd name="T26" fmla="*/ 2147483646 w 133"/>
                  <a:gd name="T27" fmla="*/ 2147483646 h 201"/>
                  <a:gd name="T28" fmla="*/ 2147483646 w 133"/>
                  <a:gd name="T29" fmla="*/ 2147483646 h 201"/>
                  <a:gd name="T30" fmla="*/ 2147483646 w 133"/>
                  <a:gd name="T31" fmla="*/ 2147483646 h 201"/>
                  <a:gd name="T32" fmla="*/ 0 w 133"/>
                  <a:gd name="T33" fmla="*/ 2147483646 h 201"/>
                  <a:gd name="T34" fmla="*/ 0 w 133"/>
                  <a:gd name="T35" fmla="*/ 2147483646 h 201"/>
                  <a:gd name="T36" fmla="*/ 0 w 133"/>
                  <a:gd name="T37" fmla="*/ 2147483646 h 201"/>
                  <a:gd name="T38" fmla="*/ 2147483646 w 133"/>
                  <a:gd name="T39" fmla="*/ 2147483646 h 201"/>
                  <a:gd name="T40" fmla="*/ 2147483646 w 133"/>
                  <a:gd name="T41" fmla="*/ 2147483646 h 201"/>
                  <a:gd name="T42" fmla="*/ 2147483646 w 133"/>
                  <a:gd name="T43" fmla="*/ 2147483646 h 201"/>
                  <a:gd name="T44" fmla="*/ 2147483646 w 133"/>
                  <a:gd name="T45" fmla="*/ 2147483646 h 201"/>
                  <a:gd name="T46" fmla="*/ 2147483646 w 133"/>
                  <a:gd name="T47" fmla="*/ 2147483646 h 201"/>
                  <a:gd name="T48" fmla="*/ 2147483646 w 133"/>
                  <a:gd name="T49" fmla="*/ 2147483646 h 201"/>
                  <a:gd name="T50" fmla="*/ 2147483646 w 133"/>
                  <a:gd name="T51" fmla="*/ 2147483646 h 201"/>
                  <a:gd name="T52" fmla="*/ 2147483646 w 133"/>
                  <a:gd name="T53" fmla="*/ 2147483646 h 201"/>
                  <a:gd name="T54" fmla="*/ 2147483646 w 133"/>
                  <a:gd name="T55" fmla="*/ 2147483646 h 201"/>
                  <a:gd name="T56" fmla="*/ 2147483646 w 133"/>
                  <a:gd name="T57" fmla="*/ 2147483646 h 201"/>
                  <a:gd name="T58" fmla="*/ 2147483646 w 133"/>
                  <a:gd name="T59" fmla="*/ 2147483646 h 201"/>
                  <a:gd name="T60" fmla="*/ 2147483646 w 133"/>
                  <a:gd name="T61" fmla="*/ 2147483646 h 201"/>
                  <a:gd name="T62" fmla="*/ 2147483646 w 133"/>
                  <a:gd name="T63" fmla="*/ 2147483646 h 201"/>
                  <a:gd name="T64" fmla="*/ 2147483646 w 133"/>
                  <a:gd name="T65" fmla="*/ 2147483646 h 201"/>
                  <a:gd name="T66" fmla="*/ 2147483646 w 133"/>
                  <a:gd name="T67" fmla="*/ 2147483646 h 201"/>
                  <a:gd name="T68" fmla="*/ 2147483646 w 133"/>
                  <a:gd name="T69" fmla="*/ 2147483646 h 201"/>
                  <a:gd name="T70" fmla="*/ 2147483646 w 133"/>
                  <a:gd name="T71" fmla="*/ 2147483646 h 201"/>
                  <a:gd name="T72" fmla="*/ 2147483646 w 133"/>
                  <a:gd name="T73" fmla="*/ 2147483646 h 201"/>
                  <a:gd name="T74" fmla="*/ 2147483646 w 133"/>
                  <a:gd name="T75" fmla="*/ 2147483646 h 201"/>
                  <a:gd name="T76" fmla="*/ 2147483646 w 133"/>
                  <a:gd name="T77" fmla="*/ 2147483646 h 201"/>
                  <a:gd name="T78" fmla="*/ 2147483646 w 133"/>
                  <a:gd name="T79" fmla="*/ 2147483646 h 201"/>
                  <a:gd name="T80" fmla="*/ 2147483646 w 133"/>
                  <a:gd name="T81" fmla="*/ 2147483646 h 201"/>
                  <a:gd name="T82" fmla="*/ 2147483646 w 133"/>
                  <a:gd name="T83" fmla="*/ 2147483646 h 201"/>
                  <a:gd name="T84" fmla="*/ 2147483646 w 133"/>
                  <a:gd name="T85" fmla="*/ 2147483646 h 201"/>
                  <a:gd name="T86" fmla="*/ 2147483646 w 133"/>
                  <a:gd name="T87" fmla="*/ 2147483646 h 201"/>
                  <a:gd name="T88" fmla="*/ 2147483646 w 133"/>
                  <a:gd name="T89" fmla="*/ 2147483646 h 201"/>
                  <a:gd name="T90" fmla="*/ 2147483646 w 133"/>
                  <a:gd name="T91" fmla="*/ 2147483646 h 201"/>
                  <a:gd name="T92" fmla="*/ 2147483646 w 133"/>
                  <a:gd name="T93" fmla="*/ 2147483646 h 201"/>
                  <a:gd name="T94" fmla="*/ 2147483646 w 133"/>
                  <a:gd name="T95" fmla="*/ 2147483646 h 201"/>
                  <a:gd name="T96" fmla="*/ 2147483646 w 133"/>
                  <a:gd name="T97" fmla="*/ 2147483646 h 201"/>
                  <a:gd name="T98" fmla="*/ 2147483646 w 133"/>
                  <a:gd name="T99" fmla="*/ 2147483646 h 201"/>
                  <a:gd name="T100" fmla="*/ 2147483646 w 133"/>
                  <a:gd name="T101" fmla="*/ 2147483646 h 201"/>
                  <a:gd name="T102" fmla="*/ 2147483646 w 133"/>
                  <a:gd name="T103" fmla="*/ 2147483646 h 201"/>
                  <a:gd name="T104" fmla="*/ 2147483646 w 133"/>
                  <a:gd name="T105" fmla="*/ 2147483646 h 201"/>
                  <a:gd name="T106" fmla="*/ 2147483646 w 133"/>
                  <a:gd name="T107" fmla="*/ 2147483646 h 201"/>
                  <a:gd name="T108" fmla="*/ 2147483646 w 133"/>
                  <a:gd name="T109" fmla="*/ 2147483646 h 201"/>
                  <a:gd name="T110" fmla="*/ 2147483646 w 133"/>
                  <a:gd name="T111" fmla="*/ 2147483646 h 201"/>
                  <a:gd name="T112" fmla="*/ 2147483646 w 133"/>
                  <a:gd name="T113" fmla="*/ 2147483646 h 201"/>
                  <a:gd name="T114" fmla="*/ 2147483646 w 133"/>
                  <a:gd name="T115" fmla="*/ 0 h 2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
                  <a:gd name="T175" fmla="*/ 0 h 201"/>
                  <a:gd name="T176" fmla="*/ 133 w 133"/>
                  <a:gd name="T177" fmla="*/ 201 h 2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 h="201">
                    <a:moveTo>
                      <a:pt x="129" y="0"/>
                    </a:moveTo>
                    <a:lnTo>
                      <a:pt x="129" y="0"/>
                    </a:lnTo>
                    <a:lnTo>
                      <a:pt x="127" y="3"/>
                    </a:lnTo>
                    <a:lnTo>
                      <a:pt x="126" y="5"/>
                    </a:lnTo>
                    <a:lnTo>
                      <a:pt x="124" y="9"/>
                    </a:lnTo>
                    <a:lnTo>
                      <a:pt x="120" y="13"/>
                    </a:lnTo>
                    <a:lnTo>
                      <a:pt x="116" y="17"/>
                    </a:lnTo>
                    <a:lnTo>
                      <a:pt x="112" y="20"/>
                    </a:lnTo>
                    <a:lnTo>
                      <a:pt x="107" y="26"/>
                    </a:lnTo>
                    <a:lnTo>
                      <a:pt x="101" y="30"/>
                    </a:lnTo>
                    <a:lnTo>
                      <a:pt x="93" y="36"/>
                    </a:lnTo>
                    <a:lnTo>
                      <a:pt x="89" y="39"/>
                    </a:lnTo>
                    <a:lnTo>
                      <a:pt x="86" y="43"/>
                    </a:lnTo>
                    <a:lnTo>
                      <a:pt x="80" y="45"/>
                    </a:lnTo>
                    <a:lnTo>
                      <a:pt x="76" y="49"/>
                    </a:lnTo>
                    <a:lnTo>
                      <a:pt x="70" y="51"/>
                    </a:lnTo>
                    <a:lnTo>
                      <a:pt x="65" y="55"/>
                    </a:lnTo>
                    <a:lnTo>
                      <a:pt x="59" y="58"/>
                    </a:lnTo>
                    <a:lnTo>
                      <a:pt x="53" y="62"/>
                    </a:lnTo>
                    <a:lnTo>
                      <a:pt x="46" y="66"/>
                    </a:lnTo>
                    <a:lnTo>
                      <a:pt x="40" y="70"/>
                    </a:lnTo>
                    <a:lnTo>
                      <a:pt x="34" y="74"/>
                    </a:lnTo>
                    <a:lnTo>
                      <a:pt x="31" y="77"/>
                    </a:lnTo>
                    <a:lnTo>
                      <a:pt x="25" y="83"/>
                    </a:lnTo>
                    <a:lnTo>
                      <a:pt x="21" y="87"/>
                    </a:lnTo>
                    <a:lnTo>
                      <a:pt x="17" y="91"/>
                    </a:lnTo>
                    <a:lnTo>
                      <a:pt x="13" y="96"/>
                    </a:lnTo>
                    <a:lnTo>
                      <a:pt x="12" y="100"/>
                    </a:lnTo>
                    <a:lnTo>
                      <a:pt x="8" y="106"/>
                    </a:lnTo>
                    <a:lnTo>
                      <a:pt x="6" y="110"/>
                    </a:lnTo>
                    <a:lnTo>
                      <a:pt x="4" y="115"/>
                    </a:lnTo>
                    <a:lnTo>
                      <a:pt x="2" y="121"/>
                    </a:lnTo>
                    <a:lnTo>
                      <a:pt x="2" y="127"/>
                    </a:lnTo>
                    <a:lnTo>
                      <a:pt x="0" y="131"/>
                    </a:lnTo>
                    <a:lnTo>
                      <a:pt x="0" y="136"/>
                    </a:lnTo>
                    <a:lnTo>
                      <a:pt x="0" y="140"/>
                    </a:lnTo>
                    <a:lnTo>
                      <a:pt x="0" y="146"/>
                    </a:lnTo>
                    <a:lnTo>
                      <a:pt x="0" y="150"/>
                    </a:lnTo>
                    <a:lnTo>
                      <a:pt x="0" y="155"/>
                    </a:lnTo>
                    <a:lnTo>
                      <a:pt x="2" y="159"/>
                    </a:lnTo>
                    <a:lnTo>
                      <a:pt x="2" y="163"/>
                    </a:lnTo>
                    <a:lnTo>
                      <a:pt x="4" y="167"/>
                    </a:lnTo>
                    <a:lnTo>
                      <a:pt x="6" y="172"/>
                    </a:lnTo>
                    <a:lnTo>
                      <a:pt x="10" y="176"/>
                    </a:lnTo>
                    <a:lnTo>
                      <a:pt x="12" y="180"/>
                    </a:lnTo>
                    <a:lnTo>
                      <a:pt x="13" y="184"/>
                    </a:lnTo>
                    <a:lnTo>
                      <a:pt x="17" y="186"/>
                    </a:lnTo>
                    <a:lnTo>
                      <a:pt x="21" y="190"/>
                    </a:lnTo>
                    <a:lnTo>
                      <a:pt x="23" y="192"/>
                    </a:lnTo>
                    <a:lnTo>
                      <a:pt x="29" y="193"/>
                    </a:lnTo>
                    <a:lnTo>
                      <a:pt x="32" y="197"/>
                    </a:lnTo>
                    <a:lnTo>
                      <a:pt x="36" y="197"/>
                    </a:lnTo>
                    <a:lnTo>
                      <a:pt x="40" y="199"/>
                    </a:lnTo>
                    <a:lnTo>
                      <a:pt x="44" y="199"/>
                    </a:lnTo>
                    <a:lnTo>
                      <a:pt x="48" y="201"/>
                    </a:lnTo>
                    <a:lnTo>
                      <a:pt x="55" y="201"/>
                    </a:lnTo>
                    <a:lnTo>
                      <a:pt x="63" y="199"/>
                    </a:lnTo>
                    <a:lnTo>
                      <a:pt x="69" y="197"/>
                    </a:lnTo>
                    <a:lnTo>
                      <a:pt x="72" y="195"/>
                    </a:lnTo>
                    <a:lnTo>
                      <a:pt x="78" y="192"/>
                    </a:lnTo>
                    <a:lnTo>
                      <a:pt x="82" y="190"/>
                    </a:lnTo>
                    <a:lnTo>
                      <a:pt x="86" y="184"/>
                    </a:lnTo>
                    <a:lnTo>
                      <a:pt x="89" y="180"/>
                    </a:lnTo>
                    <a:lnTo>
                      <a:pt x="91" y="176"/>
                    </a:lnTo>
                    <a:lnTo>
                      <a:pt x="93" y="172"/>
                    </a:lnTo>
                    <a:lnTo>
                      <a:pt x="97" y="167"/>
                    </a:lnTo>
                    <a:lnTo>
                      <a:pt x="88" y="153"/>
                    </a:lnTo>
                    <a:lnTo>
                      <a:pt x="86" y="153"/>
                    </a:lnTo>
                    <a:lnTo>
                      <a:pt x="82" y="157"/>
                    </a:lnTo>
                    <a:lnTo>
                      <a:pt x="78" y="161"/>
                    </a:lnTo>
                    <a:lnTo>
                      <a:pt x="70" y="165"/>
                    </a:lnTo>
                    <a:lnTo>
                      <a:pt x="67" y="167"/>
                    </a:lnTo>
                    <a:lnTo>
                      <a:pt x="63" y="169"/>
                    </a:lnTo>
                    <a:lnTo>
                      <a:pt x="59" y="169"/>
                    </a:lnTo>
                    <a:lnTo>
                      <a:pt x="55" y="169"/>
                    </a:lnTo>
                    <a:lnTo>
                      <a:pt x="51" y="169"/>
                    </a:lnTo>
                    <a:lnTo>
                      <a:pt x="48" y="169"/>
                    </a:lnTo>
                    <a:lnTo>
                      <a:pt x="44" y="167"/>
                    </a:lnTo>
                    <a:lnTo>
                      <a:pt x="38" y="165"/>
                    </a:lnTo>
                    <a:lnTo>
                      <a:pt x="34" y="161"/>
                    </a:lnTo>
                    <a:lnTo>
                      <a:pt x="32" y="157"/>
                    </a:lnTo>
                    <a:lnTo>
                      <a:pt x="29" y="152"/>
                    </a:lnTo>
                    <a:lnTo>
                      <a:pt x="29" y="148"/>
                    </a:lnTo>
                    <a:lnTo>
                      <a:pt x="29" y="142"/>
                    </a:lnTo>
                    <a:lnTo>
                      <a:pt x="29" y="138"/>
                    </a:lnTo>
                    <a:lnTo>
                      <a:pt x="31" y="133"/>
                    </a:lnTo>
                    <a:lnTo>
                      <a:pt x="32" y="127"/>
                    </a:lnTo>
                    <a:lnTo>
                      <a:pt x="36" y="121"/>
                    </a:lnTo>
                    <a:lnTo>
                      <a:pt x="38" y="117"/>
                    </a:lnTo>
                    <a:lnTo>
                      <a:pt x="44" y="112"/>
                    </a:lnTo>
                    <a:lnTo>
                      <a:pt x="48" y="106"/>
                    </a:lnTo>
                    <a:lnTo>
                      <a:pt x="51" y="100"/>
                    </a:lnTo>
                    <a:lnTo>
                      <a:pt x="55" y="96"/>
                    </a:lnTo>
                    <a:lnTo>
                      <a:pt x="61" y="93"/>
                    </a:lnTo>
                    <a:lnTo>
                      <a:pt x="67" y="89"/>
                    </a:lnTo>
                    <a:lnTo>
                      <a:pt x="72" y="85"/>
                    </a:lnTo>
                    <a:lnTo>
                      <a:pt x="76" y="81"/>
                    </a:lnTo>
                    <a:lnTo>
                      <a:pt x="80" y="76"/>
                    </a:lnTo>
                    <a:lnTo>
                      <a:pt x="86" y="74"/>
                    </a:lnTo>
                    <a:lnTo>
                      <a:pt x="89" y="70"/>
                    </a:lnTo>
                    <a:lnTo>
                      <a:pt x="93" y="66"/>
                    </a:lnTo>
                    <a:lnTo>
                      <a:pt x="97" y="62"/>
                    </a:lnTo>
                    <a:lnTo>
                      <a:pt x="103" y="60"/>
                    </a:lnTo>
                    <a:lnTo>
                      <a:pt x="108" y="53"/>
                    </a:lnTo>
                    <a:lnTo>
                      <a:pt x="116" y="47"/>
                    </a:lnTo>
                    <a:lnTo>
                      <a:pt x="122" y="41"/>
                    </a:lnTo>
                    <a:lnTo>
                      <a:pt x="127" y="36"/>
                    </a:lnTo>
                    <a:lnTo>
                      <a:pt x="131" y="28"/>
                    </a:lnTo>
                    <a:lnTo>
                      <a:pt x="133" y="20"/>
                    </a:lnTo>
                    <a:lnTo>
                      <a:pt x="133" y="15"/>
                    </a:lnTo>
                    <a:lnTo>
                      <a:pt x="133" y="11"/>
                    </a:lnTo>
                    <a:lnTo>
                      <a:pt x="131" y="5"/>
                    </a:lnTo>
                    <a:lnTo>
                      <a:pt x="131" y="1"/>
                    </a:lnTo>
                    <a:lnTo>
                      <a:pt x="129"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31" name="Freeform 74"/>
              <p:cNvSpPr>
                <a:spLocks/>
              </p:cNvSpPr>
              <p:nvPr/>
            </p:nvSpPr>
            <p:spPr bwMode="auto">
              <a:xfrm>
                <a:off x="2954338" y="3360738"/>
                <a:ext cx="87313" cy="103188"/>
              </a:xfrm>
              <a:custGeom>
                <a:avLst/>
                <a:gdLst>
                  <a:gd name="T0" fmla="*/ 2147483646 w 110"/>
                  <a:gd name="T1" fmla="*/ 2147483646 h 132"/>
                  <a:gd name="T2" fmla="*/ 2147483646 w 110"/>
                  <a:gd name="T3" fmla="*/ 2147483646 h 132"/>
                  <a:gd name="T4" fmla="*/ 2147483646 w 110"/>
                  <a:gd name="T5" fmla="*/ 2147483646 h 132"/>
                  <a:gd name="T6" fmla="*/ 2147483646 w 110"/>
                  <a:gd name="T7" fmla="*/ 2147483646 h 132"/>
                  <a:gd name="T8" fmla="*/ 2147483646 w 110"/>
                  <a:gd name="T9" fmla="*/ 2147483646 h 132"/>
                  <a:gd name="T10" fmla="*/ 2147483646 w 110"/>
                  <a:gd name="T11" fmla="*/ 2147483646 h 132"/>
                  <a:gd name="T12" fmla="*/ 2147483646 w 110"/>
                  <a:gd name="T13" fmla="*/ 2147483646 h 132"/>
                  <a:gd name="T14" fmla="*/ 2147483646 w 110"/>
                  <a:gd name="T15" fmla="*/ 2147483646 h 132"/>
                  <a:gd name="T16" fmla="*/ 2147483646 w 110"/>
                  <a:gd name="T17" fmla="*/ 2147483646 h 132"/>
                  <a:gd name="T18" fmla="*/ 2147483646 w 110"/>
                  <a:gd name="T19" fmla="*/ 2147483646 h 132"/>
                  <a:gd name="T20" fmla="*/ 2147483646 w 110"/>
                  <a:gd name="T21" fmla="*/ 2147483646 h 132"/>
                  <a:gd name="T22" fmla="*/ 2147483646 w 110"/>
                  <a:gd name="T23" fmla="*/ 2147483646 h 132"/>
                  <a:gd name="T24" fmla="*/ 2147483646 w 110"/>
                  <a:gd name="T25" fmla="*/ 2147483646 h 132"/>
                  <a:gd name="T26" fmla="*/ 2147483646 w 110"/>
                  <a:gd name="T27" fmla="*/ 2147483646 h 132"/>
                  <a:gd name="T28" fmla="*/ 2147483646 w 110"/>
                  <a:gd name="T29" fmla="*/ 2147483646 h 132"/>
                  <a:gd name="T30" fmla="*/ 2147483646 w 110"/>
                  <a:gd name="T31" fmla="*/ 2147483646 h 132"/>
                  <a:gd name="T32" fmla="*/ 2147483646 w 110"/>
                  <a:gd name="T33" fmla="*/ 2147483646 h 132"/>
                  <a:gd name="T34" fmla="*/ 2147483646 w 110"/>
                  <a:gd name="T35" fmla="*/ 2147483646 h 132"/>
                  <a:gd name="T36" fmla="*/ 2147483646 w 110"/>
                  <a:gd name="T37" fmla="*/ 2147483646 h 132"/>
                  <a:gd name="T38" fmla="*/ 2147483646 w 110"/>
                  <a:gd name="T39" fmla="*/ 2147483646 h 132"/>
                  <a:gd name="T40" fmla="*/ 2147483646 w 110"/>
                  <a:gd name="T41" fmla="*/ 2147483646 h 132"/>
                  <a:gd name="T42" fmla="*/ 2147483646 w 110"/>
                  <a:gd name="T43" fmla="*/ 2147483646 h 132"/>
                  <a:gd name="T44" fmla="*/ 2147483646 w 110"/>
                  <a:gd name="T45" fmla="*/ 2147483646 h 132"/>
                  <a:gd name="T46" fmla="*/ 2147483646 w 110"/>
                  <a:gd name="T47" fmla="*/ 2147483646 h 132"/>
                  <a:gd name="T48" fmla="*/ 2147483646 w 110"/>
                  <a:gd name="T49" fmla="*/ 2147483646 h 132"/>
                  <a:gd name="T50" fmla="*/ 2147483646 w 110"/>
                  <a:gd name="T51" fmla="*/ 2147483646 h 132"/>
                  <a:gd name="T52" fmla="*/ 2147483646 w 110"/>
                  <a:gd name="T53" fmla="*/ 2147483646 h 132"/>
                  <a:gd name="T54" fmla="*/ 2147483646 w 110"/>
                  <a:gd name="T55" fmla="*/ 2147483646 h 132"/>
                  <a:gd name="T56" fmla="*/ 2147483646 w 110"/>
                  <a:gd name="T57" fmla="*/ 2147483646 h 132"/>
                  <a:gd name="T58" fmla="*/ 2147483646 w 110"/>
                  <a:gd name="T59" fmla="*/ 2147483646 h 132"/>
                  <a:gd name="T60" fmla="*/ 2147483646 w 110"/>
                  <a:gd name="T61" fmla="*/ 2147483646 h 132"/>
                  <a:gd name="T62" fmla="*/ 2147483646 w 110"/>
                  <a:gd name="T63" fmla="*/ 2147483646 h 132"/>
                  <a:gd name="T64" fmla="*/ 2147483646 w 110"/>
                  <a:gd name="T65" fmla="*/ 0 h 132"/>
                  <a:gd name="T66" fmla="*/ 2147483646 w 110"/>
                  <a:gd name="T67" fmla="*/ 0 h 132"/>
                  <a:gd name="T68" fmla="*/ 2147483646 w 110"/>
                  <a:gd name="T69" fmla="*/ 0 h 132"/>
                  <a:gd name="T70" fmla="*/ 2147483646 w 110"/>
                  <a:gd name="T71" fmla="*/ 0 h 132"/>
                  <a:gd name="T72" fmla="*/ 2147483646 w 110"/>
                  <a:gd name="T73" fmla="*/ 0 h 132"/>
                  <a:gd name="T74" fmla="*/ 2147483646 w 110"/>
                  <a:gd name="T75" fmla="*/ 2147483646 h 132"/>
                  <a:gd name="T76" fmla="*/ 0 w 110"/>
                  <a:gd name="T77" fmla="*/ 2147483646 h 1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0"/>
                  <a:gd name="T118" fmla="*/ 0 h 132"/>
                  <a:gd name="T119" fmla="*/ 110 w 110"/>
                  <a:gd name="T120" fmla="*/ 132 h 13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0" h="132">
                    <a:moveTo>
                      <a:pt x="0" y="2"/>
                    </a:moveTo>
                    <a:lnTo>
                      <a:pt x="2" y="2"/>
                    </a:lnTo>
                    <a:lnTo>
                      <a:pt x="5" y="2"/>
                    </a:lnTo>
                    <a:lnTo>
                      <a:pt x="9" y="4"/>
                    </a:lnTo>
                    <a:lnTo>
                      <a:pt x="13" y="4"/>
                    </a:lnTo>
                    <a:lnTo>
                      <a:pt x="21" y="6"/>
                    </a:lnTo>
                    <a:lnTo>
                      <a:pt x="26" y="8"/>
                    </a:lnTo>
                    <a:lnTo>
                      <a:pt x="32" y="12"/>
                    </a:lnTo>
                    <a:lnTo>
                      <a:pt x="40" y="14"/>
                    </a:lnTo>
                    <a:lnTo>
                      <a:pt x="45" y="16"/>
                    </a:lnTo>
                    <a:lnTo>
                      <a:pt x="51" y="19"/>
                    </a:lnTo>
                    <a:lnTo>
                      <a:pt x="59" y="25"/>
                    </a:lnTo>
                    <a:lnTo>
                      <a:pt x="62" y="29"/>
                    </a:lnTo>
                    <a:lnTo>
                      <a:pt x="68" y="35"/>
                    </a:lnTo>
                    <a:lnTo>
                      <a:pt x="72" y="38"/>
                    </a:lnTo>
                    <a:lnTo>
                      <a:pt x="74" y="46"/>
                    </a:lnTo>
                    <a:lnTo>
                      <a:pt x="76" y="52"/>
                    </a:lnTo>
                    <a:lnTo>
                      <a:pt x="76" y="59"/>
                    </a:lnTo>
                    <a:lnTo>
                      <a:pt x="76" y="65"/>
                    </a:lnTo>
                    <a:lnTo>
                      <a:pt x="76" y="71"/>
                    </a:lnTo>
                    <a:lnTo>
                      <a:pt x="76" y="77"/>
                    </a:lnTo>
                    <a:lnTo>
                      <a:pt x="74" y="82"/>
                    </a:lnTo>
                    <a:lnTo>
                      <a:pt x="72" y="86"/>
                    </a:lnTo>
                    <a:lnTo>
                      <a:pt x="70" y="92"/>
                    </a:lnTo>
                    <a:lnTo>
                      <a:pt x="66" y="96"/>
                    </a:lnTo>
                    <a:lnTo>
                      <a:pt x="64" y="99"/>
                    </a:lnTo>
                    <a:lnTo>
                      <a:pt x="60" y="103"/>
                    </a:lnTo>
                    <a:lnTo>
                      <a:pt x="57" y="107"/>
                    </a:lnTo>
                    <a:lnTo>
                      <a:pt x="51" y="111"/>
                    </a:lnTo>
                    <a:lnTo>
                      <a:pt x="47" y="113"/>
                    </a:lnTo>
                    <a:lnTo>
                      <a:pt x="41" y="115"/>
                    </a:lnTo>
                    <a:lnTo>
                      <a:pt x="38" y="118"/>
                    </a:lnTo>
                    <a:lnTo>
                      <a:pt x="64" y="132"/>
                    </a:lnTo>
                    <a:lnTo>
                      <a:pt x="66" y="130"/>
                    </a:lnTo>
                    <a:lnTo>
                      <a:pt x="72" y="126"/>
                    </a:lnTo>
                    <a:lnTo>
                      <a:pt x="76" y="124"/>
                    </a:lnTo>
                    <a:lnTo>
                      <a:pt x="79" y="120"/>
                    </a:lnTo>
                    <a:lnTo>
                      <a:pt x="83" y="116"/>
                    </a:lnTo>
                    <a:lnTo>
                      <a:pt x="89" y="113"/>
                    </a:lnTo>
                    <a:lnTo>
                      <a:pt x="95" y="107"/>
                    </a:lnTo>
                    <a:lnTo>
                      <a:pt x="98" y="101"/>
                    </a:lnTo>
                    <a:lnTo>
                      <a:pt x="102" y="96"/>
                    </a:lnTo>
                    <a:lnTo>
                      <a:pt x="106" y="90"/>
                    </a:lnTo>
                    <a:lnTo>
                      <a:pt x="106" y="82"/>
                    </a:lnTo>
                    <a:lnTo>
                      <a:pt x="108" y="75"/>
                    </a:lnTo>
                    <a:lnTo>
                      <a:pt x="108" y="71"/>
                    </a:lnTo>
                    <a:lnTo>
                      <a:pt x="110" y="67"/>
                    </a:lnTo>
                    <a:lnTo>
                      <a:pt x="110" y="63"/>
                    </a:lnTo>
                    <a:lnTo>
                      <a:pt x="110" y="59"/>
                    </a:lnTo>
                    <a:lnTo>
                      <a:pt x="108" y="52"/>
                    </a:lnTo>
                    <a:lnTo>
                      <a:pt x="106" y="44"/>
                    </a:lnTo>
                    <a:lnTo>
                      <a:pt x="102" y="38"/>
                    </a:lnTo>
                    <a:lnTo>
                      <a:pt x="100" y="33"/>
                    </a:lnTo>
                    <a:lnTo>
                      <a:pt x="97" y="27"/>
                    </a:lnTo>
                    <a:lnTo>
                      <a:pt x="95" y="23"/>
                    </a:lnTo>
                    <a:lnTo>
                      <a:pt x="91" y="19"/>
                    </a:lnTo>
                    <a:lnTo>
                      <a:pt x="87" y="18"/>
                    </a:lnTo>
                    <a:lnTo>
                      <a:pt x="81" y="12"/>
                    </a:lnTo>
                    <a:lnTo>
                      <a:pt x="78" y="10"/>
                    </a:lnTo>
                    <a:lnTo>
                      <a:pt x="74" y="8"/>
                    </a:lnTo>
                    <a:lnTo>
                      <a:pt x="70" y="6"/>
                    </a:lnTo>
                    <a:lnTo>
                      <a:pt x="64" y="4"/>
                    </a:lnTo>
                    <a:lnTo>
                      <a:pt x="59" y="2"/>
                    </a:lnTo>
                    <a:lnTo>
                      <a:pt x="55" y="2"/>
                    </a:lnTo>
                    <a:lnTo>
                      <a:pt x="49" y="2"/>
                    </a:lnTo>
                    <a:lnTo>
                      <a:pt x="45" y="0"/>
                    </a:lnTo>
                    <a:lnTo>
                      <a:pt x="40" y="0"/>
                    </a:lnTo>
                    <a:lnTo>
                      <a:pt x="36" y="0"/>
                    </a:lnTo>
                    <a:lnTo>
                      <a:pt x="30" y="0"/>
                    </a:lnTo>
                    <a:lnTo>
                      <a:pt x="26" y="0"/>
                    </a:lnTo>
                    <a:lnTo>
                      <a:pt x="22" y="0"/>
                    </a:lnTo>
                    <a:lnTo>
                      <a:pt x="19" y="0"/>
                    </a:lnTo>
                    <a:lnTo>
                      <a:pt x="15" y="0"/>
                    </a:lnTo>
                    <a:lnTo>
                      <a:pt x="7" y="0"/>
                    </a:lnTo>
                    <a:lnTo>
                      <a:pt x="3" y="2"/>
                    </a:lnTo>
                    <a:lnTo>
                      <a:pt x="2" y="2"/>
                    </a:lnTo>
                    <a:lnTo>
                      <a:pt x="0" y="2"/>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32" name="Freeform 75"/>
              <p:cNvSpPr>
                <a:spLocks/>
              </p:cNvSpPr>
              <p:nvPr/>
            </p:nvSpPr>
            <p:spPr bwMode="auto">
              <a:xfrm>
                <a:off x="2365376" y="3800476"/>
                <a:ext cx="168275" cy="101600"/>
              </a:xfrm>
              <a:custGeom>
                <a:avLst/>
                <a:gdLst>
                  <a:gd name="T0" fmla="*/ 0 w 211"/>
                  <a:gd name="T1" fmla="*/ 2147483646 h 127"/>
                  <a:gd name="T2" fmla="*/ 2147483646 w 211"/>
                  <a:gd name="T3" fmla="*/ 2147483646 h 127"/>
                  <a:gd name="T4" fmla="*/ 2147483646 w 211"/>
                  <a:gd name="T5" fmla="*/ 2147483646 h 127"/>
                  <a:gd name="T6" fmla="*/ 2147483646 w 211"/>
                  <a:gd name="T7" fmla="*/ 2147483646 h 127"/>
                  <a:gd name="T8" fmla="*/ 2147483646 w 211"/>
                  <a:gd name="T9" fmla="*/ 2147483646 h 127"/>
                  <a:gd name="T10" fmla="*/ 2147483646 w 211"/>
                  <a:gd name="T11" fmla="*/ 2147483646 h 127"/>
                  <a:gd name="T12" fmla="*/ 2147483646 w 211"/>
                  <a:gd name="T13" fmla="*/ 2147483646 h 127"/>
                  <a:gd name="T14" fmla="*/ 2147483646 w 211"/>
                  <a:gd name="T15" fmla="*/ 2147483646 h 127"/>
                  <a:gd name="T16" fmla="*/ 2147483646 w 211"/>
                  <a:gd name="T17" fmla="*/ 2147483646 h 127"/>
                  <a:gd name="T18" fmla="*/ 2147483646 w 211"/>
                  <a:gd name="T19" fmla="*/ 2147483646 h 127"/>
                  <a:gd name="T20" fmla="*/ 2147483646 w 211"/>
                  <a:gd name="T21" fmla="*/ 0 h 127"/>
                  <a:gd name="T22" fmla="*/ 2147483646 w 211"/>
                  <a:gd name="T23" fmla="*/ 0 h 127"/>
                  <a:gd name="T24" fmla="*/ 2147483646 w 211"/>
                  <a:gd name="T25" fmla="*/ 2147483646 h 127"/>
                  <a:gd name="T26" fmla="*/ 2147483646 w 211"/>
                  <a:gd name="T27" fmla="*/ 2147483646 h 127"/>
                  <a:gd name="T28" fmla="*/ 2147483646 w 211"/>
                  <a:gd name="T29" fmla="*/ 2147483646 h 127"/>
                  <a:gd name="T30" fmla="*/ 2147483646 w 211"/>
                  <a:gd name="T31" fmla="*/ 2147483646 h 127"/>
                  <a:gd name="T32" fmla="*/ 2147483646 w 211"/>
                  <a:gd name="T33" fmla="*/ 2147483646 h 127"/>
                  <a:gd name="T34" fmla="*/ 2147483646 w 211"/>
                  <a:gd name="T35" fmla="*/ 2147483646 h 127"/>
                  <a:gd name="T36" fmla="*/ 2147483646 w 211"/>
                  <a:gd name="T37" fmla="*/ 2147483646 h 127"/>
                  <a:gd name="T38" fmla="*/ 2147483646 w 211"/>
                  <a:gd name="T39" fmla="*/ 2147483646 h 127"/>
                  <a:gd name="T40" fmla="*/ 2147483646 w 211"/>
                  <a:gd name="T41" fmla="*/ 2147483646 h 127"/>
                  <a:gd name="T42" fmla="*/ 2147483646 w 211"/>
                  <a:gd name="T43" fmla="*/ 2147483646 h 127"/>
                  <a:gd name="T44" fmla="*/ 2147483646 w 211"/>
                  <a:gd name="T45" fmla="*/ 2147483646 h 127"/>
                  <a:gd name="T46" fmla="*/ 2147483646 w 211"/>
                  <a:gd name="T47" fmla="*/ 2147483646 h 127"/>
                  <a:gd name="T48" fmla="*/ 2147483646 w 211"/>
                  <a:gd name="T49" fmla="*/ 2147483646 h 127"/>
                  <a:gd name="T50" fmla="*/ 2147483646 w 211"/>
                  <a:gd name="T51" fmla="*/ 2147483646 h 127"/>
                  <a:gd name="T52" fmla="*/ 2147483646 w 211"/>
                  <a:gd name="T53" fmla="*/ 2147483646 h 127"/>
                  <a:gd name="T54" fmla="*/ 2147483646 w 211"/>
                  <a:gd name="T55" fmla="*/ 2147483646 h 127"/>
                  <a:gd name="T56" fmla="*/ 2147483646 w 211"/>
                  <a:gd name="T57" fmla="*/ 2147483646 h 127"/>
                  <a:gd name="T58" fmla="*/ 2147483646 w 211"/>
                  <a:gd name="T59" fmla="*/ 2147483646 h 127"/>
                  <a:gd name="T60" fmla="*/ 2147483646 w 211"/>
                  <a:gd name="T61" fmla="*/ 2147483646 h 127"/>
                  <a:gd name="T62" fmla="*/ 2147483646 w 211"/>
                  <a:gd name="T63" fmla="*/ 2147483646 h 127"/>
                  <a:gd name="T64" fmla="*/ 2147483646 w 211"/>
                  <a:gd name="T65" fmla="*/ 2147483646 h 127"/>
                  <a:gd name="T66" fmla="*/ 2147483646 w 211"/>
                  <a:gd name="T67" fmla="*/ 2147483646 h 127"/>
                  <a:gd name="T68" fmla="*/ 2147483646 w 211"/>
                  <a:gd name="T69" fmla="*/ 2147483646 h 127"/>
                  <a:gd name="T70" fmla="*/ 2147483646 w 211"/>
                  <a:gd name="T71" fmla="*/ 2147483646 h 127"/>
                  <a:gd name="T72" fmla="*/ 2147483646 w 211"/>
                  <a:gd name="T73" fmla="*/ 2147483646 h 127"/>
                  <a:gd name="T74" fmla="*/ 2147483646 w 211"/>
                  <a:gd name="T75" fmla="*/ 2147483646 h 127"/>
                  <a:gd name="T76" fmla="*/ 2147483646 w 211"/>
                  <a:gd name="T77" fmla="*/ 2147483646 h 127"/>
                  <a:gd name="T78" fmla="*/ 2147483646 w 211"/>
                  <a:gd name="T79" fmla="*/ 2147483646 h 127"/>
                  <a:gd name="T80" fmla="*/ 2147483646 w 211"/>
                  <a:gd name="T81" fmla="*/ 2147483646 h 127"/>
                  <a:gd name="T82" fmla="*/ 2147483646 w 211"/>
                  <a:gd name="T83" fmla="*/ 2147483646 h 127"/>
                  <a:gd name="T84" fmla="*/ 2147483646 w 211"/>
                  <a:gd name="T85" fmla="*/ 2147483646 h 127"/>
                  <a:gd name="T86" fmla="*/ 2147483646 w 211"/>
                  <a:gd name="T87" fmla="*/ 2147483646 h 127"/>
                  <a:gd name="T88" fmla="*/ 2147483646 w 211"/>
                  <a:gd name="T89" fmla="*/ 2147483646 h 127"/>
                  <a:gd name="T90" fmla="*/ 2147483646 w 211"/>
                  <a:gd name="T91" fmla="*/ 2147483646 h 127"/>
                  <a:gd name="T92" fmla="*/ 2147483646 w 211"/>
                  <a:gd name="T93" fmla="*/ 2147483646 h 127"/>
                  <a:gd name="T94" fmla="*/ 2147483646 w 211"/>
                  <a:gd name="T95" fmla="*/ 2147483646 h 127"/>
                  <a:gd name="T96" fmla="*/ 2147483646 w 211"/>
                  <a:gd name="T97" fmla="*/ 2147483646 h 127"/>
                  <a:gd name="T98" fmla="*/ 2147483646 w 211"/>
                  <a:gd name="T99" fmla="*/ 2147483646 h 127"/>
                  <a:gd name="T100" fmla="*/ 2147483646 w 211"/>
                  <a:gd name="T101" fmla="*/ 2147483646 h 127"/>
                  <a:gd name="T102" fmla="*/ 0 w 211"/>
                  <a:gd name="T103" fmla="*/ 2147483646 h 1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1"/>
                  <a:gd name="T157" fmla="*/ 0 h 127"/>
                  <a:gd name="T158" fmla="*/ 211 w 211"/>
                  <a:gd name="T159" fmla="*/ 127 h 1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1" h="127">
                    <a:moveTo>
                      <a:pt x="0" y="47"/>
                    </a:moveTo>
                    <a:lnTo>
                      <a:pt x="0" y="45"/>
                    </a:lnTo>
                    <a:lnTo>
                      <a:pt x="2" y="43"/>
                    </a:lnTo>
                    <a:lnTo>
                      <a:pt x="5" y="39"/>
                    </a:lnTo>
                    <a:lnTo>
                      <a:pt x="11" y="36"/>
                    </a:lnTo>
                    <a:lnTo>
                      <a:pt x="13" y="34"/>
                    </a:lnTo>
                    <a:lnTo>
                      <a:pt x="17" y="30"/>
                    </a:lnTo>
                    <a:lnTo>
                      <a:pt x="21" y="28"/>
                    </a:lnTo>
                    <a:lnTo>
                      <a:pt x="24" y="26"/>
                    </a:lnTo>
                    <a:lnTo>
                      <a:pt x="28" y="22"/>
                    </a:lnTo>
                    <a:lnTo>
                      <a:pt x="32" y="20"/>
                    </a:lnTo>
                    <a:lnTo>
                      <a:pt x="36" y="17"/>
                    </a:lnTo>
                    <a:lnTo>
                      <a:pt x="41" y="15"/>
                    </a:lnTo>
                    <a:lnTo>
                      <a:pt x="45" y="13"/>
                    </a:lnTo>
                    <a:lnTo>
                      <a:pt x="51" y="9"/>
                    </a:lnTo>
                    <a:lnTo>
                      <a:pt x="57" y="7"/>
                    </a:lnTo>
                    <a:lnTo>
                      <a:pt x="62" y="5"/>
                    </a:lnTo>
                    <a:lnTo>
                      <a:pt x="68" y="3"/>
                    </a:lnTo>
                    <a:lnTo>
                      <a:pt x="76" y="1"/>
                    </a:lnTo>
                    <a:lnTo>
                      <a:pt x="81" y="1"/>
                    </a:lnTo>
                    <a:lnTo>
                      <a:pt x="89" y="1"/>
                    </a:lnTo>
                    <a:lnTo>
                      <a:pt x="95" y="0"/>
                    </a:lnTo>
                    <a:lnTo>
                      <a:pt x="102" y="0"/>
                    </a:lnTo>
                    <a:lnTo>
                      <a:pt x="106" y="0"/>
                    </a:lnTo>
                    <a:lnTo>
                      <a:pt x="110" y="0"/>
                    </a:lnTo>
                    <a:lnTo>
                      <a:pt x="114" y="1"/>
                    </a:lnTo>
                    <a:lnTo>
                      <a:pt x="117" y="1"/>
                    </a:lnTo>
                    <a:lnTo>
                      <a:pt x="123" y="3"/>
                    </a:lnTo>
                    <a:lnTo>
                      <a:pt x="131" y="5"/>
                    </a:lnTo>
                    <a:lnTo>
                      <a:pt x="136" y="5"/>
                    </a:lnTo>
                    <a:lnTo>
                      <a:pt x="140" y="9"/>
                    </a:lnTo>
                    <a:lnTo>
                      <a:pt x="144" y="11"/>
                    </a:lnTo>
                    <a:lnTo>
                      <a:pt x="148" y="13"/>
                    </a:lnTo>
                    <a:lnTo>
                      <a:pt x="152" y="15"/>
                    </a:lnTo>
                    <a:lnTo>
                      <a:pt x="155" y="17"/>
                    </a:lnTo>
                    <a:lnTo>
                      <a:pt x="161" y="19"/>
                    </a:lnTo>
                    <a:lnTo>
                      <a:pt x="165" y="22"/>
                    </a:lnTo>
                    <a:lnTo>
                      <a:pt x="169" y="24"/>
                    </a:lnTo>
                    <a:lnTo>
                      <a:pt x="173" y="28"/>
                    </a:lnTo>
                    <a:lnTo>
                      <a:pt x="174" y="30"/>
                    </a:lnTo>
                    <a:lnTo>
                      <a:pt x="178" y="36"/>
                    </a:lnTo>
                    <a:lnTo>
                      <a:pt x="182" y="38"/>
                    </a:lnTo>
                    <a:lnTo>
                      <a:pt x="184" y="41"/>
                    </a:lnTo>
                    <a:lnTo>
                      <a:pt x="186" y="45"/>
                    </a:lnTo>
                    <a:lnTo>
                      <a:pt x="190" y="51"/>
                    </a:lnTo>
                    <a:lnTo>
                      <a:pt x="192" y="53"/>
                    </a:lnTo>
                    <a:lnTo>
                      <a:pt x="193" y="58"/>
                    </a:lnTo>
                    <a:lnTo>
                      <a:pt x="195" y="62"/>
                    </a:lnTo>
                    <a:lnTo>
                      <a:pt x="197" y="66"/>
                    </a:lnTo>
                    <a:lnTo>
                      <a:pt x="199" y="70"/>
                    </a:lnTo>
                    <a:lnTo>
                      <a:pt x="201" y="74"/>
                    </a:lnTo>
                    <a:lnTo>
                      <a:pt x="201" y="78"/>
                    </a:lnTo>
                    <a:lnTo>
                      <a:pt x="203" y="81"/>
                    </a:lnTo>
                    <a:lnTo>
                      <a:pt x="205" y="87"/>
                    </a:lnTo>
                    <a:lnTo>
                      <a:pt x="207" y="95"/>
                    </a:lnTo>
                    <a:lnTo>
                      <a:pt x="209" y="100"/>
                    </a:lnTo>
                    <a:lnTo>
                      <a:pt x="211" y="106"/>
                    </a:lnTo>
                    <a:lnTo>
                      <a:pt x="211" y="112"/>
                    </a:lnTo>
                    <a:lnTo>
                      <a:pt x="211" y="116"/>
                    </a:lnTo>
                    <a:lnTo>
                      <a:pt x="186" y="127"/>
                    </a:lnTo>
                    <a:lnTo>
                      <a:pt x="186" y="123"/>
                    </a:lnTo>
                    <a:lnTo>
                      <a:pt x="186" y="119"/>
                    </a:lnTo>
                    <a:lnTo>
                      <a:pt x="184" y="116"/>
                    </a:lnTo>
                    <a:lnTo>
                      <a:pt x="182" y="112"/>
                    </a:lnTo>
                    <a:lnTo>
                      <a:pt x="180" y="106"/>
                    </a:lnTo>
                    <a:lnTo>
                      <a:pt x="180" y="102"/>
                    </a:lnTo>
                    <a:lnTo>
                      <a:pt x="176" y="95"/>
                    </a:lnTo>
                    <a:lnTo>
                      <a:pt x="173" y="89"/>
                    </a:lnTo>
                    <a:lnTo>
                      <a:pt x="169" y="81"/>
                    </a:lnTo>
                    <a:lnTo>
                      <a:pt x="165" y="76"/>
                    </a:lnTo>
                    <a:lnTo>
                      <a:pt x="161" y="68"/>
                    </a:lnTo>
                    <a:lnTo>
                      <a:pt x="154" y="62"/>
                    </a:lnTo>
                    <a:lnTo>
                      <a:pt x="152" y="58"/>
                    </a:lnTo>
                    <a:lnTo>
                      <a:pt x="148" y="55"/>
                    </a:lnTo>
                    <a:lnTo>
                      <a:pt x="144" y="51"/>
                    </a:lnTo>
                    <a:lnTo>
                      <a:pt x="140" y="47"/>
                    </a:lnTo>
                    <a:lnTo>
                      <a:pt x="135" y="43"/>
                    </a:lnTo>
                    <a:lnTo>
                      <a:pt x="131" y="39"/>
                    </a:lnTo>
                    <a:lnTo>
                      <a:pt x="125" y="38"/>
                    </a:lnTo>
                    <a:lnTo>
                      <a:pt x="119" y="36"/>
                    </a:lnTo>
                    <a:lnTo>
                      <a:pt x="114" y="34"/>
                    </a:lnTo>
                    <a:lnTo>
                      <a:pt x="110" y="34"/>
                    </a:lnTo>
                    <a:lnTo>
                      <a:pt x="104" y="32"/>
                    </a:lnTo>
                    <a:lnTo>
                      <a:pt x="98" y="32"/>
                    </a:lnTo>
                    <a:lnTo>
                      <a:pt x="93" y="30"/>
                    </a:lnTo>
                    <a:lnTo>
                      <a:pt x="87" y="30"/>
                    </a:lnTo>
                    <a:lnTo>
                      <a:pt x="81" y="30"/>
                    </a:lnTo>
                    <a:lnTo>
                      <a:pt x="76" y="30"/>
                    </a:lnTo>
                    <a:lnTo>
                      <a:pt x="70" y="30"/>
                    </a:lnTo>
                    <a:lnTo>
                      <a:pt x="62" y="30"/>
                    </a:lnTo>
                    <a:lnTo>
                      <a:pt x="59" y="32"/>
                    </a:lnTo>
                    <a:lnTo>
                      <a:pt x="53" y="34"/>
                    </a:lnTo>
                    <a:lnTo>
                      <a:pt x="47" y="34"/>
                    </a:lnTo>
                    <a:lnTo>
                      <a:pt x="41" y="34"/>
                    </a:lnTo>
                    <a:lnTo>
                      <a:pt x="36" y="36"/>
                    </a:lnTo>
                    <a:lnTo>
                      <a:pt x="32" y="36"/>
                    </a:lnTo>
                    <a:lnTo>
                      <a:pt x="26" y="38"/>
                    </a:lnTo>
                    <a:lnTo>
                      <a:pt x="22" y="39"/>
                    </a:lnTo>
                    <a:lnTo>
                      <a:pt x="19" y="39"/>
                    </a:lnTo>
                    <a:lnTo>
                      <a:pt x="15" y="41"/>
                    </a:lnTo>
                    <a:lnTo>
                      <a:pt x="9" y="43"/>
                    </a:lnTo>
                    <a:lnTo>
                      <a:pt x="3" y="45"/>
                    </a:lnTo>
                    <a:lnTo>
                      <a:pt x="2" y="47"/>
                    </a:lnTo>
                    <a:lnTo>
                      <a:pt x="0" y="47"/>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33" name="Freeform 76"/>
              <p:cNvSpPr>
                <a:spLocks/>
              </p:cNvSpPr>
              <p:nvPr/>
            </p:nvSpPr>
            <p:spPr bwMode="auto">
              <a:xfrm>
                <a:off x="2130426" y="3778251"/>
                <a:ext cx="176213" cy="180975"/>
              </a:xfrm>
              <a:custGeom>
                <a:avLst/>
                <a:gdLst>
                  <a:gd name="T0" fmla="*/ 2147483646 w 223"/>
                  <a:gd name="T1" fmla="*/ 2147483646 h 228"/>
                  <a:gd name="T2" fmla="*/ 2147483646 w 223"/>
                  <a:gd name="T3" fmla="*/ 2147483646 h 228"/>
                  <a:gd name="T4" fmla="*/ 2147483646 w 223"/>
                  <a:gd name="T5" fmla="*/ 2147483646 h 228"/>
                  <a:gd name="T6" fmla="*/ 2147483646 w 223"/>
                  <a:gd name="T7" fmla="*/ 2147483646 h 228"/>
                  <a:gd name="T8" fmla="*/ 2147483646 w 223"/>
                  <a:gd name="T9" fmla="*/ 2147483646 h 228"/>
                  <a:gd name="T10" fmla="*/ 2147483646 w 223"/>
                  <a:gd name="T11" fmla="*/ 2147483646 h 228"/>
                  <a:gd name="T12" fmla="*/ 2147483646 w 223"/>
                  <a:gd name="T13" fmla="*/ 2147483646 h 228"/>
                  <a:gd name="T14" fmla="*/ 2147483646 w 223"/>
                  <a:gd name="T15" fmla="*/ 2147483646 h 228"/>
                  <a:gd name="T16" fmla="*/ 2147483646 w 223"/>
                  <a:gd name="T17" fmla="*/ 2147483646 h 228"/>
                  <a:gd name="T18" fmla="*/ 2147483646 w 223"/>
                  <a:gd name="T19" fmla="*/ 2147483646 h 228"/>
                  <a:gd name="T20" fmla="*/ 2147483646 w 223"/>
                  <a:gd name="T21" fmla="*/ 2147483646 h 228"/>
                  <a:gd name="T22" fmla="*/ 2147483646 w 223"/>
                  <a:gd name="T23" fmla="*/ 2147483646 h 228"/>
                  <a:gd name="T24" fmla="*/ 2147483646 w 223"/>
                  <a:gd name="T25" fmla="*/ 2147483646 h 228"/>
                  <a:gd name="T26" fmla="*/ 2147483646 w 223"/>
                  <a:gd name="T27" fmla="*/ 2147483646 h 228"/>
                  <a:gd name="T28" fmla="*/ 2147483646 w 223"/>
                  <a:gd name="T29" fmla="*/ 2147483646 h 228"/>
                  <a:gd name="T30" fmla="*/ 2147483646 w 223"/>
                  <a:gd name="T31" fmla="*/ 2147483646 h 228"/>
                  <a:gd name="T32" fmla="*/ 2147483646 w 223"/>
                  <a:gd name="T33" fmla="*/ 2147483646 h 228"/>
                  <a:gd name="T34" fmla="*/ 2147483646 w 223"/>
                  <a:gd name="T35" fmla="*/ 2147483646 h 228"/>
                  <a:gd name="T36" fmla="*/ 2147483646 w 223"/>
                  <a:gd name="T37" fmla="*/ 2147483646 h 228"/>
                  <a:gd name="T38" fmla="*/ 2147483646 w 223"/>
                  <a:gd name="T39" fmla="*/ 2147483646 h 228"/>
                  <a:gd name="T40" fmla="*/ 2147483646 w 223"/>
                  <a:gd name="T41" fmla="*/ 2147483646 h 228"/>
                  <a:gd name="T42" fmla="*/ 2147483646 w 223"/>
                  <a:gd name="T43" fmla="*/ 2147483646 h 228"/>
                  <a:gd name="T44" fmla="*/ 2147483646 w 223"/>
                  <a:gd name="T45" fmla="*/ 2147483646 h 228"/>
                  <a:gd name="T46" fmla="*/ 2147483646 w 223"/>
                  <a:gd name="T47" fmla="*/ 2147483646 h 228"/>
                  <a:gd name="T48" fmla="*/ 2147483646 w 223"/>
                  <a:gd name="T49" fmla="*/ 2147483646 h 228"/>
                  <a:gd name="T50" fmla="*/ 2147483646 w 223"/>
                  <a:gd name="T51" fmla="*/ 2147483646 h 228"/>
                  <a:gd name="T52" fmla="*/ 0 w 223"/>
                  <a:gd name="T53" fmla="*/ 2147483646 h 228"/>
                  <a:gd name="T54" fmla="*/ 2147483646 w 223"/>
                  <a:gd name="T55" fmla="*/ 2147483646 h 228"/>
                  <a:gd name="T56" fmla="*/ 2147483646 w 223"/>
                  <a:gd name="T57" fmla="*/ 2147483646 h 228"/>
                  <a:gd name="T58" fmla="*/ 2147483646 w 223"/>
                  <a:gd name="T59" fmla="*/ 2147483646 h 228"/>
                  <a:gd name="T60" fmla="*/ 2147483646 w 223"/>
                  <a:gd name="T61" fmla="*/ 2147483646 h 228"/>
                  <a:gd name="T62" fmla="*/ 2147483646 w 223"/>
                  <a:gd name="T63" fmla="*/ 2147483646 h 228"/>
                  <a:gd name="T64" fmla="*/ 2147483646 w 223"/>
                  <a:gd name="T65" fmla="*/ 2147483646 h 228"/>
                  <a:gd name="T66" fmla="*/ 2147483646 w 223"/>
                  <a:gd name="T67" fmla="*/ 2147483646 h 228"/>
                  <a:gd name="T68" fmla="*/ 2147483646 w 223"/>
                  <a:gd name="T69" fmla="*/ 2147483646 h 228"/>
                  <a:gd name="T70" fmla="*/ 2147483646 w 223"/>
                  <a:gd name="T71" fmla="*/ 2147483646 h 228"/>
                  <a:gd name="T72" fmla="*/ 2147483646 w 223"/>
                  <a:gd name="T73" fmla="*/ 2147483646 h 228"/>
                  <a:gd name="T74" fmla="*/ 2147483646 w 223"/>
                  <a:gd name="T75" fmla="*/ 2147483646 h 228"/>
                  <a:gd name="T76" fmla="*/ 2147483646 w 223"/>
                  <a:gd name="T77" fmla="*/ 2147483646 h 228"/>
                  <a:gd name="T78" fmla="*/ 2147483646 w 223"/>
                  <a:gd name="T79" fmla="*/ 2147483646 h 228"/>
                  <a:gd name="T80" fmla="*/ 2147483646 w 223"/>
                  <a:gd name="T81" fmla="*/ 2147483646 h 228"/>
                  <a:gd name="T82" fmla="*/ 2147483646 w 223"/>
                  <a:gd name="T83" fmla="*/ 2147483646 h 228"/>
                  <a:gd name="T84" fmla="*/ 2147483646 w 223"/>
                  <a:gd name="T85" fmla="*/ 2147483646 h 228"/>
                  <a:gd name="T86" fmla="*/ 2147483646 w 223"/>
                  <a:gd name="T87" fmla="*/ 2147483646 h 228"/>
                  <a:gd name="T88" fmla="*/ 2147483646 w 223"/>
                  <a:gd name="T89" fmla="*/ 2147483646 h 228"/>
                  <a:gd name="T90" fmla="*/ 2147483646 w 223"/>
                  <a:gd name="T91" fmla="*/ 2147483646 h 228"/>
                  <a:gd name="T92" fmla="*/ 2147483646 w 223"/>
                  <a:gd name="T93" fmla="*/ 2147483646 h 228"/>
                  <a:gd name="T94" fmla="*/ 2147483646 w 223"/>
                  <a:gd name="T95" fmla="*/ 2147483646 h 228"/>
                  <a:gd name="T96" fmla="*/ 2147483646 w 223"/>
                  <a:gd name="T97" fmla="*/ 2147483646 h 228"/>
                  <a:gd name="T98" fmla="*/ 2147483646 w 223"/>
                  <a:gd name="T99" fmla="*/ 2147483646 h 228"/>
                  <a:gd name="T100" fmla="*/ 2147483646 w 223"/>
                  <a:gd name="T101" fmla="*/ 2147483646 h 228"/>
                  <a:gd name="T102" fmla="*/ 2147483646 w 223"/>
                  <a:gd name="T103" fmla="*/ 2147483646 h 228"/>
                  <a:gd name="T104" fmla="*/ 2147483646 w 223"/>
                  <a:gd name="T105" fmla="*/ 2147483646 h 228"/>
                  <a:gd name="T106" fmla="*/ 2147483646 w 223"/>
                  <a:gd name="T107" fmla="*/ 2147483646 h 228"/>
                  <a:gd name="T108" fmla="*/ 2147483646 w 223"/>
                  <a:gd name="T109" fmla="*/ 2147483646 h 228"/>
                  <a:gd name="T110" fmla="*/ 2147483646 w 223"/>
                  <a:gd name="T111" fmla="*/ 2147483646 h 228"/>
                  <a:gd name="T112" fmla="*/ 2147483646 w 223"/>
                  <a:gd name="T113" fmla="*/ 2147483646 h 228"/>
                  <a:gd name="T114" fmla="*/ 2147483646 w 223"/>
                  <a:gd name="T115" fmla="*/ 2147483646 h 228"/>
                  <a:gd name="T116" fmla="*/ 2147483646 w 223"/>
                  <a:gd name="T117" fmla="*/ 2147483646 h 228"/>
                  <a:gd name="T118" fmla="*/ 2147483646 w 223"/>
                  <a:gd name="T119" fmla="*/ 2147483646 h 228"/>
                  <a:gd name="T120" fmla="*/ 2147483646 w 223"/>
                  <a:gd name="T121" fmla="*/ 2147483646 h 228"/>
                  <a:gd name="T122" fmla="*/ 2147483646 w 223"/>
                  <a:gd name="T123" fmla="*/ 2147483646 h 228"/>
                  <a:gd name="T124" fmla="*/ 2147483646 w 223"/>
                  <a:gd name="T125" fmla="*/ 0 h 2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
                  <a:gd name="T190" fmla="*/ 0 h 228"/>
                  <a:gd name="T191" fmla="*/ 223 w 223"/>
                  <a:gd name="T192" fmla="*/ 228 h 2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 h="228">
                    <a:moveTo>
                      <a:pt x="185" y="0"/>
                    </a:moveTo>
                    <a:lnTo>
                      <a:pt x="186" y="2"/>
                    </a:lnTo>
                    <a:lnTo>
                      <a:pt x="186" y="6"/>
                    </a:lnTo>
                    <a:lnTo>
                      <a:pt x="188" y="10"/>
                    </a:lnTo>
                    <a:lnTo>
                      <a:pt x="190" y="15"/>
                    </a:lnTo>
                    <a:lnTo>
                      <a:pt x="192" y="21"/>
                    </a:lnTo>
                    <a:lnTo>
                      <a:pt x="194" y="23"/>
                    </a:lnTo>
                    <a:lnTo>
                      <a:pt x="194" y="27"/>
                    </a:lnTo>
                    <a:lnTo>
                      <a:pt x="196" y="32"/>
                    </a:lnTo>
                    <a:lnTo>
                      <a:pt x="196" y="36"/>
                    </a:lnTo>
                    <a:lnTo>
                      <a:pt x="196" y="40"/>
                    </a:lnTo>
                    <a:lnTo>
                      <a:pt x="196" y="44"/>
                    </a:lnTo>
                    <a:lnTo>
                      <a:pt x="196" y="48"/>
                    </a:lnTo>
                    <a:lnTo>
                      <a:pt x="196" y="53"/>
                    </a:lnTo>
                    <a:lnTo>
                      <a:pt x="194" y="57"/>
                    </a:lnTo>
                    <a:lnTo>
                      <a:pt x="194" y="63"/>
                    </a:lnTo>
                    <a:lnTo>
                      <a:pt x="192" y="68"/>
                    </a:lnTo>
                    <a:lnTo>
                      <a:pt x="190" y="74"/>
                    </a:lnTo>
                    <a:lnTo>
                      <a:pt x="188" y="80"/>
                    </a:lnTo>
                    <a:lnTo>
                      <a:pt x="186" y="86"/>
                    </a:lnTo>
                    <a:lnTo>
                      <a:pt x="183" y="91"/>
                    </a:lnTo>
                    <a:lnTo>
                      <a:pt x="181" y="97"/>
                    </a:lnTo>
                    <a:lnTo>
                      <a:pt x="175" y="105"/>
                    </a:lnTo>
                    <a:lnTo>
                      <a:pt x="171" y="110"/>
                    </a:lnTo>
                    <a:lnTo>
                      <a:pt x="166" y="116"/>
                    </a:lnTo>
                    <a:lnTo>
                      <a:pt x="162" y="124"/>
                    </a:lnTo>
                    <a:lnTo>
                      <a:pt x="154" y="127"/>
                    </a:lnTo>
                    <a:lnTo>
                      <a:pt x="148" y="135"/>
                    </a:lnTo>
                    <a:lnTo>
                      <a:pt x="141" y="141"/>
                    </a:lnTo>
                    <a:lnTo>
                      <a:pt x="135" y="146"/>
                    </a:lnTo>
                    <a:lnTo>
                      <a:pt x="129" y="152"/>
                    </a:lnTo>
                    <a:lnTo>
                      <a:pt x="122" y="158"/>
                    </a:lnTo>
                    <a:lnTo>
                      <a:pt x="114" y="164"/>
                    </a:lnTo>
                    <a:lnTo>
                      <a:pt x="109" y="167"/>
                    </a:lnTo>
                    <a:lnTo>
                      <a:pt x="101" y="173"/>
                    </a:lnTo>
                    <a:lnTo>
                      <a:pt x="95" y="177"/>
                    </a:lnTo>
                    <a:lnTo>
                      <a:pt x="88" y="181"/>
                    </a:lnTo>
                    <a:lnTo>
                      <a:pt x="82" y="186"/>
                    </a:lnTo>
                    <a:lnTo>
                      <a:pt x="74" y="190"/>
                    </a:lnTo>
                    <a:lnTo>
                      <a:pt x="69" y="194"/>
                    </a:lnTo>
                    <a:lnTo>
                      <a:pt x="63" y="198"/>
                    </a:lnTo>
                    <a:lnTo>
                      <a:pt x="55" y="202"/>
                    </a:lnTo>
                    <a:lnTo>
                      <a:pt x="50" y="203"/>
                    </a:lnTo>
                    <a:lnTo>
                      <a:pt x="44" y="207"/>
                    </a:lnTo>
                    <a:lnTo>
                      <a:pt x="38" y="209"/>
                    </a:lnTo>
                    <a:lnTo>
                      <a:pt x="33" y="213"/>
                    </a:lnTo>
                    <a:lnTo>
                      <a:pt x="27" y="215"/>
                    </a:lnTo>
                    <a:lnTo>
                      <a:pt x="23" y="217"/>
                    </a:lnTo>
                    <a:lnTo>
                      <a:pt x="19" y="219"/>
                    </a:lnTo>
                    <a:lnTo>
                      <a:pt x="15" y="221"/>
                    </a:lnTo>
                    <a:lnTo>
                      <a:pt x="8" y="222"/>
                    </a:lnTo>
                    <a:lnTo>
                      <a:pt x="4" y="226"/>
                    </a:lnTo>
                    <a:lnTo>
                      <a:pt x="0" y="226"/>
                    </a:lnTo>
                    <a:lnTo>
                      <a:pt x="0" y="228"/>
                    </a:lnTo>
                    <a:lnTo>
                      <a:pt x="0" y="226"/>
                    </a:lnTo>
                    <a:lnTo>
                      <a:pt x="4" y="226"/>
                    </a:lnTo>
                    <a:lnTo>
                      <a:pt x="6" y="224"/>
                    </a:lnTo>
                    <a:lnTo>
                      <a:pt x="10" y="224"/>
                    </a:lnTo>
                    <a:lnTo>
                      <a:pt x="14" y="222"/>
                    </a:lnTo>
                    <a:lnTo>
                      <a:pt x="19" y="222"/>
                    </a:lnTo>
                    <a:lnTo>
                      <a:pt x="23" y="221"/>
                    </a:lnTo>
                    <a:lnTo>
                      <a:pt x="29" y="219"/>
                    </a:lnTo>
                    <a:lnTo>
                      <a:pt x="34" y="217"/>
                    </a:lnTo>
                    <a:lnTo>
                      <a:pt x="40" y="215"/>
                    </a:lnTo>
                    <a:lnTo>
                      <a:pt x="48" y="213"/>
                    </a:lnTo>
                    <a:lnTo>
                      <a:pt x="53" y="211"/>
                    </a:lnTo>
                    <a:lnTo>
                      <a:pt x="57" y="209"/>
                    </a:lnTo>
                    <a:lnTo>
                      <a:pt x="61" y="209"/>
                    </a:lnTo>
                    <a:lnTo>
                      <a:pt x="65" y="207"/>
                    </a:lnTo>
                    <a:lnTo>
                      <a:pt x="69" y="207"/>
                    </a:lnTo>
                    <a:lnTo>
                      <a:pt x="76" y="203"/>
                    </a:lnTo>
                    <a:lnTo>
                      <a:pt x="84" y="202"/>
                    </a:lnTo>
                    <a:lnTo>
                      <a:pt x="88" y="200"/>
                    </a:lnTo>
                    <a:lnTo>
                      <a:pt x="90" y="198"/>
                    </a:lnTo>
                    <a:lnTo>
                      <a:pt x="95" y="198"/>
                    </a:lnTo>
                    <a:lnTo>
                      <a:pt x="99" y="196"/>
                    </a:lnTo>
                    <a:lnTo>
                      <a:pt x="105" y="192"/>
                    </a:lnTo>
                    <a:lnTo>
                      <a:pt x="112" y="188"/>
                    </a:lnTo>
                    <a:lnTo>
                      <a:pt x="116" y="186"/>
                    </a:lnTo>
                    <a:lnTo>
                      <a:pt x="120" y="184"/>
                    </a:lnTo>
                    <a:lnTo>
                      <a:pt x="124" y="184"/>
                    </a:lnTo>
                    <a:lnTo>
                      <a:pt x="129" y="183"/>
                    </a:lnTo>
                    <a:lnTo>
                      <a:pt x="135" y="179"/>
                    </a:lnTo>
                    <a:lnTo>
                      <a:pt x="143" y="175"/>
                    </a:lnTo>
                    <a:lnTo>
                      <a:pt x="150" y="171"/>
                    </a:lnTo>
                    <a:lnTo>
                      <a:pt x="158" y="167"/>
                    </a:lnTo>
                    <a:lnTo>
                      <a:pt x="164" y="164"/>
                    </a:lnTo>
                    <a:lnTo>
                      <a:pt x="171" y="158"/>
                    </a:lnTo>
                    <a:lnTo>
                      <a:pt x="177" y="154"/>
                    </a:lnTo>
                    <a:lnTo>
                      <a:pt x="183" y="150"/>
                    </a:lnTo>
                    <a:lnTo>
                      <a:pt x="186" y="145"/>
                    </a:lnTo>
                    <a:lnTo>
                      <a:pt x="192" y="141"/>
                    </a:lnTo>
                    <a:lnTo>
                      <a:pt x="196" y="135"/>
                    </a:lnTo>
                    <a:lnTo>
                      <a:pt x="200" y="131"/>
                    </a:lnTo>
                    <a:lnTo>
                      <a:pt x="202" y="127"/>
                    </a:lnTo>
                    <a:lnTo>
                      <a:pt x="205" y="124"/>
                    </a:lnTo>
                    <a:lnTo>
                      <a:pt x="209" y="118"/>
                    </a:lnTo>
                    <a:lnTo>
                      <a:pt x="213" y="114"/>
                    </a:lnTo>
                    <a:lnTo>
                      <a:pt x="215" y="110"/>
                    </a:lnTo>
                    <a:lnTo>
                      <a:pt x="217" y="107"/>
                    </a:lnTo>
                    <a:lnTo>
                      <a:pt x="217" y="103"/>
                    </a:lnTo>
                    <a:lnTo>
                      <a:pt x="219" y="99"/>
                    </a:lnTo>
                    <a:lnTo>
                      <a:pt x="221" y="93"/>
                    </a:lnTo>
                    <a:lnTo>
                      <a:pt x="221" y="89"/>
                    </a:lnTo>
                    <a:lnTo>
                      <a:pt x="223" y="87"/>
                    </a:lnTo>
                    <a:lnTo>
                      <a:pt x="223" y="84"/>
                    </a:lnTo>
                    <a:lnTo>
                      <a:pt x="223" y="80"/>
                    </a:lnTo>
                    <a:lnTo>
                      <a:pt x="223" y="74"/>
                    </a:lnTo>
                    <a:lnTo>
                      <a:pt x="223" y="72"/>
                    </a:lnTo>
                    <a:lnTo>
                      <a:pt x="223" y="68"/>
                    </a:lnTo>
                    <a:lnTo>
                      <a:pt x="223" y="61"/>
                    </a:lnTo>
                    <a:lnTo>
                      <a:pt x="223" y="55"/>
                    </a:lnTo>
                    <a:lnTo>
                      <a:pt x="219" y="49"/>
                    </a:lnTo>
                    <a:lnTo>
                      <a:pt x="219" y="44"/>
                    </a:lnTo>
                    <a:lnTo>
                      <a:pt x="217" y="40"/>
                    </a:lnTo>
                    <a:lnTo>
                      <a:pt x="215" y="36"/>
                    </a:lnTo>
                    <a:lnTo>
                      <a:pt x="213" y="32"/>
                    </a:lnTo>
                    <a:lnTo>
                      <a:pt x="209" y="29"/>
                    </a:lnTo>
                    <a:lnTo>
                      <a:pt x="207" y="25"/>
                    </a:lnTo>
                    <a:lnTo>
                      <a:pt x="205" y="23"/>
                    </a:lnTo>
                    <a:lnTo>
                      <a:pt x="200" y="15"/>
                    </a:lnTo>
                    <a:lnTo>
                      <a:pt x="196" y="11"/>
                    </a:lnTo>
                    <a:lnTo>
                      <a:pt x="190" y="6"/>
                    </a:lnTo>
                    <a:lnTo>
                      <a:pt x="186" y="2"/>
                    </a:lnTo>
                    <a:lnTo>
                      <a:pt x="185"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34" name="Freeform 77"/>
              <p:cNvSpPr>
                <a:spLocks/>
              </p:cNvSpPr>
              <p:nvPr/>
            </p:nvSpPr>
            <p:spPr bwMode="auto">
              <a:xfrm>
                <a:off x="1982788" y="3735388"/>
                <a:ext cx="76200" cy="298450"/>
              </a:xfrm>
              <a:custGeom>
                <a:avLst/>
                <a:gdLst>
                  <a:gd name="T0" fmla="*/ 2147483646 w 97"/>
                  <a:gd name="T1" fmla="*/ 2147483646 h 374"/>
                  <a:gd name="T2" fmla="*/ 2147483646 w 97"/>
                  <a:gd name="T3" fmla="*/ 2147483646 h 374"/>
                  <a:gd name="T4" fmla="*/ 2147483646 w 97"/>
                  <a:gd name="T5" fmla="*/ 2147483646 h 374"/>
                  <a:gd name="T6" fmla="*/ 2147483646 w 97"/>
                  <a:gd name="T7" fmla="*/ 2147483646 h 374"/>
                  <a:gd name="T8" fmla="*/ 2147483646 w 97"/>
                  <a:gd name="T9" fmla="*/ 2147483646 h 374"/>
                  <a:gd name="T10" fmla="*/ 2147483646 w 97"/>
                  <a:gd name="T11" fmla="*/ 2147483646 h 374"/>
                  <a:gd name="T12" fmla="*/ 2147483646 w 97"/>
                  <a:gd name="T13" fmla="*/ 2147483646 h 374"/>
                  <a:gd name="T14" fmla="*/ 2147483646 w 97"/>
                  <a:gd name="T15" fmla="*/ 2147483646 h 374"/>
                  <a:gd name="T16" fmla="*/ 2147483646 w 97"/>
                  <a:gd name="T17" fmla="*/ 2147483646 h 374"/>
                  <a:gd name="T18" fmla="*/ 2147483646 w 97"/>
                  <a:gd name="T19" fmla="*/ 2147483646 h 374"/>
                  <a:gd name="T20" fmla="*/ 2147483646 w 97"/>
                  <a:gd name="T21" fmla="*/ 2147483646 h 374"/>
                  <a:gd name="T22" fmla="*/ 2147483646 w 97"/>
                  <a:gd name="T23" fmla="*/ 2147483646 h 374"/>
                  <a:gd name="T24" fmla="*/ 2147483646 w 97"/>
                  <a:gd name="T25" fmla="*/ 2147483646 h 374"/>
                  <a:gd name="T26" fmla="*/ 0 w 97"/>
                  <a:gd name="T27" fmla="*/ 2147483646 h 374"/>
                  <a:gd name="T28" fmla="*/ 0 w 97"/>
                  <a:gd name="T29" fmla="*/ 2147483646 h 374"/>
                  <a:gd name="T30" fmla="*/ 0 w 97"/>
                  <a:gd name="T31" fmla="*/ 2147483646 h 374"/>
                  <a:gd name="T32" fmla="*/ 0 w 97"/>
                  <a:gd name="T33" fmla="*/ 2147483646 h 374"/>
                  <a:gd name="T34" fmla="*/ 0 w 97"/>
                  <a:gd name="T35" fmla="*/ 2147483646 h 374"/>
                  <a:gd name="T36" fmla="*/ 0 w 97"/>
                  <a:gd name="T37" fmla="*/ 2147483646 h 374"/>
                  <a:gd name="T38" fmla="*/ 0 w 97"/>
                  <a:gd name="T39" fmla="*/ 2147483646 h 374"/>
                  <a:gd name="T40" fmla="*/ 2147483646 w 97"/>
                  <a:gd name="T41" fmla="*/ 2147483646 h 374"/>
                  <a:gd name="T42" fmla="*/ 2147483646 w 97"/>
                  <a:gd name="T43" fmla="*/ 2147483646 h 374"/>
                  <a:gd name="T44" fmla="*/ 2147483646 w 97"/>
                  <a:gd name="T45" fmla="*/ 2147483646 h 374"/>
                  <a:gd name="T46" fmla="*/ 2147483646 w 97"/>
                  <a:gd name="T47" fmla="*/ 2147483646 h 374"/>
                  <a:gd name="T48" fmla="*/ 2147483646 w 97"/>
                  <a:gd name="T49" fmla="*/ 2147483646 h 374"/>
                  <a:gd name="T50" fmla="*/ 2147483646 w 97"/>
                  <a:gd name="T51" fmla="*/ 2147483646 h 374"/>
                  <a:gd name="T52" fmla="*/ 2147483646 w 97"/>
                  <a:gd name="T53" fmla="*/ 2147483646 h 374"/>
                  <a:gd name="T54" fmla="*/ 2147483646 w 97"/>
                  <a:gd name="T55" fmla="*/ 2147483646 h 374"/>
                  <a:gd name="T56" fmla="*/ 2147483646 w 97"/>
                  <a:gd name="T57" fmla="*/ 2147483646 h 374"/>
                  <a:gd name="T58" fmla="*/ 2147483646 w 97"/>
                  <a:gd name="T59" fmla="*/ 2147483646 h 374"/>
                  <a:gd name="T60" fmla="*/ 2147483646 w 97"/>
                  <a:gd name="T61" fmla="*/ 2147483646 h 374"/>
                  <a:gd name="T62" fmla="*/ 2147483646 w 97"/>
                  <a:gd name="T63" fmla="*/ 2147483646 h 374"/>
                  <a:gd name="T64" fmla="*/ 2147483646 w 97"/>
                  <a:gd name="T65" fmla="*/ 2147483646 h 374"/>
                  <a:gd name="T66" fmla="*/ 2147483646 w 97"/>
                  <a:gd name="T67" fmla="*/ 2147483646 h 374"/>
                  <a:gd name="T68" fmla="*/ 2147483646 w 97"/>
                  <a:gd name="T69" fmla="*/ 2147483646 h 374"/>
                  <a:gd name="T70" fmla="*/ 2147483646 w 97"/>
                  <a:gd name="T71" fmla="*/ 2147483646 h 374"/>
                  <a:gd name="T72" fmla="*/ 2147483646 w 97"/>
                  <a:gd name="T73" fmla="*/ 2147483646 h 374"/>
                  <a:gd name="T74" fmla="*/ 2147483646 w 97"/>
                  <a:gd name="T75" fmla="*/ 2147483646 h 374"/>
                  <a:gd name="T76" fmla="*/ 2147483646 w 97"/>
                  <a:gd name="T77" fmla="*/ 2147483646 h 374"/>
                  <a:gd name="T78" fmla="*/ 2147483646 w 97"/>
                  <a:gd name="T79" fmla="*/ 2147483646 h 374"/>
                  <a:gd name="T80" fmla="*/ 2147483646 w 97"/>
                  <a:gd name="T81" fmla="*/ 2147483646 h 374"/>
                  <a:gd name="T82" fmla="*/ 2147483646 w 97"/>
                  <a:gd name="T83" fmla="*/ 2147483646 h 374"/>
                  <a:gd name="T84" fmla="*/ 2147483646 w 97"/>
                  <a:gd name="T85" fmla="*/ 2147483646 h 374"/>
                  <a:gd name="T86" fmla="*/ 2147483646 w 97"/>
                  <a:gd name="T87" fmla="*/ 2147483646 h 374"/>
                  <a:gd name="T88" fmla="*/ 2147483646 w 97"/>
                  <a:gd name="T89" fmla="*/ 2147483646 h 374"/>
                  <a:gd name="T90" fmla="*/ 2147483646 w 97"/>
                  <a:gd name="T91" fmla="*/ 2147483646 h 374"/>
                  <a:gd name="T92" fmla="*/ 2147483646 w 97"/>
                  <a:gd name="T93" fmla="*/ 2147483646 h 374"/>
                  <a:gd name="T94" fmla="*/ 2147483646 w 97"/>
                  <a:gd name="T95" fmla="*/ 2147483646 h 374"/>
                  <a:gd name="T96" fmla="*/ 2147483646 w 97"/>
                  <a:gd name="T97" fmla="*/ 2147483646 h 374"/>
                  <a:gd name="T98" fmla="*/ 2147483646 w 97"/>
                  <a:gd name="T99" fmla="*/ 2147483646 h 374"/>
                  <a:gd name="T100" fmla="*/ 2147483646 w 97"/>
                  <a:gd name="T101" fmla="*/ 2147483646 h 374"/>
                  <a:gd name="T102" fmla="*/ 2147483646 w 97"/>
                  <a:gd name="T103" fmla="*/ 2147483646 h 374"/>
                  <a:gd name="T104" fmla="*/ 2147483646 w 97"/>
                  <a:gd name="T105" fmla="*/ 2147483646 h 3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7"/>
                  <a:gd name="T160" fmla="*/ 0 h 374"/>
                  <a:gd name="T161" fmla="*/ 97 w 97"/>
                  <a:gd name="T162" fmla="*/ 374 h 37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7" h="374">
                    <a:moveTo>
                      <a:pt x="68" y="0"/>
                    </a:moveTo>
                    <a:lnTo>
                      <a:pt x="67" y="0"/>
                    </a:lnTo>
                    <a:lnTo>
                      <a:pt x="65" y="2"/>
                    </a:lnTo>
                    <a:lnTo>
                      <a:pt x="63" y="6"/>
                    </a:lnTo>
                    <a:lnTo>
                      <a:pt x="61" y="11"/>
                    </a:lnTo>
                    <a:lnTo>
                      <a:pt x="57" y="15"/>
                    </a:lnTo>
                    <a:lnTo>
                      <a:pt x="55" y="19"/>
                    </a:lnTo>
                    <a:lnTo>
                      <a:pt x="53" y="23"/>
                    </a:lnTo>
                    <a:lnTo>
                      <a:pt x="51" y="26"/>
                    </a:lnTo>
                    <a:lnTo>
                      <a:pt x="48" y="30"/>
                    </a:lnTo>
                    <a:lnTo>
                      <a:pt x="46" y="36"/>
                    </a:lnTo>
                    <a:lnTo>
                      <a:pt x="44" y="40"/>
                    </a:lnTo>
                    <a:lnTo>
                      <a:pt x="42" y="47"/>
                    </a:lnTo>
                    <a:lnTo>
                      <a:pt x="38" y="51"/>
                    </a:lnTo>
                    <a:lnTo>
                      <a:pt x="36" y="59"/>
                    </a:lnTo>
                    <a:lnTo>
                      <a:pt x="32" y="64"/>
                    </a:lnTo>
                    <a:lnTo>
                      <a:pt x="30" y="70"/>
                    </a:lnTo>
                    <a:lnTo>
                      <a:pt x="29" y="76"/>
                    </a:lnTo>
                    <a:lnTo>
                      <a:pt x="25" y="83"/>
                    </a:lnTo>
                    <a:lnTo>
                      <a:pt x="23" y="91"/>
                    </a:lnTo>
                    <a:lnTo>
                      <a:pt x="21" y="99"/>
                    </a:lnTo>
                    <a:lnTo>
                      <a:pt x="17" y="104"/>
                    </a:lnTo>
                    <a:lnTo>
                      <a:pt x="15" y="112"/>
                    </a:lnTo>
                    <a:lnTo>
                      <a:pt x="13" y="116"/>
                    </a:lnTo>
                    <a:lnTo>
                      <a:pt x="13" y="120"/>
                    </a:lnTo>
                    <a:lnTo>
                      <a:pt x="11" y="123"/>
                    </a:lnTo>
                    <a:lnTo>
                      <a:pt x="11" y="127"/>
                    </a:lnTo>
                    <a:lnTo>
                      <a:pt x="10" y="131"/>
                    </a:lnTo>
                    <a:lnTo>
                      <a:pt x="10" y="135"/>
                    </a:lnTo>
                    <a:lnTo>
                      <a:pt x="8" y="140"/>
                    </a:lnTo>
                    <a:lnTo>
                      <a:pt x="8" y="144"/>
                    </a:lnTo>
                    <a:lnTo>
                      <a:pt x="6" y="148"/>
                    </a:lnTo>
                    <a:lnTo>
                      <a:pt x="6" y="152"/>
                    </a:lnTo>
                    <a:lnTo>
                      <a:pt x="6" y="156"/>
                    </a:lnTo>
                    <a:lnTo>
                      <a:pt x="6" y="160"/>
                    </a:lnTo>
                    <a:lnTo>
                      <a:pt x="4" y="163"/>
                    </a:lnTo>
                    <a:lnTo>
                      <a:pt x="4" y="167"/>
                    </a:lnTo>
                    <a:lnTo>
                      <a:pt x="2" y="171"/>
                    </a:lnTo>
                    <a:lnTo>
                      <a:pt x="2" y="177"/>
                    </a:lnTo>
                    <a:lnTo>
                      <a:pt x="2" y="180"/>
                    </a:lnTo>
                    <a:lnTo>
                      <a:pt x="2" y="184"/>
                    </a:lnTo>
                    <a:lnTo>
                      <a:pt x="0" y="188"/>
                    </a:lnTo>
                    <a:lnTo>
                      <a:pt x="0" y="194"/>
                    </a:lnTo>
                    <a:lnTo>
                      <a:pt x="0" y="198"/>
                    </a:lnTo>
                    <a:lnTo>
                      <a:pt x="0" y="201"/>
                    </a:lnTo>
                    <a:lnTo>
                      <a:pt x="0" y="205"/>
                    </a:lnTo>
                    <a:lnTo>
                      <a:pt x="0" y="211"/>
                    </a:lnTo>
                    <a:lnTo>
                      <a:pt x="0" y="215"/>
                    </a:lnTo>
                    <a:lnTo>
                      <a:pt x="0" y="220"/>
                    </a:lnTo>
                    <a:lnTo>
                      <a:pt x="0" y="224"/>
                    </a:lnTo>
                    <a:lnTo>
                      <a:pt x="0" y="230"/>
                    </a:lnTo>
                    <a:lnTo>
                      <a:pt x="0" y="234"/>
                    </a:lnTo>
                    <a:lnTo>
                      <a:pt x="0" y="237"/>
                    </a:lnTo>
                    <a:lnTo>
                      <a:pt x="0" y="243"/>
                    </a:lnTo>
                    <a:lnTo>
                      <a:pt x="0" y="247"/>
                    </a:lnTo>
                    <a:lnTo>
                      <a:pt x="0" y="251"/>
                    </a:lnTo>
                    <a:lnTo>
                      <a:pt x="0" y="255"/>
                    </a:lnTo>
                    <a:lnTo>
                      <a:pt x="0" y="260"/>
                    </a:lnTo>
                    <a:lnTo>
                      <a:pt x="0" y="266"/>
                    </a:lnTo>
                    <a:lnTo>
                      <a:pt x="0" y="270"/>
                    </a:lnTo>
                    <a:lnTo>
                      <a:pt x="2" y="274"/>
                    </a:lnTo>
                    <a:lnTo>
                      <a:pt x="2" y="277"/>
                    </a:lnTo>
                    <a:lnTo>
                      <a:pt x="2" y="283"/>
                    </a:lnTo>
                    <a:lnTo>
                      <a:pt x="2" y="287"/>
                    </a:lnTo>
                    <a:lnTo>
                      <a:pt x="2" y="291"/>
                    </a:lnTo>
                    <a:lnTo>
                      <a:pt x="4" y="294"/>
                    </a:lnTo>
                    <a:lnTo>
                      <a:pt x="4" y="300"/>
                    </a:lnTo>
                    <a:lnTo>
                      <a:pt x="4" y="302"/>
                    </a:lnTo>
                    <a:lnTo>
                      <a:pt x="4" y="308"/>
                    </a:lnTo>
                    <a:lnTo>
                      <a:pt x="4" y="310"/>
                    </a:lnTo>
                    <a:lnTo>
                      <a:pt x="6" y="315"/>
                    </a:lnTo>
                    <a:lnTo>
                      <a:pt x="6" y="321"/>
                    </a:lnTo>
                    <a:lnTo>
                      <a:pt x="8" y="329"/>
                    </a:lnTo>
                    <a:lnTo>
                      <a:pt x="8" y="334"/>
                    </a:lnTo>
                    <a:lnTo>
                      <a:pt x="10" y="342"/>
                    </a:lnTo>
                    <a:lnTo>
                      <a:pt x="10" y="346"/>
                    </a:lnTo>
                    <a:lnTo>
                      <a:pt x="11" y="353"/>
                    </a:lnTo>
                    <a:lnTo>
                      <a:pt x="11" y="357"/>
                    </a:lnTo>
                    <a:lnTo>
                      <a:pt x="11" y="361"/>
                    </a:lnTo>
                    <a:lnTo>
                      <a:pt x="11" y="365"/>
                    </a:lnTo>
                    <a:lnTo>
                      <a:pt x="13" y="369"/>
                    </a:lnTo>
                    <a:lnTo>
                      <a:pt x="13" y="372"/>
                    </a:lnTo>
                    <a:lnTo>
                      <a:pt x="15" y="374"/>
                    </a:lnTo>
                    <a:lnTo>
                      <a:pt x="15" y="372"/>
                    </a:lnTo>
                    <a:lnTo>
                      <a:pt x="15" y="367"/>
                    </a:lnTo>
                    <a:lnTo>
                      <a:pt x="15" y="363"/>
                    </a:lnTo>
                    <a:lnTo>
                      <a:pt x="15" y="359"/>
                    </a:lnTo>
                    <a:lnTo>
                      <a:pt x="15" y="353"/>
                    </a:lnTo>
                    <a:lnTo>
                      <a:pt x="15" y="348"/>
                    </a:lnTo>
                    <a:lnTo>
                      <a:pt x="15" y="342"/>
                    </a:lnTo>
                    <a:lnTo>
                      <a:pt x="15" y="334"/>
                    </a:lnTo>
                    <a:lnTo>
                      <a:pt x="15" y="331"/>
                    </a:lnTo>
                    <a:lnTo>
                      <a:pt x="17" y="327"/>
                    </a:lnTo>
                    <a:lnTo>
                      <a:pt x="17" y="323"/>
                    </a:lnTo>
                    <a:lnTo>
                      <a:pt x="17" y="319"/>
                    </a:lnTo>
                    <a:lnTo>
                      <a:pt x="17" y="315"/>
                    </a:lnTo>
                    <a:lnTo>
                      <a:pt x="17" y="312"/>
                    </a:lnTo>
                    <a:lnTo>
                      <a:pt x="17" y="308"/>
                    </a:lnTo>
                    <a:lnTo>
                      <a:pt x="19" y="304"/>
                    </a:lnTo>
                    <a:lnTo>
                      <a:pt x="19" y="298"/>
                    </a:lnTo>
                    <a:lnTo>
                      <a:pt x="19" y="294"/>
                    </a:lnTo>
                    <a:lnTo>
                      <a:pt x="19" y="291"/>
                    </a:lnTo>
                    <a:lnTo>
                      <a:pt x="21" y="287"/>
                    </a:lnTo>
                    <a:lnTo>
                      <a:pt x="21" y="281"/>
                    </a:lnTo>
                    <a:lnTo>
                      <a:pt x="21" y="277"/>
                    </a:lnTo>
                    <a:lnTo>
                      <a:pt x="21" y="272"/>
                    </a:lnTo>
                    <a:lnTo>
                      <a:pt x="21" y="268"/>
                    </a:lnTo>
                    <a:lnTo>
                      <a:pt x="21" y="262"/>
                    </a:lnTo>
                    <a:lnTo>
                      <a:pt x="23" y="256"/>
                    </a:lnTo>
                    <a:lnTo>
                      <a:pt x="23" y="253"/>
                    </a:lnTo>
                    <a:lnTo>
                      <a:pt x="23" y="247"/>
                    </a:lnTo>
                    <a:lnTo>
                      <a:pt x="23" y="241"/>
                    </a:lnTo>
                    <a:lnTo>
                      <a:pt x="25" y="237"/>
                    </a:lnTo>
                    <a:lnTo>
                      <a:pt x="25" y="232"/>
                    </a:lnTo>
                    <a:lnTo>
                      <a:pt x="27" y="228"/>
                    </a:lnTo>
                    <a:lnTo>
                      <a:pt x="27" y="222"/>
                    </a:lnTo>
                    <a:lnTo>
                      <a:pt x="27" y="218"/>
                    </a:lnTo>
                    <a:lnTo>
                      <a:pt x="27" y="213"/>
                    </a:lnTo>
                    <a:lnTo>
                      <a:pt x="29" y="209"/>
                    </a:lnTo>
                    <a:lnTo>
                      <a:pt x="29" y="203"/>
                    </a:lnTo>
                    <a:lnTo>
                      <a:pt x="29" y="198"/>
                    </a:lnTo>
                    <a:lnTo>
                      <a:pt x="30" y="194"/>
                    </a:lnTo>
                    <a:lnTo>
                      <a:pt x="30" y="188"/>
                    </a:lnTo>
                    <a:lnTo>
                      <a:pt x="30" y="184"/>
                    </a:lnTo>
                    <a:lnTo>
                      <a:pt x="32" y="179"/>
                    </a:lnTo>
                    <a:lnTo>
                      <a:pt x="32" y="175"/>
                    </a:lnTo>
                    <a:lnTo>
                      <a:pt x="34" y="171"/>
                    </a:lnTo>
                    <a:lnTo>
                      <a:pt x="34" y="167"/>
                    </a:lnTo>
                    <a:lnTo>
                      <a:pt x="36" y="161"/>
                    </a:lnTo>
                    <a:lnTo>
                      <a:pt x="36" y="158"/>
                    </a:lnTo>
                    <a:lnTo>
                      <a:pt x="36" y="154"/>
                    </a:lnTo>
                    <a:lnTo>
                      <a:pt x="38" y="150"/>
                    </a:lnTo>
                    <a:lnTo>
                      <a:pt x="38" y="146"/>
                    </a:lnTo>
                    <a:lnTo>
                      <a:pt x="40" y="142"/>
                    </a:lnTo>
                    <a:lnTo>
                      <a:pt x="40" y="139"/>
                    </a:lnTo>
                    <a:lnTo>
                      <a:pt x="40" y="135"/>
                    </a:lnTo>
                    <a:lnTo>
                      <a:pt x="42" y="131"/>
                    </a:lnTo>
                    <a:lnTo>
                      <a:pt x="42" y="127"/>
                    </a:lnTo>
                    <a:lnTo>
                      <a:pt x="44" y="123"/>
                    </a:lnTo>
                    <a:lnTo>
                      <a:pt x="46" y="118"/>
                    </a:lnTo>
                    <a:lnTo>
                      <a:pt x="48" y="110"/>
                    </a:lnTo>
                    <a:lnTo>
                      <a:pt x="49" y="104"/>
                    </a:lnTo>
                    <a:lnTo>
                      <a:pt x="51" y="97"/>
                    </a:lnTo>
                    <a:lnTo>
                      <a:pt x="53" y="93"/>
                    </a:lnTo>
                    <a:lnTo>
                      <a:pt x="55" y="87"/>
                    </a:lnTo>
                    <a:lnTo>
                      <a:pt x="57" y="80"/>
                    </a:lnTo>
                    <a:lnTo>
                      <a:pt x="61" y="76"/>
                    </a:lnTo>
                    <a:lnTo>
                      <a:pt x="63" y="70"/>
                    </a:lnTo>
                    <a:lnTo>
                      <a:pt x="65" y="66"/>
                    </a:lnTo>
                    <a:lnTo>
                      <a:pt x="67" y="63"/>
                    </a:lnTo>
                    <a:lnTo>
                      <a:pt x="70" y="59"/>
                    </a:lnTo>
                    <a:lnTo>
                      <a:pt x="72" y="55"/>
                    </a:lnTo>
                    <a:lnTo>
                      <a:pt x="74" y="51"/>
                    </a:lnTo>
                    <a:lnTo>
                      <a:pt x="78" y="44"/>
                    </a:lnTo>
                    <a:lnTo>
                      <a:pt x="82" y="38"/>
                    </a:lnTo>
                    <a:lnTo>
                      <a:pt x="86" y="34"/>
                    </a:lnTo>
                    <a:lnTo>
                      <a:pt x="89" y="30"/>
                    </a:lnTo>
                    <a:lnTo>
                      <a:pt x="95" y="25"/>
                    </a:lnTo>
                    <a:lnTo>
                      <a:pt x="97" y="23"/>
                    </a:lnTo>
                    <a:lnTo>
                      <a:pt x="68"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35" name="Freeform 78"/>
              <p:cNvSpPr>
                <a:spLocks/>
              </p:cNvSpPr>
              <p:nvPr/>
            </p:nvSpPr>
            <p:spPr bwMode="auto">
              <a:xfrm>
                <a:off x="2033588" y="3709988"/>
                <a:ext cx="165100" cy="200025"/>
              </a:xfrm>
              <a:custGeom>
                <a:avLst/>
                <a:gdLst>
                  <a:gd name="T0" fmla="*/ 2147483646 w 207"/>
                  <a:gd name="T1" fmla="*/ 2147483646 h 250"/>
                  <a:gd name="T2" fmla="*/ 2147483646 w 207"/>
                  <a:gd name="T3" fmla="*/ 2147483646 h 250"/>
                  <a:gd name="T4" fmla="*/ 2147483646 w 207"/>
                  <a:gd name="T5" fmla="*/ 2147483646 h 250"/>
                  <a:gd name="T6" fmla="*/ 2147483646 w 207"/>
                  <a:gd name="T7" fmla="*/ 2147483646 h 250"/>
                  <a:gd name="T8" fmla="*/ 2147483646 w 207"/>
                  <a:gd name="T9" fmla="*/ 2147483646 h 250"/>
                  <a:gd name="T10" fmla="*/ 2147483646 w 207"/>
                  <a:gd name="T11" fmla="*/ 2147483646 h 250"/>
                  <a:gd name="T12" fmla="*/ 2147483646 w 207"/>
                  <a:gd name="T13" fmla="*/ 2147483646 h 250"/>
                  <a:gd name="T14" fmla="*/ 2147483646 w 207"/>
                  <a:gd name="T15" fmla="*/ 2147483646 h 250"/>
                  <a:gd name="T16" fmla="*/ 2147483646 w 207"/>
                  <a:gd name="T17" fmla="*/ 2147483646 h 250"/>
                  <a:gd name="T18" fmla="*/ 2147483646 w 207"/>
                  <a:gd name="T19" fmla="*/ 2147483646 h 250"/>
                  <a:gd name="T20" fmla="*/ 2147483646 w 207"/>
                  <a:gd name="T21" fmla="*/ 2147483646 h 250"/>
                  <a:gd name="T22" fmla="*/ 2147483646 w 207"/>
                  <a:gd name="T23" fmla="*/ 2147483646 h 250"/>
                  <a:gd name="T24" fmla="*/ 2147483646 w 207"/>
                  <a:gd name="T25" fmla="*/ 2147483646 h 250"/>
                  <a:gd name="T26" fmla="*/ 2147483646 w 207"/>
                  <a:gd name="T27" fmla="*/ 2147483646 h 250"/>
                  <a:gd name="T28" fmla="*/ 2147483646 w 207"/>
                  <a:gd name="T29" fmla="*/ 2147483646 h 250"/>
                  <a:gd name="T30" fmla="*/ 2147483646 w 207"/>
                  <a:gd name="T31" fmla="*/ 2147483646 h 250"/>
                  <a:gd name="T32" fmla="*/ 2147483646 w 207"/>
                  <a:gd name="T33" fmla="*/ 2147483646 h 250"/>
                  <a:gd name="T34" fmla="*/ 2147483646 w 207"/>
                  <a:gd name="T35" fmla="*/ 2147483646 h 250"/>
                  <a:gd name="T36" fmla="*/ 2147483646 w 207"/>
                  <a:gd name="T37" fmla="*/ 2147483646 h 250"/>
                  <a:gd name="T38" fmla="*/ 2147483646 w 207"/>
                  <a:gd name="T39" fmla="*/ 2147483646 h 250"/>
                  <a:gd name="T40" fmla="*/ 2147483646 w 207"/>
                  <a:gd name="T41" fmla="*/ 2147483646 h 250"/>
                  <a:gd name="T42" fmla="*/ 2147483646 w 207"/>
                  <a:gd name="T43" fmla="*/ 2147483646 h 250"/>
                  <a:gd name="T44" fmla="*/ 2147483646 w 207"/>
                  <a:gd name="T45" fmla="*/ 2147483646 h 250"/>
                  <a:gd name="T46" fmla="*/ 2147483646 w 207"/>
                  <a:gd name="T47" fmla="*/ 2147483646 h 250"/>
                  <a:gd name="T48" fmla="*/ 2147483646 w 207"/>
                  <a:gd name="T49" fmla="*/ 2147483646 h 250"/>
                  <a:gd name="T50" fmla="*/ 2147483646 w 207"/>
                  <a:gd name="T51" fmla="*/ 2147483646 h 250"/>
                  <a:gd name="T52" fmla="*/ 2147483646 w 207"/>
                  <a:gd name="T53" fmla="*/ 2147483646 h 250"/>
                  <a:gd name="T54" fmla="*/ 2147483646 w 207"/>
                  <a:gd name="T55" fmla="*/ 2147483646 h 250"/>
                  <a:gd name="T56" fmla="*/ 2147483646 w 207"/>
                  <a:gd name="T57" fmla="*/ 2147483646 h 250"/>
                  <a:gd name="T58" fmla="*/ 2147483646 w 207"/>
                  <a:gd name="T59" fmla="*/ 2147483646 h 250"/>
                  <a:gd name="T60" fmla="*/ 2147483646 w 207"/>
                  <a:gd name="T61" fmla="*/ 2147483646 h 250"/>
                  <a:gd name="T62" fmla="*/ 2147483646 w 207"/>
                  <a:gd name="T63" fmla="*/ 2147483646 h 250"/>
                  <a:gd name="T64" fmla="*/ 2147483646 w 207"/>
                  <a:gd name="T65" fmla="*/ 2147483646 h 250"/>
                  <a:gd name="T66" fmla="*/ 2147483646 w 207"/>
                  <a:gd name="T67" fmla="*/ 2147483646 h 250"/>
                  <a:gd name="T68" fmla="*/ 2147483646 w 207"/>
                  <a:gd name="T69" fmla="*/ 2147483646 h 250"/>
                  <a:gd name="T70" fmla="*/ 2147483646 w 207"/>
                  <a:gd name="T71" fmla="*/ 2147483646 h 250"/>
                  <a:gd name="T72" fmla="*/ 2147483646 w 207"/>
                  <a:gd name="T73" fmla="*/ 2147483646 h 250"/>
                  <a:gd name="T74" fmla="*/ 2147483646 w 207"/>
                  <a:gd name="T75" fmla="*/ 2147483646 h 250"/>
                  <a:gd name="T76" fmla="*/ 2147483646 w 207"/>
                  <a:gd name="T77" fmla="*/ 2147483646 h 250"/>
                  <a:gd name="T78" fmla="*/ 2147483646 w 207"/>
                  <a:gd name="T79" fmla="*/ 2147483646 h 250"/>
                  <a:gd name="T80" fmla="*/ 2147483646 w 207"/>
                  <a:gd name="T81" fmla="*/ 2147483646 h 250"/>
                  <a:gd name="T82" fmla="*/ 2147483646 w 207"/>
                  <a:gd name="T83" fmla="*/ 2147483646 h 250"/>
                  <a:gd name="T84" fmla="*/ 2147483646 w 207"/>
                  <a:gd name="T85" fmla="*/ 2147483646 h 250"/>
                  <a:gd name="T86" fmla="*/ 2147483646 w 207"/>
                  <a:gd name="T87" fmla="*/ 2147483646 h 250"/>
                  <a:gd name="T88" fmla="*/ 2147483646 w 207"/>
                  <a:gd name="T89" fmla="*/ 2147483646 h 250"/>
                  <a:gd name="T90" fmla="*/ 2147483646 w 207"/>
                  <a:gd name="T91" fmla="*/ 0 h 25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7"/>
                  <a:gd name="T139" fmla="*/ 0 h 250"/>
                  <a:gd name="T140" fmla="*/ 207 w 207"/>
                  <a:gd name="T141" fmla="*/ 250 h 25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7" h="250">
                    <a:moveTo>
                      <a:pt x="178" y="0"/>
                    </a:moveTo>
                    <a:lnTo>
                      <a:pt x="178" y="0"/>
                    </a:lnTo>
                    <a:lnTo>
                      <a:pt x="178" y="3"/>
                    </a:lnTo>
                    <a:lnTo>
                      <a:pt x="178" y="7"/>
                    </a:lnTo>
                    <a:lnTo>
                      <a:pt x="180" y="13"/>
                    </a:lnTo>
                    <a:lnTo>
                      <a:pt x="180" y="15"/>
                    </a:lnTo>
                    <a:lnTo>
                      <a:pt x="182" y="19"/>
                    </a:lnTo>
                    <a:lnTo>
                      <a:pt x="182" y="24"/>
                    </a:lnTo>
                    <a:lnTo>
                      <a:pt x="184" y="28"/>
                    </a:lnTo>
                    <a:lnTo>
                      <a:pt x="184" y="32"/>
                    </a:lnTo>
                    <a:lnTo>
                      <a:pt x="184" y="38"/>
                    </a:lnTo>
                    <a:lnTo>
                      <a:pt x="184" y="43"/>
                    </a:lnTo>
                    <a:lnTo>
                      <a:pt x="186" y="49"/>
                    </a:lnTo>
                    <a:lnTo>
                      <a:pt x="186" y="53"/>
                    </a:lnTo>
                    <a:lnTo>
                      <a:pt x="186" y="58"/>
                    </a:lnTo>
                    <a:lnTo>
                      <a:pt x="186" y="66"/>
                    </a:lnTo>
                    <a:lnTo>
                      <a:pt x="186" y="72"/>
                    </a:lnTo>
                    <a:lnTo>
                      <a:pt x="184" y="77"/>
                    </a:lnTo>
                    <a:lnTo>
                      <a:pt x="184" y="83"/>
                    </a:lnTo>
                    <a:lnTo>
                      <a:pt x="184" y="91"/>
                    </a:lnTo>
                    <a:lnTo>
                      <a:pt x="184" y="98"/>
                    </a:lnTo>
                    <a:lnTo>
                      <a:pt x="182" y="104"/>
                    </a:lnTo>
                    <a:lnTo>
                      <a:pt x="180" y="112"/>
                    </a:lnTo>
                    <a:lnTo>
                      <a:pt x="178" y="117"/>
                    </a:lnTo>
                    <a:lnTo>
                      <a:pt x="176" y="125"/>
                    </a:lnTo>
                    <a:lnTo>
                      <a:pt x="174" y="133"/>
                    </a:lnTo>
                    <a:lnTo>
                      <a:pt x="171" y="140"/>
                    </a:lnTo>
                    <a:lnTo>
                      <a:pt x="169" y="146"/>
                    </a:lnTo>
                    <a:lnTo>
                      <a:pt x="165" y="153"/>
                    </a:lnTo>
                    <a:lnTo>
                      <a:pt x="161" y="159"/>
                    </a:lnTo>
                    <a:lnTo>
                      <a:pt x="157" y="167"/>
                    </a:lnTo>
                    <a:lnTo>
                      <a:pt x="152" y="172"/>
                    </a:lnTo>
                    <a:lnTo>
                      <a:pt x="148" y="178"/>
                    </a:lnTo>
                    <a:lnTo>
                      <a:pt x="142" y="184"/>
                    </a:lnTo>
                    <a:lnTo>
                      <a:pt x="136" y="190"/>
                    </a:lnTo>
                    <a:lnTo>
                      <a:pt x="131" y="193"/>
                    </a:lnTo>
                    <a:lnTo>
                      <a:pt x="127" y="199"/>
                    </a:lnTo>
                    <a:lnTo>
                      <a:pt x="121" y="203"/>
                    </a:lnTo>
                    <a:lnTo>
                      <a:pt x="114" y="207"/>
                    </a:lnTo>
                    <a:lnTo>
                      <a:pt x="108" y="211"/>
                    </a:lnTo>
                    <a:lnTo>
                      <a:pt x="102" y="214"/>
                    </a:lnTo>
                    <a:lnTo>
                      <a:pt x="97" y="218"/>
                    </a:lnTo>
                    <a:lnTo>
                      <a:pt x="91" y="220"/>
                    </a:lnTo>
                    <a:lnTo>
                      <a:pt x="83" y="224"/>
                    </a:lnTo>
                    <a:lnTo>
                      <a:pt x="78" y="228"/>
                    </a:lnTo>
                    <a:lnTo>
                      <a:pt x="72" y="230"/>
                    </a:lnTo>
                    <a:lnTo>
                      <a:pt x="66" y="231"/>
                    </a:lnTo>
                    <a:lnTo>
                      <a:pt x="60" y="233"/>
                    </a:lnTo>
                    <a:lnTo>
                      <a:pt x="53" y="235"/>
                    </a:lnTo>
                    <a:lnTo>
                      <a:pt x="47" y="237"/>
                    </a:lnTo>
                    <a:lnTo>
                      <a:pt x="41" y="239"/>
                    </a:lnTo>
                    <a:lnTo>
                      <a:pt x="38" y="241"/>
                    </a:lnTo>
                    <a:lnTo>
                      <a:pt x="32" y="241"/>
                    </a:lnTo>
                    <a:lnTo>
                      <a:pt x="26" y="243"/>
                    </a:lnTo>
                    <a:lnTo>
                      <a:pt x="22" y="243"/>
                    </a:lnTo>
                    <a:lnTo>
                      <a:pt x="17" y="245"/>
                    </a:lnTo>
                    <a:lnTo>
                      <a:pt x="13" y="245"/>
                    </a:lnTo>
                    <a:lnTo>
                      <a:pt x="9" y="245"/>
                    </a:lnTo>
                    <a:lnTo>
                      <a:pt x="5" y="247"/>
                    </a:lnTo>
                    <a:lnTo>
                      <a:pt x="2" y="247"/>
                    </a:lnTo>
                    <a:lnTo>
                      <a:pt x="0" y="249"/>
                    </a:lnTo>
                    <a:lnTo>
                      <a:pt x="3" y="249"/>
                    </a:lnTo>
                    <a:lnTo>
                      <a:pt x="7" y="249"/>
                    </a:lnTo>
                    <a:lnTo>
                      <a:pt x="13" y="249"/>
                    </a:lnTo>
                    <a:lnTo>
                      <a:pt x="17" y="250"/>
                    </a:lnTo>
                    <a:lnTo>
                      <a:pt x="24" y="250"/>
                    </a:lnTo>
                    <a:lnTo>
                      <a:pt x="30" y="250"/>
                    </a:lnTo>
                    <a:lnTo>
                      <a:pt x="34" y="250"/>
                    </a:lnTo>
                    <a:lnTo>
                      <a:pt x="38" y="250"/>
                    </a:lnTo>
                    <a:lnTo>
                      <a:pt x="43" y="250"/>
                    </a:lnTo>
                    <a:lnTo>
                      <a:pt x="47" y="250"/>
                    </a:lnTo>
                    <a:lnTo>
                      <a:pt x="53" y="250"/>
                    </a:lnTo>
                    <a:lnTo>
                      <a:pt x="57" y="250"/>
                    </a:lnTo>
                    <a:lnTo>
                      <a:pt x="62" y="250"/>
                    </a:lnTo>
                    <a:lnTo>
                      <a:pt x="68" y="249"/>
                    </a:lnTo>
                    <a:lnTo>
                      <a:pt x="74" y="249"/>
                    </a:lnTo>
                    <a:lnTo>
                      <a:pt x="79" y="247"/>
                    </a:lnTo>
                    <a:lnTo>
                      <a:pt x="85" y="247"/>
                    </a:lnTo>
                    <a:lnTo>
                      <a:pt x="91" y="245"/>
                    </a:lnTo>
                    <a:lnTo>
                      <a:pt x="97" y="243"/>
                    </a:lnTo>
                    <a:lnTo>
                      <a:pt x="102" y="241"/>
                    </a:lnTo>
                    <a:lnTo>
                      <a:pt x="108" y="239"/>
                    </a:lnTo>
                    <a:lnTo>
                      <a:pt x="114" y="235"/>
                    </a:lnTo>
                    <a:lnTo>
                      <a:pt x="121" y="233"/>
                    </a:lnTo>
                    <a:lnTo>
                      <a:pt x="127" y="230"/>
                    </a:lnTo>
                    <a:lnTo>
                      <a:pt x="133" y="228"/>
                    </a:lnTo>
                    <a:lnTo>
                      <a:pt x="136" y="224"/>
                    </a:lnTo>
                    <a:lnTo>
                      <a:pt x="142" y="220"/>
                    </a:lnTo>
                    <a:lnTo>
                      <a:pt x="148" y="216"/>
                    </a:lnTo>
                    <a:lnTo>
                      <a:pt x="154" y="212"/>
                    </a:lnTo>
                    <a:lnTo>
                      <a:pt x="157" y="209"/>
                    </a:lnTo>
                    <a:lnTo>
                      <a:pt x="161" y="207"/>
                    </a:lnTo>
                    <a:lnTo>
                      <a:pt x="165" y="203"/>
                    </a:lnTo>
                    <a:lnTo>
                      <a:pt x="169" y="199"/>
                    </a:lnTo>
                    <a:lnTo>
                      <a:pt x="173" y="195"/>
                    </a:lnTo>
                    <a:lnTo>
                      <a:pt x="176" y="192"/>
                    </a:lnTo>
                    <a:lnTo>
                      <a:pt x="178" y="188"/>
                    </a:lnTo>
                    <a:lnTo>
                      <a:pt x="182" y="184"/>
                    </a:lnTo>
                    <a:lnTo>
                      <a:pt x="186" y="180"/>
                    </a:lnTo>
                    <a:lnTo>
                      <a:pt x="188" y="176"/>
                    </a:lnTo>
                    <a:lnTo>
                      <a:pt x="192" y="172"/>
                    </a:lnTo>
                    <a:lnTo>
                      <a:pt x="193" y="169"/>
                    </a:lnTo>
                    <a:lnTo>
                      <a:pt x="195" y="165"/>
                    </a:lnTo>
                    <a:lnTo>
                      <a:pt x="197" y="159"/>
                    </a:lnTo>
                    <a:lnTo>
                      <a:pt x="199" y="155"/>
                    </a:lnTo>
                    <a:lnTo>
                      <a:pt x="199" y="152"/>
                    </a:lnTo>
                    <a:lnTo>
                      <a:pt x="201" y="148"/>
                    </a:lnTo>
                    <a:lnTo>
                      <a:pt x="201" y="142"/>
                    </a:lnTo>
                    <a:lnTo>
                      <a:pt x="203" y="138"/>
                    </a:lnTo>
                    <a:lnTo>
                      <a:pt x="205" y="134"/>
                    </a:lnTo>
                    <a:lnTo>
                      <a:pt x="205" y="129"/>
                    </a:lnTo>
                    <a:lnTo>
                      <a:pt x="205" y="123"/>
                    </a:lnTo>
                    <a:lnTo>
                      <a:pt x="205" y="117"/>
                    </a:lnTo>
                    <a:lnTo>
                      <a:pt x="207" y="114"/>
                    </a:lnTo>
                    <a:lnTo>
                      <a:pt x="205" y="108"/>
                    </a:lnTo>
                    <a:lnTo>
                      <a:pt x="205" y="102"/>
                    </a:lnTo>
                    <a:lnTo>
                      <a:pt x="205" y="96"/>
                    </a:lnTo>
                    <a:lnTo>
                      <a:pt x="205" y="91"/>
                    </a:lnTo>
                    <a:lnTo>
                      <a:pt x="203" y="83"/>
                    </a:lnTo>
                    <a:lnTo>
                      <a:pt x="203" y="77"/>
                    </a:lnTo>
                    <a:lnTo>
                      <a:pt x="203" y="72"/>
                    </a:lnTo>
                    <a:lnTo>
                      <a:pt x="201" y="68"/>
                    </a:lnTo>
                    <a:lnTo>
                      <a:pt x="201" y="60"/>
                    </a:lnTo>
                    <a:lnTo>
                      <a:pt x="199" y="57"/>
                    </a:lnTo>
                    <a:lnTo>
                      <a:pt x="199" y="53"/>
                    </a:lnTo>
                    <a:lnTo>
                      <a:pt x="199" y="49"/>
                    </a:lnTo>
                    <a:lnTo>
                      <a:pt x="197" y="43"/>
                    </a:lnTo>
                    <a:lnTo>
                      <a:pt x="195" y="39"/>
                    </a:lnTo>
                    <a:lnTo>
                      <a:pt x="193" y="36"/>
                    </a:lnTo>
                    <a:lnTo>
                      <a:pt x="193" y="32"/>
                    </a:lnTo>
                    <a:lnTo>
                      <a:pt x="192" y="26"/>
                    </a:lnTo>
                    <a:lnTo>
                      <a:pt x="190" y="20"/>
                    </a:lnTo>
                    <a:lnTo>
                      <a:pt x="186" y="15"/>
                    </a:lnTo>
                    <a:lnTo>
                      <a:pt x="184" y="11"/>
                    </a:lnTo>
                    <a:lnTo>
                      <a:pt x="182" y="7"/>
                    </a:lnTo>
                    <a:lnTo>
                      <a:pt x="182" y="3"/>
                    </a:lnTo>
                    <a:lnTo>
                      <a:pt x="178"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36" name="Freeform 79"/>
              <p:cNvSpPr>
                <a:spLocks/>
              </p:cNvSpPr>
              <p:nvPr/>
            </p:nvSpPr>
            <p:spPr bwMode="auto">
              <a:xfrm>
                <a:off x="1812926" y="4064001"/>
                <a:ext cx="193675" cy="123825"/>
              </a:xfrm>
              <a:custGeom>
                <a:avLst/>
                <a:gdLst>
                  <a:gd name="T0" fmla="*/ 2147483646 w 245"/>
                  <a:gd name="T1" fmla="*/ 2147483646 h 156"/>
                  <a:gd name="T2" fmla="*/ 2147483646 w 245"/>
                  <a:gd name="T3" fmla="*/ 2147483646 h 156"/>
                  <a:gd name="T4" fmla="*/ 2147483646 w 245"/>
                  <a:gd name="T5" fmla="*/ 2147483646 h 156"/>
                  <a:gd name="T6" fmla="*/ 2147483646 w 245"/>
                  <a:gd name="T7" fmla="*/ 2147483646 h 156"/>
                  <a:gd name="T8" fmla="*/ 2147483646 w 245"/>
                  <a:gd name="T9" fmla="*/ 2147483646 h 156"/>
                  <a:gd name="T10" fmla="*/ 2147483646 w 245"/>
                  <a:gd name="T11" fmla="*/ 2147483646 h 156"/>
                  <a:gd name="T12" fmla="*/ 2147483646 w 245"/>
                  <a:gd name="T13" fmla="*/ 2147483646 h 156"/>
                  <a:gd name="T14" fmla="*/ 2147483646 w 245"/>
                  <a:gd name="T15" fmla="*/ 2147483646 h 156"/>
                  <a:gd name="T16" fmla="*/ 2147483646 w 245"/>
                  <a:gd name="T17" fmla="*/ 2147483646 h 156"/>
                  <a:gd name="T18" fmla="*/ 2147483646 w 245"/>
                  <a:gd name="T19" fmla="*/ 2147483646 h 156"/>
                  <a:gd name="T20" fmla="*/ 2147483646 w 245"/>
                  <a:gd name="T21" fmla="*/ 2147483646 h 156"/>
                  <a:gd name="T22" fmla="*/ 2147483646 w 245"/>
                  <a:gd name="T23" fmla="*/ 2147483646 h 156"/>
                  <a:gd name="T24" fmla="*/ 2147483646 w 245"/>
                  <a:gd name="T25" fmla="*/ 2147483646 h 156"/>
                  <a:gd name="T26" fmla="*/ 2147483646 w 245"/>
                  <a:gd name="T27" fmla="*/ 2147483646 h 156"/>
                  <a:gd name="T28" fmla="*/ 2147483646 w 245"/>
                  <a:gd name="T29" fmla="*/ 2147483646 h 156"/>
                  <a:gd name="T30" fmla="*/ 2147483646 w 245"/>
                  <a:gd name="T31" fmla="*/ 2147483646 h 156"/>
                  <a:gd name="T32" fmla="*/ 2147483646 w 245"/>
                  <a:gd name="T33" fmla="*/ 2147483646 h 156"/>
                  <a:gd name="T34" fmla="*/ 2147483646 w 245"/>
                  <a:gd name="T35" fmla="*/ 2147483646 h 156"/>
                  <a:gd name="T36" fmla="*/ 2147483646 w 245"/>
                  <a:gd name="T37" fmla="*/ 2147483646 h 156"/>
                  <a:gd name="T38" fmla="*/ 2147483646 w 245"/>
                  <a:gd name="T39" fmla="*/ 2147483646 h 156"/>
                  <a:gd name="T40" fmla="*/ 2147483646 w 245"/>
                  <a:gd name="T41" fmla="*/ 2147483646 h 156"/>
                  <a:gd name="T42" fmla="*/ 2147483646 w 245"/>
                  <a:gd name="T43" fmla="*/ 2147483646 h 156"/>
                  <a:gd name="T44" fmla="*/ 2147483646 w 245"/>
                  <a:gd name="T45" fmla="*/ 2147483646 h 156"/>
                  <a:gd name="T46" fmla="*/ 2147483646 w 245"/>
                  <a:gd name="T47" fmla="*/ 2147483646 h 156"/>
                  <a:gd name="T48" fmla="*/ 2147483646 w 245"/>
                  <a:gd name="T49" fmla="*/ 2147483646 h 156"/>
                  <a:gd name="T50" fmla="*/ 2147483646 w 245"/>
                  <a:gd name="T51" fmla="*/ 2147483646 h 156"/>
                  <a:gd name="T52" fmla="*/ 2147483646 w 245"/>
                  <a:gd name="T53" fmla="*/ 2147483646 h 156"/>
                  <a:gd name="T54" fmla="*/ 2147483646 w 245"/>
                  <a:gd name="T55" fmla="*/ 2147483646 h 156"/>
                  <a:gd name="T56" fmla="*/ 2147483646 w 245"/>
                  <a:gd name="T57" fmla="*/ 2147483646 h 156"/>
                  <a:gd name="T58" fmla="*/ 2147483646 w 245"/>
                  <a:gd name="T59" fmla="*/ 2147483646 h 156"/>
                  <a:gd name="T60" fmla="*/ 2147483646 w 245"/>
                  <a:gd name="T61" fmla="*/ 2147483646 h 156"/>
                  <a:gd name="T62" fmla="*/ 2147483646 w 245"/>
                  <a:gd name="T63" fmla="*/ 2147483646 h 156"/>
                  <a:gd name="T64" fmla="*/ 2147483646 w 245"/>
                  <a:gd name="T65" fmla="*/ 2147483646 h 156"/>
                  <a:gd name="T66" fmla="*/ 2147483646 w 245"/>
                  <a:gd name="T67" fmla="*/ 2147483646 h 156"/>
                  <a:gd name="T68" fmla="*/ 2147483646 w 245"/>
                  <a:gd name="T69" fmla="*/ 2147483646 h 156"/>
                  <a:gd name="T70" fmla="*/ 2147483646 w 245"/>
                  <a:gd name="T71" fmla="*/ 2147483646 h 156"/>
                  <a:gd name="T72" fmla="*/ 2147483646 w 245"/>
                  <a:gd name="T73" fmla="*/ 2147483646 h 156"/>
                  <a:gd name="T74" fmla="*/ 2147483646 w 245"/>
                  <a:gd name="T75" fmla="*/ 2147483646 h 156"/>
                  <a:gd name="T76" fmla="*/ 2147483646 w 245"/>
                  <a:gd name="T77" fmla="*/ 2147483646 h 156"/>
                  <a:gd name="T78" fmla="*/ 0 w 245"/>
                  <a:gd name="T79" fmla="*/ 2147483646 h 156"/>
                  <a:gd name="T80" fmla="*/ 0 w 245"/>
                  <a:gd name="T81" fmla="*/ 2147483646 h 156"/>
                  <a:gd name="T82" fmla="*/ 2147483646 w 245"/>
                  <a:gd name="T83" fmla="*/ 2147483646 h 156"/>
                  <a:gd name="T84" fmla="*/ 2147483646 w 245"/>
                  <a:gd name="T85" fmla="*/ 2147483646 h 156"/>
                  <a:gd name="T86" fmla="*/ 2147483646 w 245"/>
                  <a:gd name="T87" fmla="*/ 2147483646 h 156"/>
                  <a:gd name="T88" fmla="*/ 2147483646 w 245"/>
                  <a:gd name="T89" fmla="*/ 2147483646 h 1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5"/>
                  <a:gd name="T136" fmla="*/ 0 h 156"/>
                  <a:gd name="T137" fmla="*/ 245 w 245"/>
                  <a:gd name="T138" fmla="*/ 156 h 1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5" h="156">
                    <a:moveTo>
                      <a:pt x="21" y="21"/>
                    </a:moveTo>
                    <a:lnTo>
                      <a:pt x="21" y="21"/>
                    </a:lnTo>
                    <a:lnTo>
                      <a:pt x="21" y="23"/>
                    </a:lnTo>
                    <a:lnTo>
                      <a:pt x="21" y="27"/>
                    </a:lnTo>
                    <a:lnTo>
                      <a:pt x="21" y="31"/>
                    </a:lnTo>
                    <a:lnTo>
                      <a:pt x="23" y="36"/>
                    </a:lnTo>
                    <a:lnTo>
                      <a:pt x="23" y="42"/>
                    </a:lnTo>
                    <a:lnTo>
                      <a:pt x="25" y="48"/>
                    </a:lnTo>
                    <a:lnTo>
                      <a:pt x="29" y="55"/>
                    </a:lnTo>
                    <a:lnTo>
                      <a:pt x="31" y="61"/>
                    </a:lnTo>
                    <a:lnTo>
                      <a:pt x="35" y="69"/>
                    </a:lnTo>
                    <a:lnTo>
                      <a:pt x="40" y="76"/>
                    </a:lnTo>
                    <a:lnTo>
                      <a:pt x="48" y="84"/>
                    </a:lnTo>
                    <a:lnTo>
                      <a:pt x="50" y="86"/>
                    </a:lnTo>
                    <a:lnTo>
                      <a:pt x="54" y="90"/>
                    </a:lnTo>
                    <a:lnTo>
                      <a:pt x="57" y="93"/>
                    </a:lnTo>
                    <a:lnTo>
                      <a:pt x="63" y="97"/>
                    </a:lnTo>
                    <a:lnTo>
                      <a:pt x="67" y="99"/>
                    </a:lnTo>
                    <a:lnTo>
                      <a:pt x="73" y="103"/>
                    </a:lnTo>
                    <a:lnTo>
                      <a:pt x="78" y="105"/>
                    </a:lnTo>
                    <a:lnTo>
                      <a:pt x="84" y="109"/>
                    </a:lnTo>
                    <a:lnTo>
                      <a:pt x="92" y="109"/>
                    </a:lnTo>
                    <a:lnTo>
                      <a:pt x="97" y="111"/>
                    </a:lnTo>
                    <a:lnTo>
                      <a:pt x="103" y="113"/>
                    </a:lnTo>
                    <a:lnTo>
                      <a:pt x="109" y="114"/>
                    </a:lnTo>
                    <a:lnTo>
                      <a:pt x="116" y="114"/>
                    </a:lnTo>
                    <a:lnTo>
                      <a:pt x="122" y="114"/>
                    </a:lnTo>
                    <a:lnTo>
                      <a:pt x="128" y="113"/>
                    </a:lnTo>
                    <a:lnTo>
                      <a:pt x="135" y="113"/>
                    </a:lnTo>
                    <a:lnTo>
                      <a:pt x="141" y="111"/>
                    </a:lnTo>
                    <a:lnTo>
                      <a:pt x="147" y="111"/>
                    </a:lnTo>
                    <a:lnTo>
                      <a:pt x="152" y="109"/>
                    </a:lnTo>
                    <a:lnTo>
                      <a:pt x="160" y="107"/>
                    </a:lnTo>
                    <a:lnTo>
                      <a:pt x="164" y="103"/>
                    </a:lnTo>
                    <a:lnTo>
                      <a:pt x="171" y="101"/>
                    </a:lnTo>
                    <a:lnTo>
                      <a:pt x="177" y="97"/>
                    </a:lnTo>
                    <a:lnTo>
                      <a:pt x="183" y="93"/>
                    </a:lnTo>
                    <a:lnTo>
                      <a:pt x="188" y="90"/>
                    </a:lnTo>
                    <a:lnTo>
                      <a:pt x="192" y="86"/>
                    </a:lnTo>
                    <a:lnTo>
                      <a:pt x="198" y="82"/>
                    </a:lnTo>
                    <a:lnTo>
                      <a:pt x="204" y="78"/>
                    </a:lnTo>
                    <a:lnTo>
                      <a:pt x="207" y="73"/>
                    </a:lnTo>
                    <a:lnTo>
                      <a:pt x="213" y="67"/>
                    </a:lnTo>
                    <a:lnTo>
                      <a:pt x="217" y="61"/>
                    </a:lnTo>
                    <a:lnTo>
                      <a:pt x="221" y="55"/>
                    </a:lnTo>
                    <a:lnTo>
                      <a:pt x="225" y="50"/>
                    </a:lnTo>
                    <a:lnTo>
                      <a:pt x="228" y="42"/>
                    </a:lnTo>
                    <a:lnTo>
                      <a:pt x="232" y="36"/>
                    </a:lnTo>
                    <a:lnTo>
                      <a:pt x="236" y="31"/>
                    </a:lnTo>
                    <a:lnTo>
                      <a:pt x="238" y="23"/>
                    </a:lnTo>
                    <a:lnTo>
                      <a:pt x="240" y="16"/>
                    </a:lnTo>
                    <a:lnTo>
                      <a:pt x="242" y="8"/>
                    </a:lnTo>
                    <a:lnTo>
                      <a:pt x="245" y="0"/>
                    </a:lnTo>
                    <a:lnTo>
                      <a:pt x="245" y="4"/>
                    </a:lnTo>
                    <a:lnTo>
                      <a:pt x="245" y="8"/>
                    </a:lnTo>
                    <a:lnTo>
                      <a:pt x="245" y="14"/>
                    </a:lnTo>
                    <a:lnTo>
                      <a:pt x="245" y="19"/>
                    </a:lnTo>
                    <a:lnTo>
                      <a:pt x="245" y="27"/>
                    </a:lnTo>
                    <a:lnTo>
                      <a:pt x="245" y="31"/>
                    </a:lnTo>
                    <a:lnTo>
                      <a:pt x="245" y="36"/>
                    </a:lnTo>
                    <a:lnTo>
                      <a:pt x="245" y="40"/>
                    </a:lnTo>
                    <a:lnTo>
                      <a:pt x="245" y="46"/>
                    </a:lnTo>
                    <a:lnTo>
                      <a:pt x="244" y="50"/>
                    </a:lnTo>
                    <a:lnTo>
                      <a:pt x="242" y="55"/>
                    </a:lnTo>
                    <a:lnTo>
                      <a:pt x="242" y="59"/>
                    </a:lnTo>
                    <a:lnTo>
                      <a:pt x="240" y="65"/>
                    </a:lnTo>
                    <a:lnTo>
                      <a:pt x="238" y="71"/>
                    </a:lnTo>
                    <a:lnTo>
                      <a:pt x="236" y="74"/>
                    </a:lnTo>
                    <a:lnTo>
                      <a:pt x="234" y="80"/>
                    </a:lnTo>
                    <a:lnTo>
                      <a:pt x="232" y="86"/>
                    </a:lnTo>
                    <a:lnTo>
                      <a:pt x="228" y="92"/>
                    </a:lnTo>
                    <a:lnTo>
                      <a:pt x="225" y="95"/>
                    </a:lnTo>
                    <a:lnTo>
                      <a:pt x="221" y="101"/>
                    </a:lnTo>
                    <a:lnTo>
                      <a:pt x="219" y="107"/>
                    </a:lnTo>
                    <a:lnTo>
                      <a:pt x="213" y="111"/>
                    </a:lnTo>
                    <a:lnTo>
                      <a:pt x="209" y="114"/>
                    </a:lnTo>
                    <a:lnTo>
                      <a:pt x="204" y="120"/>
                    </a:lnTo>
                    <a:lnTo>
                      <a:pt x="200" y="124"/>
                    </a:lnTo>
                    <a:lnTo>
                      <a:pt x="192" y="128"/>
                    </a:lnTo>
                    <a:lnTo>
                      <a:pt x="187" y="132"/>
                    </a:lnTo>
                    <a:lnTo>
                      <a:pt x="181" y="135"/>
                    </a:lnTo>
                    <a:lnTo>
                      <a:pt x="175" y="139"/>
                    </a:lnTo>
                    <a:lnTo>
                      <a:pt x="169" y="141"/>
                    </a:lnTo>
                    <a:lnTo>
                      <a:pt x="164" y="145"/>
                    </a:lnTo>
                    <a:lnTo>
                      <a:pt x="158" y="147"/>
                    </a:lnTo>
                    <a:lnTo>
                      <a:pt x="152" y="149"/>
                    </a:lnTo>
                    <a:lnTo>
                      <a:pt x="145" y="151"/>
                    </a:lnTo>
                    <a:lnTo>
                      <a:pt x="139" y="152"/>
                    </a:lnTo>
                    <a:lnTo>
                      <a:pt x="133" y="152"/>
                    </a:lnTo>
                    <a:lnTo>
                      <a:pt x="128" y="154"/>
                    </a:lnTo>
                    <a:lnTo>
                      <a:pt x="122" y="154"/>
                    </a:lnTo>
                    <a:lnTo>
                      <a:pt x="116" y="154"/>
                    </a:lnTo>
                    <a:lnTo>
                      <a:pt x="111" y="154"/>
                    </a:lnTo>
                    <a:lnTo>
                      <a:pt x="105" y="156"/>
                    </a:lnTo>
                    <a:lnTo>
                      <a:pt x="99" y="154"/>
                    </a:lnTo>
                    <a:lnTo>
                      <a:pt x="92" y="154"/>
                    </a:lnTo>
                    <a:lnTo>
                      <a:pt x="86" y="154"/>
                    </a:lnTo>
                    <a:lnTo>
                      <a:pt x="82" y="152"/>
                    </a:lnTo>
                    <a:lnTo>
                      <a:pt x="74" y="151"/>
                    </a:lnTo>
                    <a:lnTo>
                      <a:pt x="71" y="151"/>
                    </a:lnTo>
                    <a:lnTo>
                      <a:pt x="65" y="149"/>
                    </a:lnTo>
                    <a:lnTo>
                      <a:pt x="59" y="147"/>
                    </a:lnTo>
                    <a:lnTo>
                      <a:pt x="54" y="143"/>
                    </a:lnTo>
                    <a:lnTo>
                      <a:pt x="50" y="141"/>
                    </a:lnTo>
                    <a:lnTo>
                      <a:pt x="44" y="139"/>
                    </a:lnTo>
                    <a:lnTo>
                      <a:pt x="40" y="137"/>
                    </a:lnTo>
                    <a:lnTo>
                      <a:pt x="35" y="133"/>
                    </a:lnTo>
                    <a:lnTo>
                      <a:pt x="31" y="130"/>
                    </a:lnTo>
                    <a:lnTo>
                      <a:pt x="25" y="128"/>
                    </a:lnTo>
                    <a:lnTo>
                      <a:pt x="21" y="124"/>
                    </a:lnTo>
                    <a:lnTo>
                      <a:pt x="17" y="120"/>
                    </a:lnTo>
                    <a:lnTo>
                      <a:pt x="14" y="116"/>
                    </a:lnTo>
                    <a:lnTo>
                      <a:pt x="10" y="113"/>
                    </a:lnTo>
                    <a:lnTo>
                      <a:pt x="8" y="109"/>
                    </a:lnTo>
                    <a:lnTo>
                      <a:pt x="6" y="105"/>
                    </a:lnTo>
                    <a:lnTo>
                      <a:pt x="4" y="101"/>
                    </a:lnTo>
                    <a:lnTo>
                      <a:pt x="2" y="97"/>
                    </a:lnTo>
                    <a:lnTo>
                      <a:pt x="2" y="93"/>
                    </a:lnTo>
                    <a:lnTo>
                      <a:pt x="0" y="88"/>
                    </a:lnTo>
                    <a:lnTo>
                      <a:pt x="0" y="84"/>
                    </a:lnTo>
                    <a:lnTo>
                      <a:pt x="0" y="80"/>
                    </a:lnTo>
                    <a:lnTo>
                      <a:pt x="0" y="76"/>
                    </a:lnTo>
                    <a:lnTo>
                      <a:pt x="0" y="73"/>
                    </a:lnTo>
                    <a:lnTo>
                      <a:pt x="2" y="67"/>
                    </a:lnTo>
                    <a:lnTo>
                      <a:pt x="2" y="63"/>
                    </a:lnTo>
                    <a:lnTo>
                      <a:pt x="4" y="59"/>
                    </a:lnTo>
                    <a:lnTo>
                      <a:pt x="6" y="55"/>
                    </a:lnTo>
                    <a:lnTo>
                      <a:pt x="6" y="52"/>
                    </a:lnTo>
                    <a:lnTo>
                      <a:pt x="8" y="48"/>
                    </a:lnTo>
                    <a:lnTo>
                      <a:pt x="10" y="44"/>
                    </a:lnTo>
                    <a:lnTo>
                      <a:pt x="12" y="38"/>
                    </a:lnTo>
                    <a:lnTo>
                      <a:pt x="16" y="33"/>
                    </a:lnTo>
                    <a:lnTo>
                      <a:pt x="17" y="27"/>
                    </a:lnTo>
                    <a:lnTo>
                      <a:pt x="19" y="25"/>
                    </a:lnTo>
                    <a:lnTo>
                      <a:pt x="19" y="21"/>
                    </a:lnTo>
                    <a:lnTo>
                      <a:pt x="21" y="2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37" name="Freeform 80"/>
              <p:cNvSpPr>
                <a:spLocks/>
              </p:cNvSpPr>
              <p:nvPr/>
            </p:nvSpPr>
            <p:spPr bwMode="auto">
              <a:xfrm>
                <a:off x="2300288" y="3965576"/>
                <a:ext cx="95250" cy="207963"/>
              </a:xfrm>
              <a:custGeom>
                <a:avLst/>
                <a:gdLst>
                  <a:gd name="T0" fmla="*/ 2147483646 w 120"/>
                  <a:gd name="T1" fmla="*/ 2147483646 h 262"/>
                  <a:gd name="T2" fmla="*/ 2147483646 w 120"/>
                  <a:gd name="T3" fmla="*/ 2147483646 h 262"/>
                  <a:gd name="T4" fmla="*/ 2147483646 w 120"/>
                  <a:gd name="T5" fmla="*/ 2147483646 h 262"/>
                  <a:gd name="T6" fmla="*/ 2147483646 w 120"/>
                  <a:gd name="T7" fmla="*/ 2147483646 h 262"/>
                  <a:gd name="T8" fmla="*/ 2147483646 w 120"/>
                  <a:gd name="T9" fmla="*/ 2147483646 h 262"/>
                  <a:gd name="T10" fmla="*/ 2147483646 w 120"/>
                  <a:gd name="T11" fmla="*/ 2147483646 h 262"/>
                  <a:gd name="T12" fmla="*/ 2147483646 w 120"/>
                  <a:gd name="T13" fmla="*/ 2147483646 h 262"/>
                  <a:gd name="T14" fmla="*/ 2147483646 w 120"/>
                  <a:gd name="T15" fmla="*/ 2147483646 h 262"/>
                  <a:gd name="T16" fmla="*/ 2147483646 w 120"/>
                  <a:gd name="T17" fmla="*/ 2147483646 h 262"/>
                  <a:gd name="T18" fmla="*/ 2147483646 w 120"/>
                  <a:gd name="T19" fmla="*/ 2147483646 h 262"/>
                  <a:gd name="T20" fmla="*/ 2147483646 w 120"/>
                  <a:gd name="T21" fmla="*/ 2147483646 h 262"/>
                  <a:gd name="T22" fmla="*/ 2147483646 w 120"/>
                  <a:gd name="T23" fmla="*/ 2147483646 h 262"/>
                  <a:gd name="T24" fmla="*/ 2147483646 w 120"/>
                  <a:gd name="T25" fmla="*/ 2147483646 h 262"/>
                  <a:gd name="T26" fmla="*/ 2147483646 w 120"/>
                  <a:gd name="T27" fmla="*/ 2147483646 h 262"/>
                  <a:gd name="T28" fmla="*/ 2147483646 w 120"/>
                  <a:gd name="T29" fmla="*/ 2147483646 h 262"/>
                  <a:gd name="T30" fmla="*/ 2147483646 w 120"/>
                  <a:gd name="T31" fmla="*/ 2147483646 h 262"/>
                  <a:gd name="T32" fmla="*/ 2147483646 w 120"/>
                  <a:gd name="T33" fmla="*/ 2147483646 h 262"/>
                  <a:gd name="T34" fmla="*/ 2147483646 w 120"/>
                  <a:gd name="T35" fmla="*/ 2147483646 h 262"/>
                  <a:gd name="T36" fmla="*/ 2147483646 w 120"/>
                  <a:gd name="T37" fmla="*/ 2147483646 h 262"/>
                  <a:gd name="T38" fmla="*/ 2147483646 w 120"/>
                  <a:gd name="T39" fmla="*/ 2147483646 h 262"/>
                  <a:gd name="T40" fmla="*/ 2147483646 w 120"/>
                  <a:gd name="T41" fmla="*/ 2147483646 h 262"/>
                  <a:gd name="T42" fmla="*/ 2147483646 w 120"/>
                  <a:gd name="T43" fmla="*/ 2147483646 h 262"/>
                  <a:gd name="T44" fmla="*/ 2147483646 w 120"/>
                  <a:gd name="T45" fmla="*/ 2147483646 h 262"/>
                  <a:gd name="T46" fmla="*/ 2147483646 w 120"/>
                  <a:gd name="T47" fmla="*/ 2147483646 h 262"/>
                  <a:gd name="T48" fmla="*/ 2147483646 w 120"/>
                  <a:gd name="T49" fmla="*/ 2147483646 h 262"/>
                  <a:gd name="T50" fmla="*/ 2147483646 w 120"/>
                  <a:gd name="T51" fmla="*/ 2147483646 h 262"/>
                  <a:gd name="T52" fmla="*/ 2147483646 w 120"/>
                  <a:gd name="T53" fmla="*/ 2147483646 h 262"/>
                  <a:gd name="T54" fmla="*/ 0 w 120"/>
                  <a:gd name="T55" fmla="*/ 2147483646 h 262"/>
                  <a:gd name="T56" fmla="*/ 0 w 120"/>
                  <a:gd name="T57" fmla="*/ 2147483646 h 262"/>
                  <a:gd name="T58" fmla="*/ 2147483646 w 120"/>
                  <a:gd name="T59" fmla="*/ 2147483646 h 262"/>
                  <a:gd name="T60" fmla="*/ 2147483646 w 120"/>
                  <a:gd name="T61" fmla="*/ 2147483646 h 262"/>
                  <a:gd name="T62" fmla="*/ 2147483646 w 120"/>
                  <a:gd name="T63" fmla="*/ 2147483646 h 262"/>
                  <a:gd name="T64" fmla="*/ 2147483646 w 120"/>
                  <a:gd name="T65" fmla="*/ 2147483646 h 262"/>
                  <a:gd name="T66" fmla="*/ 2147483646 w 120"/>
                  <a:gd name="T67" fmla="*/ 2147483646 h 262"/>
                  <a:gd name="T68" fmla="*/ 2147483646 w 120"/>
                  <a:gd name="T69" fmla="*/ 2147483646 h 262"/>
                  <a:gd name="T70" fmla="*/ 2147483646 w 120"/>
                  <a:gd name="T71" fmla="*/ 2147483646 h 262"/>
                  <a:gd name="T72" fmla="*/ 2147483646 w 120"/>
                  <a:gd name="T73" fmla="*/ 2147483646 h 262"/>
                  <a:gd name="T74" fmla="*/ 2147483646 w 120"/>
                  <a:gd name="T75" fmla="*/ 2147483646 h 262"/>
                  <a:gd name="T76" fmla="*/ 2147483646 w 120"/>
                  <a:gd name="T77" fmla="*/ 2147483646 h 262"/>
                  <a:gd name="T78" fmla="*/ 2147483646 w 120"/>
                  <a:gd name="T79" fmla="*/ 2147483646 h 262"/>
                  <a:gd name="T80" fmla="*/ 2147483646 w 120"/>
                  <a:gd name="T81" fmla="*/ 2147483646 h 262"/>
                  <a:gd name="T82" fmla="*/ 2147483646 w 120"/>
                  <a:gd name="T83" fmla="*/ 2147483646 h 262"/>
                  <a:gd name="T84" fmla="*/ 2147483646 w 120"/>
                  <a:gd name="T85" fmla="*/ 0 h 2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0"/>
                  <a:gd name="T130" fmla="*/ 0 h 262"/>
                  <a:gd name="T131" fmla="*/ 120 w 120"/>
                  <a:gd name="T132" fmla="*/ 262 h 2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0" h="262">
                    <a:moveTo>
                      <a:pt x="116" y="0"/>
                    </a:moveTo>
                    <a:lnTo>
                      <a:pt x="114" y="0"/>
                    </a:lnTo>
                    <a:lnTo>
                      <a:pt x="112" y="2"/>
                    </a:lnTo>
                    <a:lnTo>
                      <a:pt x="108" y="5"/>
                    </a:lnTo>
                    <a:lnTo>
                      <a:pt x="104" y="11"/>
                    </a:lnTo>
                    <a:lnTo>
                      <a:pt x="103" y="15"/>
                    </a:lnTo>
                    <a:lnTo>
                      <a:pt x="99" y="19"/>
                    </a:lnTo>
                    <a:lnTo>
                      <a:pt x="97" y="23"/>
                    </a:lnTo>
                    <a:lnTo>
                      <a:pt x="93" y="26"/>
                    </a:lnTo>
                    <a:lnTo>
                      <a:pt x="91" y="30"/>
                    </a:lnTo>
                    <a:lnTo>
                      <a:pt x="87" y="36"/>
                    </a:lnTo>
                    <a:lnTo>
                      <a:pt x="84" y="40"/>
                    </a:lnTo>
                    <a:lnTo>
                      <a:pt x="82" y="45"/>
                    </a:lnTo>
                    <a:lnTo>
                      <a:pt x="78" y="49"/>
                    </a:lnTo>
                    <a:lnTo>
                      <a:pt x="74" y="55"/>
                    </a:lnTo>
                    <a:lnTo>
                      <a:pt x="70" y="61"/>
                    </a:lnTo>
                    <a:lnTo>
                      <a:pt x="68" y="66"/>
                    </a:lnTo>
                    <a:lnTo>
                      <a:pt x="65" y="74"/>
                    </a:lnTo>
                    <a:lnTo>
                      <a:pt x="61" y="80"/>
                    </a:lnTo>
                    <a:lnTo>
                      <a:pt x="59" y="85"/>
                    </a:lnTo>
                    <a:lnTo>
                      <a:pt x="57" y="93"/>
                    </a:lnTo>
                    <a:lnTo>
                      <a:pt x="53" y="99"/>
                    </a:lnTo>
                    <a:lnTo>
                      <a:pt x="49" y="106"/>
                    </a:lnTo>
                    <a:lnTo>
                      <a:pt x="47" y="112"/>
                    </a:lnTo>
                    <a:lnTo>
                      <a:pt x="47" y="120"/>
                    </a:lnTo>
                    <a:lnTo>
                      <a:pt x="44" y="127"/>
                    </a:lnTo>
                    <a:lnTo>
                      <a:pt x="44" y="133"/>
                    </a:lnTo>
                    <a:lnTo>
                      <a:pt x="42" y="140"/>
                    </a:lnTo>
                    <a:lnTo>
                      <a:pt x="42" y="148"/>
                    </a:lnTo>
                    <a:lnTo>
                      <a:pt x="40" y="154"/>
                    </a:lnTo>
                    <a:lnTo>
                      <a:pt x="40" y="159"/>
                    </a:lnTo>
                    <a:lnTo>
                      <a:pt x="40" y="165"/>
                    </a:lnTo>
                    <a:lnTo>
                      <a:pt x="42" y="173"/>
                    </a:lnTo>
                    <a:lnTo>
                      <a:pt x="42" y="177"/>
                    </a:lnTo>
                    <a:lnTo>
                      <a:pt x="42" y="182"/>
                    </a:lnTo>
                    <a:lnTo>
                      <a:pt x="42" y="188"/>
                    </a:lnTo>
                    <a:lnTo>
                      <a:pt x="44" y="194"/>
                    </a:lnTo>
                    <a:lnTo>
                      <a:pt x="46" y="197"/>
                    </a:lnTo>
                    <a:lnTo>
                      <a:pt x="47" y="203"/>
                    </a:lnTo>
                    <a:lnTo>
                      <a:pt x="49" y="207"/>
                    </a:lnTo>
                    <a:lnTo>
                      <a:pt x="51" y="211"/>
                    </a:lnTo>
                    <a:lnTo>
                      <a:pt x="55" y="215"/>
                    </a:lnTo>
                    <a:lnTo>
                      <a:pt x="57" y="218"/>
                    </a:lnTo>
                    <a:lnTo>
                      <a:pt x="59" y="222"/>
                    </a:lnTo>
                    <a:lnTo>
                      <a:pt x="63" y="226"/>
                    </a:lnTo>
                    <a:lnTo>
                      <a:pt x="68" y="232"/>
                    </a:lnTo>
                    <a:lnTo>
                      <a:pt x="76" y="237"/>
                    </a:lnTo>
                    <a:lnTo>
                      <a:pt x="82" y="241"/>
                    </a:lnTo>
                    <a:lnTo>
                      <a:pt x="89" y="247"/>
                    </a:lnTo>
                    <a:lnTo>
                      <a:pt x="93" y="249"/>
                    </a:lnTo>
                    <a:lnTo>
                      <a:pt x="97" y="251"/>
                    </a:lnTo>
                    <a:lnTo>
                      <a:pt x="101" y="253"/>
                    </a:lnTo>
                    <a:lnTo>
                      <a:pt x="104" y="255"/>
                    </a:lnTo>
                    <a:lnTo>
                      <a:pt x="108" y="256"/>
                    </a:lnTo>
                    <a:lnTo>
                      <a:pt x="112" y="258"/>
                    </a:lnTo>
                    <a:lnTo>
                      <a:pt x="116" y="260"/>
                    </a:lnTo>
                    <a:lnTo>
                      <a:pt x="120" y="262"/>
                    </a:lnTo>
                    <a:lnTo>
                      <a:pt x="118" y="262"/>
                    </a:lnTo>
                    <a:lnTo>
                      <a:pt x="114" y="262"/>
                    </a:lnTo>
                    <a:lnTo>
                      <a:pt x="110" y="262"/>
                    </a:lnTo>
                    <a:lnTo>
                      <a:pt x="106" y="262"/>
                    </a:lnTo>
                    <a:lnTo>
                      <a:pt x="103" y="262"/>
                    </a:lnTo>
                    <a:lnTo>
                      <a:pt x="99" y="262"/>
                    </a:lnTo>
                    <a:lnTo>
                      <a:pt x="93" y="260"/>
                    </a:lnTo>
                    <a:lnTo>
                      <a:pt x="87" y="260"/>
                    </a:lnTo>
                    <a:lnTo>
                      <a:pt x="82" y="260"/>
                    </a:lnTo>
                    <a:lnTo>
                      <a:pt x="76" y="258"/>
                    </a:lnTo>
                    <a:lnTo>
                      <a:pt x="70" y="256"/>
                    </a:lnTo>
                    <a:lnTo>
                      <a:pt x="65" y="256"/>
                    </a:lnTo>
                    <a:lnTo>
                      <a:pt x="59" y="255"/>
                    </a:lnTo>
                    <a:lnTo>
                      <a:pt x="53" y="253"/>
                    </a:lnTo>
                    <a:lnTo>
                      <a:pt x="47" y="249"/>
                    </a:lnTo>
                    <a:lnTo>
                      <a:pt x="42" y="247"/>
                    </a:lnTo>
                    <a:lnTo>
                      <a:pt x="34" y="243"/>
                    </a:lnTo>
                    <a:lnTo>
                      <a:pt x="30" y="241"/>
                    </a:lnTo>
                    <a:lnTo>
                      <a:pt x="25" y="237"/>
                    </a:lnTo>
                    <a:lnTo>
                      <a:pt x="19" y="232"/>
                    </a:lnTo>
                    <a:lnTo>
                      <a:pt x="15" y="228"/>
                    </a:lnTo>
                    <a:lnTo>
                      <a:pt x="11" y="222"/>
                    </a:lnTo>
                    <a:lnTo>
                      <a:pt x="8" y="215"/>
                    </a:lnTo>
                    <a:lnTo>
                      <a:pt x="6" y="209"/>
                    </a:lnTo>
                    <a:lnTo>
                      <a:pt x="2" y="201"/>
                    </a:lnTo>
                    <a:lnTo>
                      <a:pt x="2" y="196"/>
                    </a:lnTo>
                    <a:lnTo>
                      <a:pt x="0" y="190"/>
                    </a:lnTo>
                    <a:lnTo>
                      <a:pt x="0" y="186"/>
                    </a:lnTo>
                    <a:lnTo>
                      <a:pt x="0" y="180"/>
                    </a:lnTo>
                    <a:lnTo>
                      <a:pt x="0" y="177"/>
                    </a:lnTo>
                    <a:lnTo>
                      <a:pt x="0" y="171"/>
                    </a:lnTo>
                    <a:lnTo>
                      <a:pt x="2" y="167"/>
                    </a:lnTo>
                    <a:lnTo>
                      <a:pt x="2" y="161"/>
                    </a:lnTo>
                    <a:lnTo>
                      <a:pt x="4" y="158"/>
                    </a:lnTo>
                    <a:lnTo>
                      <a:pt x="4" y="152"/>
                    </a:lnTo>
                    <a:lnTo>
                      <a:pt x="6" y="146"/>
                    </a:lnTo>
                    <a:lnTo>
                      <a:pt x="6" y="140"/>
                    </a:lnTo>
                    <a:lnTo>
                      <a:pt x="8" y="137"/>
                    </a:lnTo>
                    <a:lnTo>
                      <a:pt x="9" y="131"/>
                    </a:lnTo>
                    <a:lnTo>
                      <a:pt x="9" y="125"/>
                    </a:lnTo>
                    <a:lnTo>
                      <a:pt x="11" y="121"/>
                    </a:lnTo>
                    <a:lnTo>
                      <a:pt x="15" y="116"/>
                    </a:lnTo>
                    <a:lnTo>
                      <a:pt x="15" y="112"/>
                    </a:lnTo>
                    <a:lnTo>
                      <a:pt x="17" y="106"/>
                    </a:lnTo>
                    <a:lnTo>
                      <a:pt x="19" y="102"/>
                    </a:lnTo>
                    <a:lnTo>
                      <a:pt x="23" y="99"/>
                    </a:lnTo>
                    <a:lnTo>
                      <a:pt x="25" y="95"/>
                    </a:lnTo>
                    <a:lnTo>
                      <a:pt x="27" y="91"/>
                    </a:lnTo>
                    <a:lnTo>
                      <a:pt x="28" y="87"/>
                    </a:lnTo>
                    <a:lnTo>
                      <a:pt x="30" y="83"/>
                    </a:lnTo>
                    <a:lnTo>
                      <a:pt x="32" y="80"/>
                    </a:lnTo>
                    <a:lnTo>
                      <a:pt x="34" y="74"/>
                    </a:lnTo>
                    <a:lnTo>
                      <a:pt x="36" y="72"/>
                    </a:lnTo>
                    <a:lnTo>
                      <a:pt x="38" y="68"/>
                    </a:lnTo>
                    <a:lnTo>
                      <a:pt x="44" y="63"/>
                    </a:lnTo>
                    <a:lnTo>
                      <a:pt x="49" y="55"/>
                    </a:lnTo>
                    <a:lnTo>
                      <a:pt x="53" y="49"/>
                    </a:lnTo>
                    <a:lnTo>
                      <a:pt x="59" y="43"/>
                    </a:lnTo>
                    <a:lnTo>
                      <a:pt x="63" y="38"/>
                    </a:lnTo>
                    <a:lnTo>
                      <a:pt x="68" y="34"/>
                    </a:lnTo>
                    <a:lnTo>
                      <a:pt x="72" y="30"/>
                    </a:lnTo>
                    <a:lnTo>
                      <a:pt x="76" y="26"/>
                    </a:lnTo>
                    <a:lnTo>
                      <a:pt x="80" y="21"/>
                    </a:lnTo>
                    <a:lnTo>
                      <a:pt x="85" y="19"/>
                    </a:lnTo>
                    <a:lnTo>
                      <a:pt x="89" y="15"/>
                    </a:lnTo>
                    <a:lnTo>
                      <a:pt x="93" y="11"/>
                    </a:lnTo>
                    <a:lnTo>
                      <a:pt x="97" y="9"/>
                    </a:lnTo>
                    <a:lnTo>
                      <a:pt x="101" y="7"/>
                    </a:lnTo>
                    <a:lnTo>
                      <a:pt x="106" y="4"/>
                    </a:lnTo>
                    <a:lnTo>
                      <a:pt x="110" y="2"/>
                    </a:lnTo>
                    <a:lnTo>
                      <a:pt x="114" y="0"/>
                    </a:lnTo>
                    <a:lnTo>
                      <a:pt x="116"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38" name="Freeform 81"/>
              <p:cNvSpPr>
                <a:spLocks/>
              </p:cNvSpPr>
              <p:nvPr/>
            </p:nvSpPr>
            <p:spPr bwMode="auto">
              <a:xfrm>
                <a:off x="2663826" y="4102101"/>
                <a:ext cx="165100" cy="73025"/>
              </a:xfrm>
              <a:custGeom>
                <a:avLst/>
                <a:gdLst>
                  <a:gd name="T0" fmla="*/ 2147483646 w 207"/>
                  <a:gd name="T1" fmla="*/ 2147483646 h 91"/>
                  <a:gd name="T2" fmla="*/ 2147483646 w 207"/>
                  <a:gd name="T3" fmla="*/ 2147483646 h 91"/>
                  <a:gd name="T4" fmla="*/ 2147483646 w 207"/>
                  <a:gd name="T5" fmla="*/ 2147483646 h 91"/>
                  <a:gd name="T6" fmla="*/ 2147483646 w 207"/>
                  <a:gd name="T7" fmla="*/ 2147483646 h 91"/>
                  <a:gd name="T8" fmla="*/ 2147483646 w 207"/>
                  <a:gd name="T9" fmla="*/ 2147483646 h 91"/>
                  <a:gd name="T10" fmla="*/ 2147483646 w 207"/>
                  <a:gd name="T11" fmla="*/ 2147483646 h 91"/>
                  <a:gd name="T12" fmla="*/ 2147483646 w 207"/>
                  <a:gd name="T13" fmla="*/ 2147483646 h 91"/>
                  <a:gd name="T14" fmla="*/ 2147483646 w 207"/>
                  <a:gd name="T15" fmla="*/ 2147483646 h 91"/>
                  <a:gd name="T16" fmla="*/ 2147483646 w 207"/>
                  <a:gd name="T17" fmla="*/ 2147483646 h 91"/>
                  <a:gd name="T18" fmla="*/ 2147483646 w 207"/>
                  <a:gd name="T19" fmla="*/ 2147483646 h 91"/>
                  <a:gd name="T20" fmla="*/ 2147483646 w 207"/>
                  <a:gd name="T21" fmla="*/ 2147483646 h 91"/>
                  <a:gd name="T22" fmla="*/ 2147483646 w 207"/>
                  <a:gd name="T23" fmla="*/ 2147483646 h 91"/>
                  <a:gd name="T24" fmla="*/ 2147483646 w 207"/>
                  <a:gd name="T25" fmla="*/ 2147483646 h 91"/>
                  <a:gd name="T26" fmla="*/ 2147483646 w 207"/>
                  <a:gd name="T27" fmla="*/ 2147483646 h 91"/>
                  <a:gd name="T28" fmla="*/ 2147483646 w 207"/>
                  <a:gd name="T29" fmla="*/ 2147483646 h 91"/>
                  <a:gd name="T30" fmla="*/ 2147483646 w 207"/>
                  <a:gd name="T31" fmla="*/ 2147483646 h 91"/>
                  <a:gd name="T32" fmla="*/ 2147483646 w 207"/>
                  <a:gd name="T33" fmla="*/ 2147483646 h 91"/>
                  <a:gd name="T34" fmla="*/ 0 w 207"/>
                  <a:gd name="T35" fmla="*/ 2147483646 h 91"/>
                  <a:gd name="T36" fmla="*/ 0 w 207"/>
                  <a:gd name="T37" fmla="*/ 2147483646 h 91"/>
                  <a:gd name="T38" fmla="*/ 2147483646 w 207"/>
                  <a:gd name="T39" fmla="*/ 2147483646 h 91"/>
                  <a:gd name="T40" fmla="*/ 2147483646 w 207"/>
                  <a:gd name="T41" fmla="*/ 2147483646 h 91"/>
                  <a:gd name="T42" fmla="*/ 2147483646 w 207"/>
                  <a:gd name="T43" fmla="*/ 2147483646 h 91"/>
                  <a:gd name="T44" fmla="*/ 2147483646 w 207"/>
                  <a:gd name="T45" fmla="*/ 2147483646 h 91"/>
                  <a:gd name="T46" fmla="*/ 2147483646 w 207"/>
                  <a:gd name="T47" fmla="*/ 2147483646 h 91"/>
                  <a:gd name="T48" fmla="*/ 2147483646 w 207"/>
                  <a:gd name="T49" fmla="*/ 2147483646 h 91"/>
                  <a:gd name="T50" fmla="*/ 2147483646 w 207"/>
                  <a:gd name="T51" fmla="*/ 2147483646 h 91"/>
                  <a:gd name="T52" fmla="*/ 2147483646 w 207"/>
                  <a:gd name="T53" fmla="*/ 2147483646 h 91"/>
                  <a:gd name="T54" fmla="*/ 2147483646 w 207"/>
                  <a:gd name="T55" fmla="*/ 2147483646 h 91"/>
                  <a:gd name="T56" fmla="*/ 2147483646 w 207"/>
                  <a:gd name="T57" fmla="*/ 2147483646 h 91"/>
                  <a:gd name="T58" fmla="*/ 2147483646 w 207"/>
                  <a:gd name="T59" fmla="*/ 2147483646 h 91"/>
                  <a:gd name="T60" fmla="*/ 2147483646 w 207"/>
                  <a:gd name="T61" fmla="*/ 2147483646 h 91"/>
                  <a:gd name="T62" fmla="*/ 2147483646 w 207"/>
                  <a:gd name="T63" fmla="*/ 2147483646 h 91"/>
                  <a:gd name="T64" fmla="*/ 2147483646 w 207"/>
                  <a:gd name="T65" fmla="*/ 2147483646 h 91"/>
                  <a:gd name="T66" fmla="*/ 2147483646 w 207"/>
                  <a:gd name="T67" fmla="*/ 2147483646 h 91"/>
                  <a:gd name="T68" fmla="*/ 2147483646 w 207"/>
                  <a:gd name="T69" fmla="*/ 0 h 91"/>
                  <a:gd name="T70" fmla="*/ 2147483646 w 207"/>
                  <a:gd name="T71" fmla="*/ 0 h 91"/>
                  <a:gd name="T72" fmla="*/ 2147483646 w 207"/>
                  <a:gd name="T73" fmla="*/ 2147483646 h 91"/>
                  <a:gd name="T74" fmla="*/ 2147483646 w 207"/>
                  <a:gd name="T75" fmla="*/ 2147483646 h 91"/>
                  <a:gd name="T76" fmla="*/ 2147483646 w 207"/>
                  <a:gd name="T77" fmla="*/ 2147483646 h 91"/>
                  <a:gd name="T78" fmla="*/ 2147483646 w 207"/>
                  <a:gd name="T79" fmla="*/ 2147483646 h 9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91"/>
                  <a:gd name="T122" fmla="*/ 207 w 207"/>
                  <a:gd name="T123" fmla="*/ 91 h 9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91">
                    <a:moveTo>
                      <a:pt x="207" y="4"/>
                    </a:moveTo>
                    <a:lnTo>
                      <a:pt x="203" y="4"/>
                    </a:lnTo>
                    <a:lnTo>
                      <a:pt x="201" y="4"/>
                    </a:lnTo>
                    <a:lnTo>
                      <a:pt x="197" y="4"/>
                    </a:lnTo>
                    <a:lnTo>
                      <a:pt x="194" y="4"/>
                    </a:lnTo>
                    <a:lnTo>
                      <a:pt x="192" y="5"/>
                    </a:lnTo>
                    <a:lnTo>
                      <a:pt x="188" y="5"/>
                    </a:lnTo>
                    <a:lnTo>
                      <a:pt x="182" y="5"/>
                    </a:lnTo>
                    <a:lnTo>
                      <a:pt x="177" y="5"/>
                    </a:lnTo>
                    <a:lnTo>
                      <a:pt x="173" y="7"/>
                    </a:lnTo>
                    <a:lnTo>
                      <a:pt x="167" y="7"/>
                    </a:lnTo>
                    <a:lnTo>
                      <a:pt x="161" y="9"/>
                    </a:lnTo>
                    <a:lnTo>
                      <a:pt x="156" y="11"/>
                    </a:lnTo>
                    <a:lnTo>
                      <a:pt x="150" y="13"/>
                    </a:lnTo>
                    <a:lnTo>
                      <a:pt x="144" y="15"/>
                    </a:lnTo>
                    <a:lnTo>
                      <a:pt x="137" y="17"/>
                    </a:lnTo>
                    <a:lnTo>
                      <a:pt x="131" y="19"/>
                    </a:lnTo>
                    <a:lnTo>
                      <a:pt x="123" y="21"/>
                    </a:lnTo>
                    <a:lnTo>
                      <a:pt x="118" y="24"/>
                    </a:lnTo>
                    <a:lnTo>
                      <a:pt x="110" y="28"/>
                    </a:lnTo>
                    <a:lnTo>
                      <a:pt x="102" y="32"/>
                    </a:lnTo>
                    <a:lnTo>
                      <a:pt x="97" y="36"/>
                    </a:lnTo>
                    <a:lnTo>
                      <a:pt x="91" y="40"/>
                    </a:lnTo>
                    <a:lnTo>
                      <a:pt x="83" y="43"/>
                    </a:lnTo>
                    <a:lnTo>
                      <a:pt x="78" y="49"/>
                    </a:lnTo>
                    <a:lnTo>
                      <a:pt x="72" y="55"/>
                    </a:lnTo>
                    <a:lnTo>
                      <a:pt x="66" y="61"/>
                    </a:lnTo>
                    <a:lnTo>
                      <a:pt x="59" y="66"/>
                    </a:lnTo>
                    <a:lnTo>
                      <a:pt x="55" y="74"/>
                    </a:lnTo>
                    <a:lnTo>
                      <a:pt x="51" y="76"/>
                    </a:lnTo>
                    <a:lnTo>
                      <a:pt x="49" y="82"/>
                    </a:lnTo>
                    <a:lnTo>
                      <a:pt x="47" y="85"/>
                    </a:lnTo>
                    <a:lnTo>
                      <a:pt x="45" y="89"/>
                    </a:lnTo>
                    <a:lnTo>
                      <a:pt x="2" y="91"/>
                    </a:lnTo>
                    <a:lnTo>
                      <a:pt x="0" y="89"/>
                    </a:lnTo>
                    <a:lnTo>
                      <a:pt x="0" y="85"/>
                    </a:lnTo>
                    <a:lnTo>
                      <a:pt x="0" y="82"/>
                    </a:lnTo>
                    <a:lnTo>
                      <a:pt x="0" y="80"/>
                    </a:lnTo>
                    <a:lnTo>
                      <a:pt x="0" y="76"/>
                    </a:lnTo>
                    <a:lnTo>
                      <a:pt x="4" y="72"/>
                    </a:lnTo>
                    <a:lnTo>
                      <a:pt x="6" y="66"/>
                    </a:lnTo>
                    <a:lnTo>
                      <a:pt x="7" y="61"/>
                    </a:lnTo>
                    <a:lnTo>
                      <a:pt x="13" y="57"/>
                    </a:lnTo>
                    <a:lnTo>
                      <a:pt x="19" y="51"/>
                    </a:lnTo>
                    <a:lnTo>
                      <a:pt x="23" y="47"/>
                    </a:lnTo>
                    <a:lnTo>
                      <a:pt x="26" y="43"/>
                    </a:lnTo>
                    <a:lnTo>
                      <a:pt x="30" y="40"/>
                    </a:lnTo>
                    <a:lnTo>
                      <a:pt x="34" y="38"/>
                    </a:lnTo>
                    <a:lnTo>
                      <a:pt x="40" y="34"/>
                    </a:lnTo>
                    <a:lnTo>
                      <a:pt x="45" y="32"/>
                    </a:lnTo>
                    <a:lnTo>
                      <a:pt x="51" y="28"/>
                    </a:lnTo>
                    <a:lnTo>
                      <a:pt x="59" y="24"/>
                    </a:lnTo>
                    <a:lnTo>
                      <a:pt x="64" y="21"/>
                    </a:lnTo>
                    <a:lnTo>
                      <a:pt x="72" y="19"/>
                    </a:lnTo>
                    <a:lnTo>
                      <a:pt x="78" y="15"/>
                    </a:lnTo>
                    <a:lnTo>
                      <a:pt x="83" y="13"/>
                    </a:lnTo>
                    <a:lnTo>
                      <a:pt x="91" y="11"/>
                    </a:lnTo>
                    <a:lnTo>
                      <a:pt x="97" y="9"/>
                    </a:lnTo>
                    <a:lnTo>
                      <a:pt x="104" y="7"/>
                    </a:lnTo>
                    <a:lnTo>
                      <a:pt x="110" y="7"/>
                    </a:lnTo>
                    <a:lnTo>
                      <a:pt x="118" y="5"/>
                    </a:lnTo>
                    <a:lnTo>
                      <a:pt x="123" y="4"/>
                    </a:lnTo>
                    <a:lnTo>
                      <a:pt x="129" y="4"/>
                    </a:lnTo>
                    <a:lnTo>
                      <a:pt x="135" y="2"/>
                    </a:lnTo>
                    <a:lnTo>
                      <a:pt x="140" y="2"/>
                    </a:lnTo>
                    <a:lnTo>
                      <a:pt x="148" y="2"/>
                    </a:lnTo>
                    <a:lnTo>
                      <a:pt x="152" y="2"/>
                    </a:lnTo>
                    <a:lnTo>
                      <a:pt x="159" y="2"/>
                    </a:lnTo>
                    <a:lnTo>
                      <a:pt x="163" y="0"/>
                    </a:lnTo>
                    <a:lnTo>
                      <a:pt x="169" y="0"/>
                    </a:lnTo>
                    <a:lnTo>
                      <a:pt x="173" y="0"/>
                    </a:lnTo>
                    <a:lnTo>
                      <a:pt x="177" y="0"/>
                    </a:lnTo>
                    <a:lnTo>
                      <a:pt x="180" y="0"/>
                    </a:lnTo>
                    <a:lnTo>
                      <a:pt x="184" y="2"/>
                    </a:lnTo>
                    <a:lnTo>
                      <a:pt x="188" y="2"/>
                    </a:lnTo>
                    <a:lnTo>
                      <a:pt x="192" y="2"/>
                    </a:lnTo>
                    <a:lnTo>
                      <a:pt x="197" y="2"/>
                    </a:lnTo>
                    <a:lnTo>
                      <a:pt x="201" y="4"/>
                    </a:lnTo>
                    <a:lnTo>
                      <a:pt x="205" y="4"/>
                    </a:lnTo>
                    <a:lnTo>
                      <a:pt x="207" y="4"/>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39" name="Freeform 82"/>
              <p:cNvSpPr>
                <a:spLocks/>
              </p:cNvSpPr>
              <p:nvPr/>
            </p:nvSpPr>
            <p:spPr bwMode="auto">
              <a:xfrm>
                <a:off x="2822576" y="4083051"/>
                <a:ext cx="227013" cy="84138"/>
              </a:xfrm>
              <a:custGeom>
                <a:avLst/>
                <a:gdLst>
                  <a:gd name="T0" fmla="*/ 2147483646 w 285"/>
                  <a:gd name="T1" fmla="*/ 0 h 107"/>
                  <a:gd name="T2" fmla="*/ 2147483646 w 285"/>
                  <a:gd name="T3" fmla="*/ 2147483646 h 107"/>
                  <a:gd name="T4" fmla="*/ 2147483646 w 285"/>
                  <a:gd name="T5" fmla="*/ 2147483646 h 107"/>
                  <a:gd name="T6" fmla="*/ 2147483646 w 285"/>
                  <a:gd name="T7" fmla="*/ 2147483646 h 107"/>
                  <a:gd name="T8" fmla="*/ 2147483646 w 285"/>
                  <a:gd name="T9" fmla="*/ 2147483646 h 107"/>
                  <a:gd name="T10" fmla="*/ 2147483646 w 285"/>
                  <a:gd name="T11" fmla="*/ 2147483646 h 107"/>
                  <a:gd name="T12" fmla="*/ 2147483646 w 285"/>
                  <a:gd name="T13" fmla="*/ 2147483646 h 107"/>
                  <a:gd name="T14" fmla="*/ 2147483646 w 285"/>
                  <a:gd name="T15" fmla="*/ 2147483646 h 107"/>
                  <a:gd name="T16" fmla="*/ 2147483646 w 285"/>
                  <a:gd name="T17" fmla="*/ 2147483646 h 107"/>
                  <a:gd name="T18" fmla="*/ 2147483646 w 285"/>
                  <a:gd name="T19" fmla="*/ 2147483646 h 107"/>
                  <a:gd name="T20" fmla="*/ 2147483646 w 285"/>
                  <a:gd name="T21" fmla="*/ 2147483646 h 107"/>
                  <a:gd name="T22" fmla="*/ 2147483646 w 285"/>
                  <a:gd name="T23" fmla="*/ 2147483646 h 107"/>
                  <a:gd name="T24" fmla="*/ 2147483646 w 285"/>
                  <a:gd name="T25" fmla="*/ 2147483646 h 107"/>
                  <a:gd name="T26" fmla="*/ 2147483646 w 285"/>
                  <a:gd name="T27" fmla="*/ 2147483646 h 107"/>
                  <a:gd name="T28" fmla="*/ 2147483646 w 285"/>
                  <a:gd name="T29" fmla="*/ 2147483646 h 107"/>
                  <a:gd name="T30" fmla="*/ 2147483646 w 285"/>
                  <a:gd name="T31" fmla="*/ 2147483646 h 107"/>
                  <a:gd name="T32" fmla="*/ 2147483646 w 285"/>
                  <a:gd name="T33" fmla="*/ 2147483646 h 107"/>
                  <a:gd name="T34" fmla="*/ 2147483646 w 285"/>
                  <a:gd name="T35" fmla="*/ 2147483646 h 107"/>
                  <a:gd name="T36" fmla="*/ 2147483646 w 285"/>
                  <a:gd name="T37" fmla="*/ 2147483646 h 107"/>
                  <a:gd name="T38" fmla="*/ 2147483646 w 285"/>
                  <a:gd name="T39" fmla="*/ 2147483646 h 107"/>
                  <a:gd name="T40" fmla="*/ 2147483646 w 285"/>
                  <a:gd name="T41" fmla="*/ 2147483646 h 107"/>
                  <a:gd name="T42" fmla="*/ 2147483646 w 285"/>
                  <a:gd name="T43" fmla="*/ 2147483646 h 107"/>
                  <a:gd name="T44" fmla="*/ 2147483646 w 285"/>
                  <a:gd name="T45" fmla="*/ 2147483646 h 107"/>
                  <a:gd name="T46" fmla="*/ 2147483646 w 285"/>
                  <a:gd name="T47" fmla="*/ 2147483646 h 107"/>
                  <a:gd name="T48" fmla="*/ 2147483646 w 285"/>
                  <a:gd name="T49" fmla="*/ 2147483646 h 107"/>
                  <a:gd name="T50" fmla="*/ 2147483646 w 285"/>
                  <a:gd name="T51" fmla="*/ 2147483646 h 107"/>
                  <a:gd name="T52" fmla="*/ 2147483646 w 285"/>
                  <a:gd name="T53" fmla="*/ 2147483646 h 107"/>
                  <a:gd name="T54" fmla="*/ 2147483646 w 285"/>
                  <a:gd name="T55" fmla="*/ 2147483646 h 107"/>
                  <a:gd name="T56" fmla="*/ 2147483646 w 285"/>
                  <a:gd name="T57" fmla="*/ 2147483646 h 107"/>
                  <a:gd name="T58" fmla="*/ 2147483646 w 285"/>
                  <a:gd name="T59" fmla="*/ 2147483646 h 107"/>
                  <a:gd name="T60" fmla="*/ 2147483646 w 285"/>
                  <a:gd name="T61" fmla="*/ 2147483646 h 107"/>
                  <a:gd name="T62" fmla="*/ 2147483646 w 285"/>
                  <a:gd name="T63" fmla="*/ 2147483646 h 107"/>
                  <a:gd name="T64" fmla="*/ 2147483646 w 285"/>
                  <a:gd name="T65" fmla="*/ 2147483646 h 107"/>
                  <a:gd name="T66" fmla="*/ 2147483646 w 285"/>
                  <a:gd name="T67" fmla="*/ 2147483646 h 107"/>
                  <a:gd name="T68" fmla="*/ 2147483646 w 285"/>
                  <a:gd name="T69" fmla="*/ 2147483646 h 107"/>
                  <a:gd name="T70" fmla="*/ 2147483646 w 285"/>
                  <a:gd name="T71" fmla="*/ 2147483646 h 107"/>
                  <a:gd name="T72" fmla="*/ 2147483646 w 285"/>
                  <a:gd name="T73" fmla="*/ 2147483646 h 107"/>
                  <a:gd name="T74" fmla="*/ 2147483646 w 285"/>
                  <a:gd name="T75" fmla="*/ 2147483646 h 107"/>
                  <a:gd name="T76" fmla="*/ 2147483646 w 285"/>
                  <a:gd name="T77" fmla="*/ 2147483646 h 107"/>
                  <a:gd name="T78" fmla="*/ 2147483646 w 285"/>
                  <a:gd name="T79" fmla="*/ 2147483646 h 107"/>
                  <a:gd name="T80" fmla="*/ 2147483646 w 285"/>
                  <a:gd name="T81" fmla="*/ 2147483646 h 107"/>
                  <a:gd name="T82" fmla="*/ 2147483646 w 285"/>
                  <a:gd name="T83" fmla="*/ 2147483646 h 107"/>
                  <a:gd name="T84" fmla="*/ 2147483646 w 285"/>
                  <a:gd name="T85" fmla="*/ 2147483646 h 107"/>
                  <a:gd name="T86" fmla="*/ 2147483646 w 285"/>
                  <a:gd name="T87" fmla="*/ 2147483646 h 107"/>
                  <a:gd name="T88" fmla="*/ 2147483646 w 285"/>
                  <a:gd name="T89" fmla="*/ 2147483646 h 107"/>
                  <a:gd name="T90" fmla="*/ 2147483646 w 285"/>
                  <a:gd name="T91" fmla="*/ 2147483646 h 107"/>
                  <a:gd name="T92" fmla="*/ 2147483646 w 285"/>
                  <a:gd name="T93" fmla="*/ 2147483646 h 107"/>
                  <a:gd name="T94" fmla="*/ 2147483646 w 285"/>
                  <a:gd name="T95" fmla="*/ 2147483646 h 107"/>
                  <a:gd name="T96" fmla="*/ 2147483646 w 285"/>
                  <a:gd name="T97" fmla="*/ 2147483646 h 107"/>
                  <a:gd name="T98" fmla="*/ 2147483646 w 285"/>
                  <a:gd name="T99" fmla="*/ 2147483646 h 107"/>
                  <a:gd name="T100" fmla="*/ 2147483646 w 285"/>
                  <a:gd name="T101" fmla="*/ 2147483646 h 107"/>
                  <a:gd name="T102" fmla="*/ 2147483646 w 285"/>
                  <a:gd name="T103" fmla="*/ 2147483646 h 107"/>
                  <a:gd name="T104" fmla="*/ 2147483646 w 285"/>
                  <a:gd name="T105" fmla="*/ 2147483646 h 107"/>
                  <a:gd name="T106" fmla="*/ 2147483646 w 285"/>
                  <a:gd name="T107" fmla="*/ 2147483646 h 107"/>
                  <a:gd name="T108" fmla="*/ 2147483646 w 285"/>
                  <a:gd name="T109" fmla="*/ 2147483646 h 107"/>
                  <a:gd name="T110" fmla="*/ 2147483646 w 285"/>
                  <a:gd name="T111" fmla="*/ 2147483646 h 107"/>
                  <a:gd name="T112" fmla="*/ 2147483646 w 285"/>
                  <a:gd name="T113" fmla="*/ 2147483646 h 107"/>
                  <a:gd name="T114" fmla="*/ 2147483646 w 285"/>
                  <a:gd name="T115" fmla="*/ 2147483646 h 107"/>
                  <a:gd name="T116" fmla="*/ 2147483646 w 285"/>
                  <a:gd name="T117" fmla="*/ 2147483646 h 107"/>
                  <a:gd name="T118" fmla="*/ 2147483646 w 285"/>
                  <a:gd name="T119" fmla="*/ 2147483646 h 107"/>
                  <a:gd name="T120" fmla="*/ 2147483646 w 285"/>
                  <a:gd name="T121" fmla="*/ 2147483646 h 107"/>
                  <a:gd name="T122" fmla="*/ 2147483646 w 285"/>
                  <a:gd name="T123" fmla="*/ 2147483646 h 107"/>
                  <a:gd name="T124" fmla="*/ 2147483646 w 285"/>
                  <a:gd name="T125" fmla="*/ 0 h 10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5"/>
                  <a:gd name="T190" fmla="*/ 0 h 107"/>
                  <a:gd name="T191" fmla="*/ 285 w 285"/>
                  <a:gd name="T192" fmla="*/ 107 h 10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5" h="107">
                    <a:moveTo>
                      <a:pt x="278" y="0"/>
                    </a:moveTo>
                    <a:lnTo>
                      <a:pt x="278" y="0"/>
                    </a:lnTo>
                    <a:lnTo>
                      <a:pt x="278" y="2"/>
                    </a:lnTo>
                    <a:lnTo>
                      <a:pt x="278" y="4"/>
                    </a:lnTo>
                    <a:lnTo>
                      <a:pt x="278" y="8"/>
                    </a:lnTo>
                    <a:lnTo>
                      <a:pt x="274" y="13"/>
                    </a:lnTo>
                    <a:lnTo>
                      <a:pt x="274" y="17"/>
                    </a:lnTo>
                    <a:lnTo>
                      <a:pt x="270" y="25"/>
                    </a:lnTo>
                    <a:lnTo>
                      <a:pt x="268" y="30"/>
                    </a:lnTo>
                    <a:lnTo>
                      <a:pt x="263" y="36"/>
                    </a:lnTo>
                    <a:lnTo>
                      <a:pt x="257" y="42"/>
                    </a:lnTo>
                    <a:lnTo>
                      <a:pt x="255" y="46"/>
                    </a:lnTo>
                    <a:lnTo>
                      <a:pt x="251" y="48"/>
                    </a:lnTo>
                    <a:lnTo>
                      <a:pt x="247" y="51"/>
                    </a:lnTo>
                    <a:lnTo>
                      <a:pt x="242" y="55"/>
                    </a:lnTo>
                    <a:lnTo>
                      <a:pt x="238" y="57"/>
                    </a:lnTo>
                    <a:lnTo>
                      <a:pt x="232" y="59"/>
                    </a:lnTo>
                    <a:lnTo>
                      <a:pt x="226" y="63"/>
                    </a:lnTo>
                    <a:lnTo>
                      <a:pt x="221" y="65"/>
                    </a:lnTo>
                    <a:lnTo>
                      <a:pt x="215" y="67"/>
                    </a:lnTo>
                    <a:lnTo>
                      <a:pt x="207" y="68"/>
                    </a:lnTo>
                    <a:lnTo>
                      <a:pt x="200" y="70"/>
                    </a:lnTo>
                    <a:lnTo>
                      <a:pt x="194" y="72"/>
                    </a:lnTo>
                    <a:lnTo>
                      <a:pt x="188" y="72"/>
                    </a:lnTo>
                    <a:lnTo>
                      <a:pt x="185" y="72"/>
                    </a:lnTo>
                    <a:lnTo>
                      <a:pt x="181" y="72"/>
                    </a:lnTo>
                    <a:lnTo>
                      <a:pt x="177" y="74"/>
                    </a:lnTo>
                    <a:lnTo>
                      <a:pt x="173" y="74"/>
                    </a:lnTo>
                    <a:lnTo>
                      <a:pt x="169" y="74"/>
                    </a:lnTo>
                    <a:lnTo>
                      <a:pt x="164" y="74"/>
                    </a:lnTo>
                    <a:lnTo>
                      <a:pt x="162" y="76"/>
                    </a:lnTo>
                    <a:lnTo>
                      <a:pt x="156" y="76"/>
                    </a:lnTo>
                    <a:lnTo>
                      <a:pt x="152" y="76"/>
                    </a:lnTo>
                    <a:lnTo>
                      <a:pt x="149" y="76"/>
                    </a:lnTo>
                    <a:lnTo>
                      <a:pt x="147" y="76"/>
                    </a:lnTo>
                    <a:lnTo>
                      <a:pt x="139" y="76"/>
                    </a:lnTo>
                    <a:lnTo>
                      <a:pt x="131" y="76"/>
                    </a:lnTo>
                    <a:lnTo>
                      <a:pt x="124" y="76"/>
                    </a:lnTo>
                    <a:lnTo>
                      <a:pt x="118" y="76"/>
                    </a:lnTo>
                    <a:lnTo>
                      <a:pt x="111" y="76"/>
                    </a:lnTo>
                    <a:lnTo>
                      <a:pt x="103" y="76"/>
                    </a:lnTo>
                    <a:lnTo>
                      <a:pt x="97" y="76"/>
                    </a:lnTo>
                    <a:lnTo>
                      <a:pt x="92" y="76"/>
                    </a:lnTo>
                    <a:lnTo>
                      <a:pt x="84" y="76"/>
                    </a:lnTo>
                    <a:lnTo>
                      <a:pt x="78" y="76"/>
                    </a:lnTo>
                    <a:lnTo>
                      <a:pt x="73" y="76"/>
                    </a:lnTo>
                    <a:lnTo>
                      <a:pt x="67" y="76"/>
                    </a:lnTo>
                    <a:lnTo>
                      <a:pt x="61" y="74"/>
                    </a:lnTo>
                    <a:lnTo>
                      <a:pt x="55" y="74"/>
                    </a:lnTo>
                    <a:lnTo>
                      <a:pt x="50" y="74"/>
                    </a:lnTo>
                    <a:lnTo>
                      <a:pt x="44" y="74"/>
                    </a:lnTo>
                    <a:lnTo>
                      <a:pt x="38" y="74"/>
                    </a:lnTo>
                    <a:lnTo>
                      <a:pt x="35" y="76"/>
                    </a:lnTo>
                    <a:lnTo>
                      <a:pt x="29" y="76"/>
                    </a:lnTo>
                    <a:lnTo>
                      <a:pt x="25" y="76"/>
                    </a:lnTo>
                    <a:lnTo>
                      <a:pt x="21" y="76"/>
                    </a:lnTo>
                    <a:lnTo>
                      <a:pt x="17" y="78"/>
                    </a:lnTo>
                    <a:lnTo>
                      <a:pt x="12" y="78"/>
                    </a:lnTo>
                    <a:lnTo>
                      <a:pt x="8" y="80"/>
                    </a:lnTo>
                    <a:lnTo>
                      <a:pt x="4" y="82"/>
                    </a:lnTo>
                    <a:lnTo>
                      <a:pt x="0" y="84"/>
                    </a:lnTo>
                    <a:lnTo>
                      <a:pt x="2" y="84"/>
                    </a:lnTo>
                    <a:lnTo>
                      <a:pt x="4" y="84"/>
                    </a:lnTo>
                    <a:lnTo>
                      <a:pt x="10" y="84"/>
                    </a:lnTo>
                    <a:lnTo>
                      <a:pt x="14" y="84"/>
                    </a:lnTo>
                    <a:lnTo>
                      <a:pt x="19" y="84"/>
                    </a:lnTo>
                    <a:lnTo>
                      <a:pt x="23" y="84"/>
                    </a:lnTo>
                    <a:lnTo>
                      <a:pt x="27" y="84"/>
                    </a:lnTo>
                    <a:lnTo>
                      <a:pt x="31" y="86"/>
                    </a:lnTo>
                    <a:lnTo>
                      <a:pt x="35" y="86"/>
                    </a:lnTo>
                    <a:lnTo>
                      <a:pt x="38" y="86"/>
                    </a:lnTo>
                    <a:lnTo>
                      <a:pt x="42" y="86"/>
                    </a:lnTo>
                    <a:lnTo>
                      <a:pt x="46" y="88"/>
                    </a:lnTo>
                    <a:lnTo>
                      <a:pt x="52" y="88"/>
                    </a:lnTo>
                    <a:lnTo>
                      <a:pt x="55" y="88"/>
                    </a:lnTo>
                    <a:lnTo>
                      <a:pt x="61" y="89"/>
                    </a:lnTo>
                    <a:lnTo>
                      <a:pt x="67" y="89"/>
                    </a:lnTo>
                    <a:lnTo>
                      <a:pt x="73" y="91"/>
                    </a:lnTo>
                    <a:lnTo>
                      <a:pt x="78" y="91"/>
                    </a:lnTo>
                    <a:lnTo>
                      <a:pt x="84" y="93"/>
                    </a:lnTo>
                    <a:lnTo>
                      <a:pt x="90" y="93"/>
                    </a:lnTo>
                    <a:lnTo>
                      <a:pt x="95" y="95"/>
                    </a:lnTo>
                    <a:lnTo>
                      <a:pt x="103" y="95"/>
                    </a:lnTo>
                    <a:lnTo>
                      <a:pt x="109" y="97"/>
                    </a:lnTo>
                    <a:lnTo>
                      <a:pt x="114" y="97"/>
                    </a:lnTo>
                    <a:lnTo>
                      <a:pt x="122" y="99"/>
                    </a:lnTo>
                    <a:lnTo>
                      <a:pt x="130" y="101"/>
                    </a:lnTo>
                    <a:lnTo>
                      <a:pt x="135" y="101"/>
                    </a:lnTo>
                    <a:lnTo>
                      <a:pt x="143" y="103"/>
                    </a:lnTo>
                    <a:lnTo>
                      <a:pt x="149" y="105"/>
                    </a:lnTo>
                    <a:lnTo>
                      <a:pt x="154" y="105"/>
                    </a:lnTo>
                    <a:lnTo>
                      <a:pt x="160" y="105"/>
                    </a:lnTo>
                    <a:lnTo>
                      <a:pt x="166" y="105"/>
                    </a:lnTo>
                    <a:lnTo>
                      <a:pt x="171" y="107"/>
                    </a:lnTo>
                    <a:lnTo>
                      <a:pt x="177" y="105"/>
                    </a:lnTo>
                    <a:lnTo>
                      <a:pt x="181" y="105"/>
                    </a:lnTo>
                    <a:lnTo>
                      <a:pt x="187" y="105"/>
                    </a:lnTo>
                    <a:lnTo>
                      <a:pt x="192" y="105"/>
                    </a:lnTo>
                    <a:lnTo>
                      <a:pt x="196" y="105"/>
                    </a:lnTo>
                    <a:lnTo>
                      <a:pt x="202" y="105"/>
                    </a:lnTo>
                    <a:lnTo>
                      <a:pt x="206" y="103"/>
                    </a:lnTo>
                    <a:lnTo>
                      <a:pt x="211" y="103"/>
                    </a:lnTo>
                    <a:lnTo>
                      <a:pt x="213" y="101"/>
                    </a:lnTo>
                    <a:lnTo>
                      <a:pt x="217" y="99"/>
                    </a:lnTo>
                    <a:lnTo>
                      <a:pt x="223" y="99"/>
                    </a:lnTo>
                    <a:lnTo>
                      <a:pt x="226" y="97"/>
                    </a:lnTo>
                    <a:lnTo>
                      <a:pt x="232" y="93"/>
                    </a:lnTo>
                    <a:lnTo>
                      <a:pt x="240" y="91"/>
                    </a:lnTo>
                    <a:lnTo>
                      <a:pt x="247" y="86"/>
                    </a:lnTo>
                    <a:lnTo>
                      <a:pt x="255" y="82"/>
                    </a:lnTo>
                    <a:lnTo>
                      <a:pt x="261" y="76"/>
                    </a:lnTo>
                    <a:lnTo>
                      <a:pt x="268" y="72"/>
                    </a:lnTo>
                    <a:lnTo>
                      <a:pt x="272" y="67"/>
                    </a:lnTo>
                    <a:lnTo>
                      <a:pt x="278" y="59"/>
                    </a:lnTo>
                    <a:lnTo>
                      <a:pt x="280" y="53"/>
                    </a:lnTo>
                    <a:lnTo>
                      <a:pt x="282" y="48"/>
                    </a:lnTo>
                    <a:lnTo>
                      <a:pt x="283" y="42"/>
                    </a:lnTo>
                    <a:lnTo>
                      <a:pt x="285" y="36"/>
                    </a:lnTo>
                    <a:lnTo>
                      <a:pt x="285" y="29"/>
                    </a:lnTo>
                    <a:lnTo>
                      <a:pt x="285" y="25"/>
                    </a:lnTo>
                    <a:lnTo>
                      <a:pt x="283" y="17"/>
                    </a:lnTo>
                    <a:lnTo>
                      <a:pt x="283" y="13"/>
                    </a:lnTo>
                    <a:lnTo>
                      <a:pt x="282" y="10"/>
                    </a:lnTo>
                    <a:lnTo>
                      <a:pt x="282" y="6"/>
                    </a:lnTo>
                    <a:lnTo>
                      <a:pt x="280" y="0"/>
                    </a:lnTo>
                    <a:lnTo>
                      <a:pt x="278"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40" name="Freeform 83"/>
              <p:cNvSpPr>
                <a:spLocks/>
              </p:cNvSpPr>
              <p:nvPr/>
            </p:nvSpPr>
            <p:spPr bwMode="auto">
              <a:xfrm>
                <a:off x="2128838" y="3540126"/>
                <a:ext cx="141288" cy="114300"/>
              </a:xfrm>
              <a:custGeom>
                <a:avLst/>
                <a:gdLst>
                  <a:gd name="T0" fmla="*/ 2147483646 w 177"/>
                  <a:gd name="T1" fmla="*/ 2147483646 h 144"/>
                  <a:gd name="T2" fmla="*/ 2147483646 w 177"/>
                  <a:gd name="T3" fmla="*/ 2147483646 h 144"/>
                  <a:gd name="T4" fmla="*/ 2147483646 w 177"/>
                  <a:gd name="T5" fmla="*/ 2147483646 h 144"/>
                  <a:gd name="T6" fmla="*/ 2147483646 w 177"/>
                  <a:gd name="T7" fmla="*/ 2147483646 h 144"/>
                  <a:gd name="T8" fmla="*/ 2147483646 w 177"/>
                  <a:gd name="T9" fmla="*/ 2147483646 h 144"/>
                  <a:gd name="T10" fmla="*/ 2147483646 w 177"/>
                  <a:gd name="T11" fmla="*/ 2147483646 h 144"/>
                  <a:gd name="T12" fmla="*/ 2147483646 w 177"/>
                  <a:gd name="T13" fmla="*/ 2147483646 h 144"/>
                  <a:gd name="T14" fmla="*/ 2147483646 w 177"/>
                  <a:gd name="T15" fmla="*/ 2147483646 h 144"/>
                  <a:gd name="T16" fmla="*/ 2147483646 w 177"/>
                  <a:gd name="T17" fmla="*/ 2147483646 h 144"/>
                  <a:gd name="T18" fmla="*/ 2147483646 w 177"/>
                  <a:gd name="T19" fmla="*/ 2147483646 h 144"/>
                  <a:gd name="T20" fmla="*/ 2147483646 w 177"/>
                  <a:gd name="T21" fmla="*/ 2147483646 h 144"/>
                  <a:gd name="T22" fmla="*/ 2147483646 w 177"/>
                  <a:gd name="T23" fmla="*/ 2147483646 h 144"/>
                  <a:gd name="T24" fmla="*/ 2147483646 w 177"/>
                  <a:gd name="T25" fmla="*/ 2147483646 h 144"/>
                  <a:gd name="T26" fmla="*/ 2147483646 w 177"/>
                  <a:gd name="T27" fmla="*/ 2147483646 h 144"/>
                  <a:gd name="T28" fmla="*/ 2147483646 w 177"/>
                  <a:gd name="T29" fmla="*/ 2147483646 h 144"/>
                  <a:gd name="T30" fmla="*/ 2147483646 w 177"/>
                  <a:gd name="T31" fmla="*/ 2147483646 h 144"/>
                  <a:gd name="T32" fmla="*/ 2147483646 w 177"/>
                  <a:gd name="T33" fmla="*/ 2147483646 h 144"/>
                  <a:gd name="T34" fmla="*/ 2147483646 w 177"/>
                  <a:gd name="T35" fmla="*/ 2147483646 h 144"/>
                  <a:gd name="T36" fmla="*/ 2147483646 w 177"/>
                  <a:gd name="T37" fmla="*/ 2147483646 h 144"/>
                  <a:gd name="T38" fmla="*/ 2147483646 w 177"/>
                  <a:gd name="T39" fmla="*/ 2147483646 h 144"/>
                  <a:gd name="T40" fmla="*/ 2147483646 w 177"/>
                  <a:gd name="T41" fmla="*/ 2147483646 h 144"/>
                  <a:gd name="T42" fmla="*/ 2147483646 w 177"/>
                  <a:gd name="T43" fmla="*/ 2147483646 h 144"/>
                  <a:gd name="T44" fmla="*/ 0 w 177"/>
                  <a:gd name="T45" fmla="*/ 2147483646 h 144"/>
                  <a:gd name="T46" fmla="*/ 2147483646 w 177"/>
                  <a:gd name="T47" fmla="*/ 2147483646 h 144"/>
                  <a:gd name="T48" fmla="*/ 2147483646 w 177"/>
                  <a:gd name="T49" fmla="*/ 2147483646 h 144"/>
                  <a:gd name="T50" fmla="*/ 2147483646 w 177"/>
                  <a:gd name="T51" fmla="*/ 2147483646 h 144"/>
                  <a:gd name="T52" fmla="*/ 2147483646 w 177"/>
                  <a:gd name="T53" fmla="*/ 2147483646 h 144"/>
                  <a:gd name="T54" fmla="*/ 2147483646 w 177"/>
                  <a:gd name="T55" fmla="*/ 2147483646 h 144"/>
                  <a:gd name="T56" fmla="*/ 2147483646 w 177"/>
                  <a:gd name="T57" fmla="*/ 2147483646 h 144"/>
                  <a:gd name="T58" fmla="*/ 2147483646 w 177"/>
                  <a:gd name="T59" fmla="*/ 2147483646 h 144"/>
                  <a:gd name="T60" fmla="*/ 2147483646 w 177"/>
                  <a:gd name="T61" fmla="*/ 2147483646 h 144"/>
                  <a:gd name="T62" fmla="*/ 2147483646 w 177"/>
                  <a:gd name="T63" fmla="*/ 2147483646 h 144"/>
                  <a:gd name="T64" fmla="*/ 2147483646 w 177"/>
                  <a:gd name="T65" fmla="*/ 2147483646 h 144"/>
                  <a:gd name="T66" fmla="*/ 2147483646 w 177"/>
                  <a:gd name="T67" fmla="*/ 2147483646 h 144"/>
                  <a:gd name="T68" fmla="*/ 2147483646 w 177"/>
                  <a:gd name="T69" fmla="*/ 2147483646 h 144"/>
                  <a:gd name="T70" fmla="*/ 2147483646 w 177"/>
                  <a:gd name="T71" fmla="*/ 2147483646 h 144"/>
                  <a:gd name="T72" fmla="*/ 2147483646 w 177"/>
                  <a:gd name="T73" fmla="*/ 2147483646 h 144"/>
                  <a:gd name="T74" fmla="*/ 2147483646 w 177"/>
                  <a:gd name="T75" fmla="*/ 2147483646 h 144"/>
                  <a:gd name="T76" fmla="*/ 2147483646 w 177"/>
                  <a:gd name="T77" fmla="*/ 2147483646 h 144"/>
                  <a:gd name="T78" fmla="*/ 2147483646 w 177"/>
                  <a:gd name="T79" fmla="*/ 0 h 144"/>
                  <a:gd name="T80" fmla="*/ 2147483646 w 177"/>
                  <a:gd name="T81" fmla="*/ 0 h 144"/>
                  <a:gd name="T82" fmla="*/ 2147483646 w 177"/>
                  <a:gd name="T83" fmla="*/ 0 h 144"/>
                  <a:gd name="T84" fmla="*/ 2147483646 w 177"/>
                  <a:gd name="T85" fmla="*/ 0 h 144"/>
                  <a:gd name="T86" fmla="*/ 2147483646 w 177"/>
                  <a:gd name="T87" fmla="*/ 2147483646 h 144"/>
                  <a:gd name="T88" fmla="*/ 2147483646 w 177"/>
                  <a:gd name="T89" fmla="*/ 2147483646 h 144"/>
                  <a:gd name="T90" fmla="*/ 2147483646 w 177"/>
                  <a:gd name="T91" fmla="*/ 2147483646 h 144"/>
                  <a:gd name="T92" fmla="*/ 2147483646 w 177"/>
                  <a:gd name="T93" fmla="*/ 2147483646 h 1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7"/>
                  <a:gd name="T142" fmla="*/ 0 h 144"/>
                  <a:gd name="T143" fmla="*/ 177 w 177"/>
                  <a:gd name="T144" fmla="*/ 144 h 1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7" h="144">
                    <a:moveTo>
                      <a:pt x="177" y="9"/>
                    </a:moveTo>
                    <a:lnTo>
                      <a:pt x="175" y="9"/>
                    </a:lnTo>
                    <a:lnTo>
                      <a:pt x="171" y="9"/>
                    </a:lnTo>
                    <a:lnTo>
                      <a:pt x="169" y="7"/>
                    </a:lnTo>
                    <a:lnTo>
                      <a:pt x="166" y="7"/>
                    </a:lnTo>
                    <a:lnTo>
                      <a:pt x="162" y="7"/>
                    </a:lnTo>
                    <a:lnTo>
                      <a:pt x="158" y="9"/>
                    </a:lnTo>
                    <a:lnTo>
                      <a:pt x="154" y="9"/>
                    </a:lnTo>
                    <a:lnTo>
                      <a:pt x="149" y="9"/>
                    </a:lnTo>
                    <a:lnTo>
                      <a:pt x="143" y="9"/>
                    </a:lnTo>
                    <a:lnTo>
                      <a:pt x="139" y="11"/>
                    </a:lnTo>
                    <a:lnTo>
                      <a:pt x="133" y="11"/>
                    </a:lnTo>
                    <a:lnTo>
                      <a:pt x="126" y="15"/>
                    </a:lnTo>
                    <a:lnTo>
                      <a:pt x="120" y="17"/>
                    </a:lnTo>
                    <a:lnTo>
                      <a:pt x="114" y="19"/>
                    </a:lnTo>
                    <a:lnTo>
                      <a:pt x="107" y="23"/>
                    </a:lnTo>
                    <a:lnTo>
                      <a:pt x="101" y="26"/>
                    </a:lnTo>
                    <a:lnTo>
                      <a:pt x="93" y="30"/>
                    </a:lnTo>
                    <a:lnTo>
                      <a:pt x="88" y="34"/>
                    </a:lnTo>
                    <a:lnTo>
                      <a:pt x="80" y="38"/>
                    </a:lnTo>
                    <a:lnTo>
                      <a:pt x="73" y="43"/>
                    </a:lnTo>
                    <a:lnTo>
                      <a:pt x="65" y="51"/>
                    </a:lnTo>
                    <a:lnTo>
                      <a:pt x="59" y="59"/>
                    </a:lnTo>
                    <a:lnTo>
                      <a:pt x="55" y="62"/>
                    </a:lnTo>
                    <a:lnTo>
                      <a:pt x="52" y="64"/>
                    </a:lnTo>
                    <a:lnTo>
                      <a:pt x="48" y="68"/>
                    </a:lnTo>
                    <a:lnTo>
                      <a:pt x="44" y="74"/>
                    </a:lnTo>
                    <a:lnTo>
                      <a:pt x="40" y="78"/>
                    </a:lnTo>
                    <a:lnTo>
                      <a:pt x="38" y="83"/>
                    </a:lnTo>
                    <a:lnTo>
                      <a:pt x="35" y="87"/>
                    </a:lnTo>
                    <a:lnTo>
                      <a:pt x="31" y="93"/>
                    </a:lnTo>
                    <a:lnTo>
                      <a:pt x="27" y="99"/>
                    </a:lnTo>
                    <a:lnTo>
                      <a:pt x="25" y="104"/>
                    </a:lnTo>
                    <a:lnTo>
                      <a:pt x="21" y="110"/>
                    </a:lnTo>
                    <a:lnTo>
                      <a:pt x="17" y="116"/>
                    </a:lnTo>
                    <a:lnTo>
                      <a:pt x="14" y="123"/>
                    </a:lnTo>
                    <a:lnTo>
                      <a:pt x="12" y="129"/>
                    </a:lnTo>
                    <a:lnTo>
                      <a:pt x="8" y="137"/>
                    </a:lnTo>
                    <a:lnTo>
                      <a:pt x="6" y="144"/>
                    </a:lnTo>
                    <a:lnTo>
                      <a:pt x="4" y="140"/>
                    </a:lnTo>
                    <a:lnTo>
                      <a:pt x="4" y="137"/>
                    </a:lnTo>
                    <a:lnTo>
                      <a:pt x="2" y="133"/>
                    </a:lnTo>
                    <a:lnTo>
                      <a:pt x="2" y="129"/>
                    </a:lnTo>
                    <a:lnTo>
                      <a:pt x="2" y="125"/>
                    </a:lnTo>
                    <a:lnTo>
                      <a:pt x="0" y="119"/>
                    </a:lnTo>
                    <a:lnTo>
                      <a:pt x="0" y="116"/>
                    </a:lnTo>
                    <a:lnTo>
                      <a:pt x="2" y="112"/>
                    </a:lnTo>
                    <a:lnTo>
                      <a:pt x="2" y="108"/>
                    </a:lnTo>
                    <a:lnTo>
                      <a:pt x="2" y="102"/>
                    </a:lnTo>
                    <a:lnTo>
                      <a:pt x="2" y="99"/>
                    </a:lnTo>
                    <a:lnTo>
                      <a:pt x="4" y="95"/>
                    </a:lnTo>
                    <a:lnTo>
                      <a:pt x="4" y="89"/>
                    </a:lnTo>
                    <a:lnTo>
                      <a:pt x="6" y="85"/>
                    </a:lnTo>
                    <a:lnTo>
                      <a:pt x="8" y="81"/>
                    </a:lnTo>
                    <a:lnTo>
                      <a:pt x="12" y="78"/>
                    </a:lnTo>
                    <a:lnTo>
                      <a:pt x="14" y="72"/>
                    </a:lnTo>
                    <a:lnTo>
                      <a:pt x="16" y="68"/>
                    </a:lnTo>
                    <a:lnTo>
                      <a:pt x="17" y="62"/>
                    </a:lnTo>
                    <a:lnTo>
                      <a:pt x="21" y="59"/>
                    </a:lnTo>
                    <a:lnTo>
                      <a:pt x="23" y="55"/>
                    </a:lnTo>
                    <a:lnTo>
                      <a:pt x="27" y="51"/>
                    </a:lnTo>
                    <a:lnTo>
                      <a:pt x="31" y="47"/>
                    </a:lnTo>
                    <a:lnTo>
                      <a:pt x="35" y="42"/>
                    </a:lnTo>
                    <a:lnTo>
                      <a:pt x="38" y="38"/>
                    </a:lnTo>
                    <a:lnTo>
                      <a:pt x="42" y="34"/>
                    </a:lnTo>
                    <a:lnTo>
                      <a:pt x="48" y="30"/>
                    </a:lnTo>
                    <a:lnTo>
                      <a:pt x="54" y="26"/>
                    </a:lnTo>
                    <a:lnTo>
                      <a:pt x="59" y="24"/>
                    </a:lnTo>
                    <a:lnTo>
                      <a:pt x="65" y="21"/>
                    </a:lnTo>
                    <a:lnTo>
                      <a:pt x="71" y="17"/>
                    </a:lnTo>
                    <a:lnTo>
                      <a:pt x="76" y="15"/>
                    </a:lnTo>
                    <a:lnTo>
                      <a:pt x="82" y="11"/>
                    </a:lnTo>
                    <a:lnTo>
                      <a:pt x="90" y="9"/>
                    </a:lnTo>
                    <a:lnTo>
                      <a:pt x="95" y="7"/>
                    </a:lnTo>
                    <a:lnTo>
                      <a:pt x="99" y="7"/>
                    </a:lnTo>
                    <a:lnTo>
                      <a:pt x="105" y="5"/>
                    </a:lnTo>
                    <a:lnTo>
                      <a:pt x="111" y="3"/>
                    </a:lnTo>
                    <a:lnTo>
                      <a:pt x="114" y="2"/>
                    </a:lnTo>
                    <a:lnTo>
                      <a:pt x="120" y="2"/>
                    </a:lnTo>
                    <a:lnTo>
                      <a:pt x="124" y="0"/>
                    </a:lnTo>
                    <a:lnTo>
                      <a:pt x="128" y="0"/>
                    </a:lnTo>
                    <a:lnTo>
                      <a:pt x="133" y="0"/>
                    </a:lnTo>
                    <a:lnTo>
                      <a:pt x="137" y="0"/>
                    </a:lnTo>
                    <a:lnTo>
                      <a:pt x="141" y="0"/>
                    </a:lnTo>
                    <a:lnTo>
                      <a:pt x="145" y="0"/>
                    </a:lnTo>
                    <a:lnTo>
                      <a:pt x="149" y="0"/>
                    </a:lnTo>
                    <a:lnTo>
                      <a:pt x="152" y="2"/>
                    </a:lnTo>
                    <a:lnTo>
                      <a:pt x="158" y="2"/>
                    </a:lnTo>
                    <a:lnTo>
                      <a:pt x="162" y="2"/>
                    </a:lnTo>
                    <a:lnTo>
                      <a:pt x="166" y="3"/>
                    </a:lnTo>
                    <a:lnTo>
                      <a:pt x="171" y="5"/>
                    </a:lnTo>
                    <a:lnTo>
                      <a:pt x="175" y="7"/>
                    </a:lnTo>
                    <a:lnTo>
                      <a:pt x="177" y="9"/>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grpSp>
            <p:nvGrpSpPr>
              <p:cNvPr id="2241" name="グループ化 141"/>
              <p:cNvGrpSpPr>
                <a:grpSpLocks/>
              </p:cNvGrpSpPr>
              <p:nvPr/>
            </p:nvGrpSpPr>
            <p:grpSpPr bwMode="auto">
              <a:xfrm>
                <a:off x="2214550" y="3143249"/>
                <a:ext cx="714381" cy="939795"/>
                <a:chOff x="5097465" y="2143116"/>
                <a:chExt cx="1406525" cy="1797050"/>
              </a:xfrm>
            </p:grpSpPr>
            <p:sp>
              <p:nvSpPr>
                <p:cNvPr id="2242" name="Freeform 91"/>
                <p:cNvSpPr>
                  <a:spLocks/>
                </p:cNvSpPr>
                <p:nvPr/>
              </p:nvSpPr>
              <p:spPr bwMode="auto">
                <a:xfrm>
                  <a:off x="5243515" y="3565516"/>
                  <a:ext cx="488950" cy="374650"/>
                </a:xfrm>
                <a:custGeom>
                  <a:avLst/>
                  <a:gdLst>
                    <a:gd name="T0" fmla="*/ 2147483646 w 308"/>
                    <a:gd name="T1" fmla="*/ 0 h 236"/>
                    <a:gd name="T2" fmla="*/ 2147483646 w 308"/>
                    <a:gd name="T3" fmla="*/ 2147483646 h 236"/>
                    <a:gd name="T4" fmla="*/ 2147483646 w 308"/>
                    <a:gd name="T5" fmla="*/ 2147483646 h 236"/>
                    <a:gd name="T6" fmla="*/ 2147483646 w 308"/>
                    <a:gd name="T7" fmla="*/ 2147483646 h 236"/>
                    <a:gd name="T8" fmla="*/ 2147483646 w 308"/>
                    <a:gd name="T9" fmla="*/ 2147483646 h 236"/>
                    <a:gd name="T10" fmla="*/ 2147483646 w 308"/>
                    <a:gd name="T11" fmla="*/ 2147483646 h 236"/>
                    <a:gd name="T12" fmla="*/ 2147483646 w 308"/>
                    <a:gd name="T13" fmla="*/ 2147483646 h 236"/>
                    <a:gd name="T14" fmla="*/ 2147483646 w 308"/>
                    <a:gd name="T15" fmla="*/ 2147483646 h 236"/>
                    <a:gd name="T16" fmla="*/ 2147483646 w 308"/>
                    <a:gd name="T17" fmla="*/ 2147483646 h 236"/>
                    <a:gd name="T18" fmla="*/ 2147483646 w 308"/>
                    <a:gd name="T19" fmla="*/ 2147483646 h 236"/>
                    <a:gd name="T20" fmla="*/ 2147483646 w 308"/>
                    <a:gd name="T21" fmla="*/ 2147483646 h 236"/>
                    <a:gd name="T22" fmla="*/ 2147483646 w 308"/>
                    <a:gd name="T23" fmla="*/ 2147483646 h 236"/>
                    <a:gd name="T24" fmla="*/ 2147483646 w 308"/>
                    <a:gd name="T25" fmla="*/ 2147483646 h 236"/>
                    <a:gd name="T26" fmla="*/ 2147483646 w 308"/>
                    <a:gd name="T27" fmla="*/ 2147483646 h 236"/>
                    <a:gd name="T28" fmla="*/ 2147483646 w 308"/>
                    <a:gd name="T29" fmla="*/ 2147483646 h 236"/>
                    <a:gd name="T30" fmla="*/ 2147483646 w 308"/>
                    <a:gd name="T31" fmla="*/ 2147483646 h 236"/>
                    <a:gd name="T32" fmla="*/ 2147483646 w 308"/>
                    <a:gd name="T33" fmla="*/ 2147483646 h 236"/>
                    <a:gd name="T34" fmla="*/ 2147483646 w 308"/>
                    <a:gd name="T35" fmla="*/ 2147483646 h 236"/>
                    <a:gd name="T36" fmla="*/ 2147483646 w 308"/>
                    <a:gd name="T37" fmla="*/ 2147483646 h 236"/>
                    <a:gd name="T38" fmla="*/ 2147483646 w 308"/>
                    <a:gd name="T39" fmla="*/ 2147483646 h 236"/>
                    <a:gd name="T40" fmla="*/ 2147483646 w 308"/>
                    <a:gd name="T41" fmla="*/ 2147483646 h 236"/>
                    <a:gd name="T42" fmla="*/ 2147483646 w 308"/>
                    <a:gd name="T43" fmla="*/ 2147483646 h 236"/>
                    <a:gd name="T44" fmla="*/ 2147483646 w 308"/>
                    <a:gd name="T45" fmla="*/ 2147483646 h 236"/>
                    <a:gd name="T46" fmla="*/ 2147483646 w 308"/>
                    <a:gd name="T47" fmla="*/ 2147483646 h 236"/>
                    <a:gd name="T48" fmla="*/ 2147483646 w 308"/>
                    <a:gd name="T49" fmla="*/ 2147483646 h 236"/>
                    <a:gd name="T50" fmla="*/ 2147483646 w 308"/>
                    <a:gd name="T51" fmla="*/ 2147483646 h 236"/>
                    <a:gd name="T52" fmla="*/ 2147483646 w 308"/>
                    <a:gd name="T53" fmla="*/ 2147483646 h 236"/>
                    <a:gd name="T54" fmla="*/ 2147483646 w 308"/>
                    <a:gd name="T55" fmla="*/ 2147483646 h 236"/>
                    <a:gd name="T56" fmla="*/ 2147483646 w 308"/>
                    <a:gd name="T57" fmla="*/ 2147483646 h 236"/>
                    <a:gd name="T58" fmla="*/ 2147483646 w 308"/>
                    <a:gd name="T59" fmla="*/ 2147483646 h 236"/>
                    <a:gd name="T60" fmla="*/ 2147483646 w 308"/>
                    <a:gd name="T61" fmla="*/ 2147483646 h 236"/>
                    <a:gd name="T62" fmla="*/ 2147483646 w 308"/>
                    <a:gd name="T63" fmla="*/ 2147483646 h 236"/>
                    <a:gd name="T64" fmla="*/ 2147483646 w 308"/>
                    <a:gd name="T65" fmla="*/ 2147483646 h 236"/>
                    <a:gd name="T66" fmla="*/ 2147483646 w 308"/>
                    <a:gd name="T67" fmla="*/ 2147483646 h 236"/>
                    <a:gd name="T68" fmla="*/ 2147483646 w 308"/>
                    <a:gd name="T69" fmla="*/ 2147483646 h 236"/>
                    <a:gd name="T70" fmla="*/ 2147483646 w 308"/>
                    <a:gd name="T71" fmla="*/ 2147483646 h 236"/>
                    <a:gd name="T72" fmla="*/ 2147483646 w 308"/>
                    <a:gd name="T73" fmla="*/ 2147483646 h 236"/>
                    <a:gd name="T74" fmla="*/ 2147483646 w 308"/>
                    <a:gd name="T75" fmla="*/ 2147483646 h 236"/>
                    <a:gd name="T76" fmla="*/ 2147483646 w 308"/>
                    <a:gd name="T77" fmla="*/ 2147483646 h 236"/>
                    <a:gd name="T78" fmla="*/ 2147483646 w 308"/>
                    <a:gd name="T79" fmla="*/ 2147483646 h 236"/>
                    <a:gd name="T80" fmla="*/ 2147483646 w 308"/>
                    <a:gd name="T81" fmla="*/ 2147483646 h 236"/>
                    <a:gd name="T82" fmla="*/ 2147483646 w 308"/>
                    <a:gd name="T83" fmla="*/ 2147483646 h 236"/>
                    <a:gd name="T84" fmla="*/ 2147483646 w 308"/>
                    <a:gd name="T85" fmla="*/ 2147483646 h 236"/>
                    <a:gd name="T86" fmla="*/ 2147483646 w 308"/>
                    <a:gd name="T87" fmla="*/ 2147483646 h 236"/>
                    <a:gd name="T88" fmla="*/ 2147483646 w 308"/>
                    <a:gd name="T89" fmla="*/ 2147483646 h 236"/>
                    <a:gd name="T90" fmla="*/ 2147483646 w 308"/>
                    <a:gd name="T91" fmla="*/ 2147483646 h 236"/>
                    <a:gd name="T92" fmla="*/ 2147483646 w 308"/>
                    <a:gd name="T93" fmla="*/ 2147483646 h 236"/>
                    <a:gd name="T94" fmla="*/ 2147483646 w 308"/>
                    <a:gd name="T95" fmla="*/ 2147483646 h 236"/>
                    <a:gd name="T96" fmla="*/ 0 w 308"/>
                    <a:gd name="T97" fmla="*/ 2147483646 h 236"/>
                    <a:gd name="T98" fmla="*/ 2147483646 w 308"/>
                    <a:gd name="T99" fmla="*/ 2147483646 h 236"/>
                    <a:gd name="T100" fmla="*/ 2147483646 w 308"/>
                    <a:gd name="T101" fmla="*/ 2147483646 h 236"/>
                    <a:gd name="T102" fmla="*/ 2147483646 w 308"/>
                    <a:gd name="T103" fmla="*/ 2147483646 h 236"/>
                    <a:gd name="T104" fmla="*/ 2147483646 w 308"/>
                    <a:gd name="T105" fmla="*/ 2147483646 h 236"/>
                    <a:gd name="T106" fmla="*/ 2147483646 w 308"/>
                    <a:gd name="T107" fmla="*/ 2147483646 h 236"/>
                    <a:gd name="T108" fmla="*/ 2147483646 w 308"/>
                    <a:gd name="T109" fmla="*/ 2147483646 h 236"/>
                    <a:gd name="T110" fmla="*/ 2147483646 w 308"/>
                    <a:gd name="T111" fmla="*/ 0 h 2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08"/>
                    <a:gd name="T169" fmla="*/ 0 h 236"/>
                    <a:gd name="T170" fmla="*/ 308 w 308"/>
                    <a:gd name="T171" fmla="*/ 236 h 2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08" h="236">
                      <a:moveTo>
                        <a:pt x="8" y="0"/>
                      </a:moveTo>
                      <a:lnTo>
                        <a:pt x="8" y="0"/>
                      </a:lnTo>
                      <a:lnTo>
                        <a:pt x="78" y="4"/>
                      </a:lnTo>
                      <a:lnTo>
                        <a:pt x="154" y="8"/>
                      </a:lnTo>
                      <a:lnTo>
                        <a:pt x="226" y="12"/>
                      </a:lnTo>
                      <a:lnTo>
                        <a:pt x="294" y="12"/>
                      </a:lnTo>
                      <a:lnTo>
                        <a:pt x="304" y="30"/>
                      </a:lnTo>
                      <a:lnTo>
                        <a:pt x="308" y="44"/>
                      </a:lnTo>
                      <a:lnTo>
                        <a:pt x="308" y="48"/>
                      </a:lnTo>
                      <a:lnTo>
                        <a:pt x="308" y="50"/>
                      </a:lnTo>
                      <a:lnTo>
                        <a:pt x="302" y="52"/>
                      </a:lnTo>
                      <a:lnTo>
                        <a:pt x="292" y="52"/>
                      </a:lnTo>
                      <a:lnTo>
                        <a:pt x="284" y="56"/>
                      </a:lnTo>
                      <a:lnTo>
                        <a:pt x="280" y="58"/>
                      </a:lnTo>
                      <a:lnTo>
                        <a:pt x="280" y="62"/>
                      </a:lnTo>
                      <a:lnTo>
                        <a:pt x="280" y="66"/>
                      </a:lnTo>
                      <a:lnTo>
                        <a:pt x="284" y="70"/>
                      </a:lnTo>
                      <a:lnTo>
                        <a:pt x="294" y="80"/>
                      </a:lnTo>
                      <a:lnTo>
                        <a:pt x="302" y="90"/>
                      </a:lnTo>
                      <a:lnTo>
                        <a:pt x="302" y="92"/>
                      </a:lnTo>
                      <a:lnTo>
                        <a:pt x="300" y="94"/>
                      </a:lnTo>
                      <a:lnTo>
                        <a:pt x="286" y="100"/>
                      </a:lnTo>
                      <a:lnTo>
                        <a:pt x="270" y="110"/>
                      </a:lnTo>
                      <a:lnTo>
                        <a:pt x="264" y="116"/>
                      </a:lnTo>
                      <a:lnTo>
                        <a:pt x="262" y="122"/>
                      </a:lnTo>
                      <a:lnTo>
                        <a:pt x="262" y="128"/>
                      </a:lnTo>
                      <a:lnTo>
                        <a:pt x="266" y="134"/>
                      </a:lnTo>
                      <a:lnTo>
                        <a:pt x="298" y="158"/>
                      </a:lnTo>
                      <a:lnTo>
                        <a:pt x="308" y="168"/>
                      </a:lnTo>
                      <a:lnTo>
                        <a:pt x="308" y="172"/>
                      </a:lnTo>
                      <a:lnTo>
                        <a:pt x="306" y="174"/>
                      </a:lnTo>
                      <a:lnTo>
                        <a:pt x="296" y="180"/>
                      </a:lnTo>
                      <a:lnTo>
                        <a:pt x="284" y="184"/>
                      </a:lnTo>
                      <a:lnTo>
                        <a:pt x="264" y="188"/>
                      </a:lnTo>
                      <a:lnTo>
                        <a:pt x="266" y="192"/>
                      </a:lnTo>
                      <a:lnTo>
                        <a:pt x="270" y="196"/>
                      </a:lnTo>
                      <a:lnTo>
                        <a:pt x="286" y="212"/>
                      </a:lnTo>
                      <a:lnTo>
                        <a:pt x="302" y="226"/>
                      </a:lnTo>
                      <a:lnTo>
                        <a:pt x="306" y="232"/>
                      </a:lnTo>
                      <a:lnTo>
                        <a:pt x="306" y="234"/>
                      </a:lnTo>
                      <a:lnTo>
                        <a:pt x="304" y="234"/>
                      </a:lnTo>
                      <a:lnTo>
                        <a:pt x="292" y="236"/>
                      </a:lnTo>
                      <a:lnTo>
                        <a:pt x="272" y="234"/>
                      </a:lnTo>
                      <a:lnTo>
                        <a:pt x="246" y="232"/>
                      </a:lnTo>
                      <a:lnTo>
                        <a:pt x="220" y="232"/>
                      </a:lnTo>
                      <a:lnTo>
                        <a:pt x="168" y="234"/>
                      </a:lnTo>
                      <a:lnTo>
                        <a:pt x="142" y="234"/>
                      </a:lnTo>
                      <a:lnTo>
                        <a:pt x="118" y="234"/>
                      </a:lnTo>
                      <a:lnTo>
                        <a:pt x="86" y="230"/>
                      </a:lnTo>
                      <a:lnTo>
                        <a:pt x="66" y="226"/>
                      </a:lnTo>
                      <a:lnTo>
                        <a:pt x="54" y="222"/>
                      </a:lnTo>
                      <a:lnTo>
                        <a:pt x="48" y="216"/>
                      </a:lnTo>
                      <a:lnTo>
                        <a:pt x="48" y="210"/>
                      </a:lnTo>
                      <a:lnTo>
                        <a:pt x="50" y="206"/>
                      </a:lnTo>
                      <a:lnTo>
                        <a:pt x="58" y="198"/>
                      </a:lnTo>
                      <a:lnTo>
                        <a:pt x="58" y="196"/>
                      </a:lnTo>
                      <a:lnTo>
                        <a:pt x="56" y="194"/>
                      </a:lnTo>
                      <a:lnTo>
                        <a:pt x="52" y="192"/>
                      </a:lnTo>
                      <a:lnTo>
                        <a:pt x="34" y="186"/>
                      </a:lnTo>
                      <a:lnTo>
                        <a:pt x="24" y="182"/>
                      </a:lnTo>
                      <a:lnTo>
                        <a:pt x="18" y="178"/>
                      </a:lnTo>
                      <a:lnTo>
                        <a:pt x="14" y="172"/>
                      </a:lnTo>
                      <a:lnTo>
                        <a:pt x="14" y="170"/>
                      </a:lnTo>
                      <a:lnTo>
                        <a:pt x="16" y="168"/>
                      </a:lnTo>
                      <a:lnTo>
                        <a:pt x="22" y="162"/>
                      </a:lnTo>
                      <a:lnTo>
                        <a:pt x="32" y="160"/>
                      </a:lnTo>
                      <a:lnTo>
                        <a:pt x="52" y="154"/>
                      </a:lnTo>
                      <a:lnTo>
                        <a:pt x="76" y="152"/>
                      </a:lnTo>
                      <a:lnTo>
                        <a:pt x="38" y="142"/>
                      </a:lnTo>
                      <a:lnTo>
                        <a:pt x="16" y="132"/>
                      </a:lnTo>
                      <a:lnTo>
                        <a:pt x="12" y="128"/>
                      </a:lnTo>
                      <a:lnTo>
                        <a:pt x="12" y="126"/>
                      </a:lnTo>
                      <a:lnTo>
                        <a:pt x="14" y="126"/>
                      </a:lnTo>
                      <a:lnTo>
                        <a:pt x="44" y="116"/>
                      </a:lnTo>
                      <a:lnTo>
                        <a:pt x="54" y="110"/>
                      </a:lnTo>
                      <a:lnTo>
                        <a:pt x="54" y="108"/>
                      </a:lnTo>
                      <a:lnTo>
                        <a:pt x="52" y="104"/>
                      </a:lnTo>
                      <a:lnTo>
                        <a:pt x="40" y="98"/>
                      </a:lnTo>
                      <a:lnTo>
                        <a:pt x="20" y="88"/>
                      </a:lnTo>
                      <a:lnTo>
                        <a:pt x="10" y="84"/>
                      </a:lnTo>
                      <a:lnTo>
                        <a:pt x="4" y="78"/>
                      </a:lnTo>
                      <a:lnTo>
                        <a:pt x="0" y="72"/>
                      </a:lnTo>
                      <a:lnTo>
                        <a:pt x="0" y="68"/>
                      </a:lnTo>
                      <a:lnTo>
                        <a:pt x="2" y="66"/>
                      </a:lnTo>
                      <a:lnTo>
                        <a:pt x="6" y="60"/>
                      </a:lnTo>
                      <a:lnTo>
                        <a:pt x="10" y="58"/>
                      </a:lnTo>
                      <a:lnTo>
                        <a:pt x="22" y="52"/>
                      </a:lnTo>
                      <a:lnTo>
                        <a:pt x="32" y="52"/>
                      </a:lnTo>
                      <a:lnTo>
                        <a:pt x="44" y="50"/>
                      </a:lnTo>
                      <a:lnTo>
                        <a:pt x="46" y="50"/>
                      </a:lnTo>
                      <a:lnTo>
                        <a:pt x="46" y="48"/>
                      </a:lnTo>
                      <a:lnTo>
                        <a:pt x="44" y="42"/>
                      </a:lnTo>
                      <a:lnTo>
                        <a:pt x="32" y="24"/>
                      </a:lnTo>
                      <a:lnTo>
                        <a:pt x="8" y="0"/>
                      </a:lnTo>
                      <a:close/>
                    </a:path>
                  </a:pathLst>
                </a:custGeom>
                <a:solidFill>
                  <a:srgbClr val="FBB26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43" name="Freeform 92"/>
                <p:cNvSpPr>
                  <a:spLocks/>
                </p:cNvSpPr>
                <p:nvPr/>
              </p:nvSpPr>
              <p:spPr bwMode="auto">
                <a:xfrm>
                  <a:off x="5738815" y="3571866"/>
                  <a:ext cx="257175" cy="333375"/>
                </a:xfrm>
                <a:custGeom>
                  <a:avLst/>
                  <a:gdLst>
                    <a:gd name="T0" fmla="*/ 0 w 162"/>
                    <a:gd name="T1" fmla="*/ 2147483646 h 210"/>
                    <a:gd name="T2" fmla="*/ 2147483646 w 162"/>
                    <a:gd name="T3" fmla="*/ 2147483646 h 210"/>
                    <a:gd name="T4" fmla="*/ 2147483646 w 162"/>
                    <a:gd name="T5" fmla="*/ 0 h 210"/>
                    <a:gd name="T6" fmla="*/ 2147483646 w 162"/>
                    <a:gd name="T7" fmla="*/ 2147483646 h 210"/>
                    <a:gd name="T8" fmla="*/ 2147483646 w 162"/>
                    <a:gd name="T9" fmla="*/ 2147483646 h 210"/>
                    <a:gd name="T10" fmla="*/ 2147483646 w 162"/>
                    <a:gd name="T11" fmla="*/ 2147483646 h 210"/>
                    <a:gd name="T12" fmla="*/ 2147483646 w 162"/>
                    <a:gd name="T13" fmla="*/ 2147483646 h 210"/>
                    <a:gd name="T14" fmla="*/ 2147483646 w 162"/>
                    <a:gd name="T15" fmla="*/ 2147483646 h 210"/>
                    <a:gd name="T16" fmla="*/ 2147483646 w 162"/>
                    <a:gd name="T17" fmla="*/ 2147483646 h 210"/>
                    <a:gd name="T18" fmla="*/ 2147483646 w 162"/>
                    <a:gd name="T19" fmla="*/ 2147483646 h 210"/>
                    <a:gd name="T20" fmla="*/ 2147483646 w 162"/>
                    <a:gd name="T21" fmla="*/ 2147483646 h 210"/>
                    <a:gd name="T22" fmla="*/ 2147483646 w 162"/>
                    <a:gd name="T23" fmla="*/ 2147483646 h 210"/>
                    <a:gd name="T24" fmla="*/ 2147483646 w 162"/>
                    <a:gd name="T25" fmla="*/ 2147483646 h 210"/>
                    <a:gd name="T26" fmla="*/ 2147483646 w 162"/>
                    <a:gd name="T27" fmla="*/ 2147483646 h 210"/>
                    <a:gd name="T28" fmla="*/ 2147483646 w 162"/>
                    <a:gd name="T29" fmla="*/ 2147483646 h 210"/>
                    <a:gd name="T30" fmla="*/ 2147483646 w 162"/>
                    <a:gd name="T31" fmla="*/ 2147483646 h 210"/>
                    <a:gd name="T32" fmla="*/ 2147483646 w 162"/>
                    <a:gd name="T33" fmla="*/ 2147483646 h 210"/>
                    <a:gd name="T34" fmla="*/ 2147483646 w 162"/>
                    <a:gd name="T35" fmla="*/ 2147483646 h 210"/>
                    <a:gd name="T36" fmla="*/ 2147483646 w 162"/>
                    <a:gd name="T37" fmla="*/ 2147483646 h 210"/>
                    <a:gd name="T38" fmla="*/ 2147483646 w 162"/>
                    <a:gd name="T39" fmla="*/ 2147483646 h 210"/>
                    <a:gd name="T40" fmla="*/ 2147483646 w 162"/>
                    <a:gd name="T41" fmla="*/ 2147483646 h 210"/>
                    <a:gd name="T42" fmla="*/ 2147483646 w 162"/>
                    <a:gd name="T43" fmla="*/ 2147483646 h 210"/>
                    <a:gd name="T44" fmla="*/ 2147483646 w 162"/>
                    <a:gd name="T45" fmla="*/ 2147483646 h 210"/>
                    <a:gd name="T46" fmla="*/ 2147483646 w 162"/>
                    <a:gd name="T47" fmla="*/ 2147483646 h 210"/>
                    <a:gd name="T48" fmla="*/ 2147483646 w 162"/>
                    <a:gd name="T49" fmla="*/ 2147483646 h 210"/>
                    <a:gd name="T50" fmla="*/ 2147483646 w 162"/>
                    <a:gd name="T51" fmla="*/ 2147483646 h 210"/>
                    <a:gd name="T52" fmla="*/ 2147483646 w 162"/>
                    <a:gd name="T53" fmla="*/ 2147483646 h 210"/>
                    <a:gd name="T54" fmla="*/ 2147483646 w 162"/>
                    <a:gd name="T55" fmla="*/ 2147483646 h 210"/>
                    <a:gd name="T56" fmla="*/ 2147483646 w 162"/>
                    <a:gd name="T57" fmla="*/ 2147483646 h 210"/>
                    <a:gd name="T58" fmla="*/ 2147483646 w 162"/>
                    <a:gd name="T59" fmla="*/ 2147483646 h 210"/>
                    <a:gd name="T60" fmla="*/ 2147483646 w 162"/>
                    <a:gd name="T61" fmla="*/ 2147483646 h 210"/>
                    <a:gd name="T62" fmla="*/ 2147483646 w 162"/>
                    <a:gd name="T63" fmla="*/ 2147483646 h 210"/>
                    <a:gd name="T64" fmla="*/ 2147483646 w 162"/>
                    <a:gd name="T65" fmla="*/ 2147483646 h 210"/>
                    <a:gd name="T66" fmla="*/ 2147483646 w 162"/>
                    <a:gd name="T67" fmla="*/ 2147483646 h 210"/>
                    <a:gd name="T68" fmla="*/ 2147483646 w 162"/>
                    <a:gd name="T69" fmla="*/ 2147483646 h 210"/>
                    <a:gd name="T70" fmla="*/ 2147483646 w 162"/>
                    <a:gd name="T71" fmla="*/ 2147483646 h 210"/>
                    <a:gd name="T72" fmla="*/ 2147483646 w 162"/>
                    <a:gd name="T73" fmla="*/ 2147483646 h 210"/>
                    <a:gd name="T74" fmla="*/ 2147483646 w 162"/>
                    <a:gd name="T75" fmla="*/ 2147483646 h 210"/>
                    <a:gd name="T76" fmla="*/ 2147483646 w 162"/>
                    <a:gd name="T77" fmla="*/ 2147483646 h 210"/>
                    <a:gd name="T78" fmla="*/ 2147483646 w 162"/>
                    <a:gd name="T79" fmla="*/ 2147483646 h 210"/>
                    <a:gd name="T80" fmla="*/ 2147483646 w 162"/>
                    <a:gd name="T81" fmla="*/ 2147483646 h 210"/>
                    <a:gd name="T82" fmla="*/ 2147483646 w 162"/>
                    <a:gd name="T83" fmla="*/ 2147483646 h 210"/>
                    <a:gd name="T84" fmla="*/ 2147483646 w 162"/>
                    <a:gd name="T85" fmla="*/ 2147483646 h 210"/>
                    <a:gd name="T86" fmla="*/ 2147483646 w 162"/>
                    <a:gd name="T87" fmla="*/ 2147483646 h 210"/>
                    <a:gd name="T88" fmla="*/ 2147483646 w 162"/>
                    <a:gd name="T89" fmla="*/ 2147483646 h 210"/>
                    <a:gd name="T90" fmla="*/ 0 w 162"/>
                    <a:gd name="T91" fmla="*/ 2147483646 h 21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2"/>
                    <a:gd name="T139" fmla="*/ 0 h 210"/>
                    <a:gd name="T140" fmla="*/ 162 w 162"/>
                    <a:gd name="T141" fmla="*/ 210 h 21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2" h="210">
                      <a:moveTo>
                        <a:pt x="0" y="8"/>
                      </a:moveTo>
                      <a:lnTo>
                        <a:pt x="0" y="8"/>
                      </a:lnTo>
                      <a:lnTo>
                        <a:pt x="26" y="6"/>
                      </a:lnTo>
                      <a:lnTo>
                        <a:pt x="74" y="4"/>
                      </a:lnTo>
                      <a:lnTo>
                        <a:pt x="142" y="0"/>
                      </a:lnTo>
                      <a:lnTo>
                        <a:pt x="150" y="6"/>
                      </a:lnTo>
                      <a:lnTo>
                        <a:pt x="152" y="12"/>
                      </a:lnTo>
                      <a:lnTo>
                        <a:pt x="152" y="16"/>
                      </a:lnTo>
                      <a:lnTo>
                        <a:pt x="150" y="18"/>
                      </a:lnTo>
                      <a:lnTo>
                        <a:pt x="134" y="30"/>
                      </a:lnTo>
                      <a:lnTo>
                        <a:pt x="126" y="40"/>
                      </a:lnTo>
                      <a:lnTo>
                        <a:pt x="146" y="50"/>
                      </a:lnTo>
                      <a:lnTo>
                        <a:pt x="112" y="84"/>
                      </a:lnTo>
                      <a:lnTo>
                        <a:pt x="114" y="84"/>
                      </a:lnTo>
                      <a:lnTo>
                        <a:pt x="130" y="94"/>
                      </a:lnTo>
                      <a:lnTo>
                        <a:pt x="134" y="100"/>
                      </a:lnTo>
                      <a:lnTo>
                        <a:pt x="136" y="104"/>
                      </a:lnTo>
                      <a:lnTo>
                        <a:pt x="134" y="108"/>
                      </a:lnTo>
                      <a:lnTo>
                        <a:pt x="130" y="112"/>
                      </a:lnTo>
                      <a:lnTo>
                        <a:pt x="120" y="118"/>
                      </a:lnTo>
                      <a:lnTo>
                        <a:pt x="114" y="120"/>
                      </a:lnTo>
                      <a:lnTo>
                        <a:pt x="102" y="128"/>
                      </a:lnTo>
                      <a:lnTo>
                        <a:pt x="96" y="132"/>
                      </a:lnTo>
                      <a:lnTo>
                        <a:pt x="96" y="134"/>
                      </a:lnTo>
                      <a:lnTo>
                        <a:pt x="100" y="134"/>
                      </a:lnTo>
                      <a:lnTo>
                        <a:pt x="132" y="138"/>
                      </a:lnTo>
                      <a:lnTo>
                        <a:pt x="146" y="140"/>
                      </a:lnTo>
                      <a:lnTo>
                        <a:pt x="150" y="142"/>
                      </a:lnTo>
                      <a:lnTo>
                        <a:pt x="150" y="146"/>
                      </a:lnTo>
                      <a:lnTo>
                        <a:pt x="148" y="148"/>
                      </a:lnTo>
                      <a:lnTo>
                        <a:pt x="144" y="152"/>
                      </a:lnTo>
                      <a:lnTo>
                        <a:pt x="128" y="160"/>
                      </a:lnTo>
                      <a:lnTo>
                        <a:pt x="112" y="168"/>
                      </a:lnTo>
                      <a:lnTo>
                        <a:pt x="108" y="170"/>
                      </a:lnTo>
                      <a:lnTo>
                        <a:pt x="110" y="170"/>
                      </a:lnTo>
                      <a:lnTo>
                        <a:pt x="124" y="176"/>
                      </a:lnTo>
                      <a:lnTo>
                        <a:pt x="144" y="184"/>
                      </a:lnTo>
                      <a:lnTo>
                        <a:pt x="152" y="190"/>
                      </a:lnTo>
                      <a:lnTo>
                        <a:pt x="160" y="196"/>
                      </a:lnTo>
                      <a:lnTo>
                        <a:pt x="162" y="200"/>
                      </a:lnTo>
                      <a:lnTo>
                        <a:pt x="162" y="204"/>
                      </a:lnTo>
                      <a:lnTo>
                        <a:pt x="160" y="206"/>
                      </a:lnTo>
                      <a:lnTo>
                        <a:pt x="152" y="208"/>
                      </a:lnTo>
                      <a:lnTo>
                        <a:pt x="138" y="210"/>
                      </a:lnTo>
                      <a:lnTo>
                        <a:pt x="104" y="210"/>
                      </a:lnTo>
                      <a:lnTo>
                        <a:pt x="60" y="206"/>
                      </a:lnTo>
                      <a:lnTo>
                        <a:pt x="58" y="204"/>
                      </a:lnTo>
                      <a:lnTo>
                        <a:pt x="52" y="198"/>
                      </a:lnTo>
                      <a:lnTo>
                        <a:pt x="50" y="192"/>
                      </a:lnTo>
                      <a:lnTo>
                        <a:pt x="50" y="188"/>
                      </a:lnTo>
                      <a:lnTo>
                        <a:pt x="52" y="182"/>
                      </a:lnTo>
                      <a:lnTo>
                        <a:pt x="56" y="176"/>
                      </a:lnTo>
                      <a:lnTo>
                        <a:pt x="60" y="170"/>
                      </a:lnTo>
                      <a:lnTo>
                        <a:pt x="60" y="164"/>
                      </a:lnTo>
                      <a:lnTo>
                        <a:pt x="60" y="160"/>
                      </a:lnTo>
                      <a:lnTo>
                        <a:pt x="56" y="154"/>
                      </a:lnTo>
                      <a:lnTo>
                        <a:pt x="48" y="146"/>
                      </a:lnTo>
                      <a:lnTo>
                        <a:pt x="46" y="142"/>
                      </a:lnTo>
                      <a:lnTo>
                        <a:pt x="46" y="140"/>
                      </a:lnTo>
                      <a:lnTo>
                        <a:pt x="46" y="136"/>
                      </a:lnTo>
                      <a:lnTo>
                        <a:pt x="44" y="134"/>
                      </a:lnTo>
                      <a:lnTo>
                        <a:pt x="38" y="126"/>
                      </a:lnTo>
                      <a:lnTo>
                        <a:pt x="28" y="118"/>
                      </a:lnTo>
                      <a:lnTo>
                        <a:pt x="20" y="110"/>
                      </a:lnTo>
                      <a:lnTo>
                        <a:pt x="16" y="104"/>
                      </a:lnTo>
                      <a:lnTo>
                        <a:pt x="16" y="102"/>
                      </a:lnTo>
                      <a:lnTo>
                        <a:pt x="20" y="100"/>
                      </a:lnTo>
                      <a:lnTo>
                        <a:pt x="40" y="90"/>
                      </a:lnTo>
                      <a:lnTo>
                        <a:pt x="48" y="84"/>
                      </a:lnTo>
                      <a:lnTo>
                        <a:pt x="50" y="80"/>
                      </a:lnTo>
                      <a:lnTo>
                        <a:pt x="50" y="78"/>
                      </a:lnTo>
                      <a:lnTo>
                        <a:pt x="46" y="70"/>
                      </a:lnTo>
                      <a:lnTo>
                        <a:pt x="36" y="58"/>
                      </a:lnTo>
                      <a:lnTo>
                        <a:pt x="20" y="44"/>
                      </a:lnTo>
                      <a:lnTo>
                        <a:pt x="42" y="30"/>
                      </a:lnTo>
                      <a:lnTo>
                        <a:pt x="0" y="8"/>
                      </a:lnTo>
                      <a:close/>
                    </a:path>
                  </a:pathLst>
                </a:custGeom>
                <a:solidFill>
                  <a:srgbClr val="D0A58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44" name="Freeform 93"/>
                <p:cNvSpPr>
                  <a:spLocks/>
                </p:cNvSpPr>
                <p:nvPr/>
              </p:nvSpPr>
              <p:spPr bwMode="auto">
                <a:xfrm>
                  <a:off x="5884865" y="3375016"/>
                  <a:ext cx="536575" cy="330200"/>
                </a:xfrm>
                <a:custGeom>
                  <a:avLst/>
                  <a:gdLst>
                    <a:gd name="T0" fmla="*/ 2147483646 w 338"/>
                    <a:gd name="T1" fmla="*/ 2147483646 h 208"/>
                    <a:gd name="T2" fmla="*/ 0 w 338"/>
                    <a:gd name="T3" fmla="*/ 2147483646 h 208"/>
                    <a:gd name="T4" fmla="*/ 2147483646 w 338"/>
                    <a:gd name="T5" fmla="*/ 2147483646 h 208"/>
                    <a:gd name="T6" fmla="*/ 2147483646 w 338"/>
                    <a:gd name="T7" fmla="*/ 2147483646 h 208"/>
                    <a:gd name="T8" fmla="*/ 2147483646 w 338"/>
                    <a:gd name="T9" fmla="*/ 2147483646 h 208"/>
                    <a:gd name="T10" fmla="*/ 2147483646 w 338"/>
                    <a:gd name="T11" fmla="*/ 2147483646 h 208"/>
                    <a:gd name="T12" fmla="*/ 2147483646 w 338"/>
                    <a:gd name="T13" fmla="*/ 2147483646 h 208"/>
                    <a:gd name="T14" fmla="*/ 2147483646 w 338"/>
                    <a:gd name="T15" fmla="*/ 2147483646 h 208"/>
                    <a:gd name="T16" fmla="*/ 2147483646 w 338"/>
                    <a:gd name="T17" fmla="*/ 2147483646 h 208"/>
                    <a:gd name="T18" fmla="*/ 2147483646 w 338"/>
                    <a:gd name="T19" fmla="*/ 2147483646 h 208"/>
                    <a:gd name="T20" fmla="*/ 2147483646 w 338"/>
                    <a:gd name="T21" fmla="*/ 2147483646 h 208"/>
                    <a:gd name="T22" fmla="*/ 2147483646 w 338"/>
                    <a:gd name="T23" fmla="*/ 2147483646 h 208"/>
                    <a:gd name="T24" fmla="*/ 2147483646 w 338"/>
                    <a:gd name="T25" fmla="*/ 2147483646 h 208"/>
                    <a:gd name="T26" fmla="*/ 2147483646 w 338"/>
                    <a:gd name="T27" fmla="*/ 2147483646 h 208"/>
                    <a:gd name="T28" fmla="*/ 2147483646 w 338"/>
                    <a:gd name="T29" fmla="*/ 2147483646 h 208"/>
                    <a:gd name="T30" fmla="*/ 2147483646 w 338"/>
                    <a:gd name="T31" fmla="*/ 2147483646 h 208"/>
                    <a:gd name="T32" fmla="*/ 2147483646 w 338"/>
                    <a:gd name="T33" fmla="*/ 2147483646 h 208"/>
                    <a:gd name="T34" fmla="*/ 2147483646 w 338"/>
                    <a:gd name="T35" fmla="*/ 2147483646 h 208"/>
                    <a:gd name="T36" fmla="*/ 2147483646 w 338"/>
                    <a:gd name="T37" fmla="*/ 2147483646 h 208"/>
                    <a:gd name="T38" fmla="*/ 2147483646 w 338"/>
                    <a:gd name="T39" fmla="*/ 2147483646 h 208"/>
                    <a:gd name="T40" fmla="*/ 2147483646 w 338"/>
                    <a:gd name="T41" fmla="*/ 2147483646 h 208"/>
                    <a:gd name="T42" fmla="*/ 2147483646 w 338"/>
                    <a:gd name="T43" fmla="*/ 2147483646 h 208"/>
                    <a:gd name="T44" fmla="*/ 2147483646 w 338"/>
                    <a:gd name="T45" fmla="*/ 2147483646 h 208"/>
                    <a:gd name="T46" fmla="*/ 2147483646 w 338"/>
                    <a:gd name="T47" fmla="*/ 2147483646 h 208"/>
                    <a:gd name="T48" fmla="*/ 2147483646 w 338"/>
                    <a:gd name="T49" fmla="*/ 2147483646 h 208"/>
                    <a:gd name="T50" fmla="*/ 2147483646 w 338"/>
                    <a:gd name="T51" fmla="*/ 2147483646 h 208"/>
                    <a:gd name="T52" fmla="*/ 2147483646 w 338"/>
                    <a:gd name="T53" fmla="*/ 2147483646 h 208"/>
                    <a:gd name="T54" fmla="*/ 2147483646 w 338"/>
                    <a:gd name="T55" fmla="*/ 2147483646 h 208"/>
                    <a:gd name="T56" fmla="*/ 2147483646 w 338"/>
                    <a:gd name="T57" fmla="*/ 2147483646 h 208"/>
                    <a:gd name="T58" fmla="*/ 2147483646 w 338"/>
                    <a:gd name="T59" fmla="*/ 2147483646 h 208"/>
                    <a:gd name="T60" fmla="*/ 2147483646 w 338"/>
                    <a:gd name="T61" fmla="*/ 2147483646 h 208"/>
                    <a:gd name="T62" fmla="*/ 2147483646 w 338"/>
                    <a:gd name="T63" fmla="*/ 2147483646 h 208"/>
                    <a:gd name="T64" fmla="*/ 2147483646 w 338"/>
                    <a:gd name="T65" fmla="*/ 2147483646 h 208"/>
                    <a:gd name="T66" fmla="*/ 2147483646 w 338"/>
                    <a:gd name="T67" fmla="*/ 2147483646 h 208"/>
                    <a:gd name="T68" fmla="*/ 2147483646 w 338"/>
                    <a:gd name="T69" fmla="*/ 2147483646 h 208"/>
                    <a:gd name="T70" fmla="*/ 2147483646 w 338"/>
                    <a:gd name="T71" fmla="*/ 2147483646 h 208"/>
                    <a:gd name="T72" fmla="*/ 2147483646 w 338"/>
                    <a:gd name="T73" fmla="*/ 2147483646 h 208"/>
                    <a:gd name="T74" fmla="*/ 2147483646 w 338"/>
                    <a:gd name="T75" fmla="*/ 2147483646 h 208"/>
                    <a:gd name="T76" fmla="*/ 2147483646 w 338"/>
                    <a:gd name="T77" fmla="*/ 2147483646 h 208"/>
                    <a:gd name="T78" fmla="*/ 2147483646 w 338"/>
                    <a:gd name="T79" fmla="*/ 2147483646 h 208"/>
                    <a:gd name="T80" fmla="*/ 2147483646 w 338"/>
                    <a:gd name="T81" fmla="*/ 2147483646 h 208"/>
                    <a:gd name="T82" fmla="*/ 2147483646 w 338"/>
                    <a:gd name="T83" fmla="*/ 2147483646 h 208"/>
                    <a:gd name="T84" fmla="*/ 2147483646 w 338"/>
                    <a:gd name="T85" fmla="*/ 2147483646 h 208"/>
                    <a:gd name="T86" fmla="*/ 2147483646 w 338"/>
                    <a:gd name="T87" fmla="*/ 2147483646 h 208"/>
                    <a:gd name="T88" fmla="*/ 2147483646 w 338"/>
                    <a:gd name="T89" fmla="*/ 2147483646 h 208"/>
                    <a:gd name="T90" fmla="*/ 2147483646 w 338"/>
                    <a:gd name="T91" fmla="*/ 2147483646 h 208"/>
                    <a:gd name="T92" fmla="*/ 2147483646 w 338"/>
                    <a:gd name="T93" fmla="*/ 0 h 2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38"/>
                    <a:gd name="T142" fmla="*/ 0 h 208"/>
                    <a:gd name="T143" fmla="*/ 338 w 338"/>
                    <a:gd name="T144" fmla="*/ 208 h 2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38" h="208">
                      <a:moveTo>
                        <a:pt x="300" y="2"/>
                      </a:moveTo>
                      <a:lnTo>
                        <a:pt x="112" y="10"/>
                      </a:lnTo>
                      <a:lnTo>
                        <a:pt x="0" y="10"/>
                      </a:lnTo>
                      <a:lnTo>
                        <a:pt x="20" y="24"/>
                      </a:lnTo>
                      <a:lnTo>
                        <a:pt x="36" y="34"/>
                      </a:lnTo>
                      <a:lnTo>
                        <a:pt x="48" y="42"/>
                      </a:lnTo>
                      <a:lnTo>
                        <a:pt x="58" y="46"/>
                      </a:lnTo>
                      <a:lnTo>
                        <a:pt x="68" y="52"/>
                      </a:lnTo>
                      <a:lnTo>
                        <a:pt x="74" y="60"/>
                      </a:lnTo>
                      <a:lnTo>
                        <a:pt x="74" y="62"/>
                      </a:lnTo>
                      <a:lnTo>
                        <a:pt x="72" y="66"/>
                      </a:lnTo>
                      <a:lnTo>
                        <a:pt x="66" y="68"/>
                      </a:lnTo>
                      <a:lnTo>
                        <a:pt x="58" y="70"/>
                      </a:lnTo>
                      <a:lnTo>
                        <a:pt x="44" y="72"/>
                      </a:lnTo>
                      <a:lnTo>
                        <a:pt x="38" y="72"/>
                      </a:lnTo>
                      <a:lnTo>
                        <a:pt x="38" y="74"/>
                      </a:lnTo>
                      <a:lnTo>
                        <a:pt x="38" y="76"/>
                      </a:lnTo>
                      <a:lnTo>
                        <a:pt x="42" y="78"/>
                      </a:lnTo>
                      <a:lnTo>
                        <a:pt x="52" y="84"/>
                      </a:lnTo>
                      <a:lnTo>
                        <a:pt x="82" y="96"/>
                      </a:lnTo>
                      <a:lnTo>
                        <a:pt x="108" y="104"/>
                      </a:lnTo>
                      <a:lnTo>
                        <a:pt x="132" y="108"/>
                      </a:lnTo>
                      <a:lnTo>
                        <a:pt x="156" y="108"/>
                      </a:lnTo>
                      <a:lnTo>
                        <a:pt x="164" y="106"/>
                      </a:lnTo>
                      <a:lnTo>
                        <a:pt x="164" y="108"/>
                      </a:lnTo>
                      <a:lnTo>
                        <a:pt x="148" y="114"/>
                      </a:lnTo>
                      <a:lnTo>
                        <a:pt x="102" y="126"/>
                      </a:lnTo>
                      <a:lnTo>
                        <a:pt x="94" y="128"/>
                      </a:lnTo>
                      <a:lnTo>
                        <a:pt x="90" y="132"/>
                      </a:lnTo>
                      <a:lnTo>
                        <a:pt x="86" y="134"/>
                      </a:lnTo>
                      <a:lnTo>
                        <a:pt x="86" y="138"/>
                      </a:lnTo>
                      <a:lnTo>
                        <a:pt x="88" y="144"/>
                      </a:lnTo>
                      <a:lnTo>
                        <a:pt x="96" y="148"/>
                      </a:lnTo>
                      <a:lnTo>
                        <a:pt x="108" y="154"/>
                      </a:lnTo>
                      <a:lnTo>
                        <a:pt x="138" y="164"/>
                      </a:lnTo>
                      <a:lnTo>
                        <a:pt x="158" y="170"/>
                      </a:lnTo>
                      <a:lnTo>
                        <a:pt x="168" y="172"/>
                      </a:lnTo>
                      <a:lnTo>
                        <a:pt x="168" y="174"/>
                      </a:lnTo>
                      <a:lnTo>
                        <a:pt x="164" y="178"/>
                      </a:lnTo>
                      <a:lnTo>
                        <a:pt x="144" y="182"/>
                      </a:lnTo>
                      <a:lnTo>
                        <a:pt x="118" y="190"/>
                      </a:lnTo>
                      <a:lnTo>
                        <a:pt x="106" y="192"/>
                      </a:lnTo>
                      <a:lnTo>
                        <a:pt x="100" y="196"/>
                      </a:lnTo>
                      <a:lnTo>
                        <a:pt x="98" y="198"/>
                      </a:lnTo>
                      <a:lnTo>
                        <a:pt x="106" y="202"/>
                      </a:lnTo>
                      <a:lnTo>
                        <a:pt x="120" y="204"/>
                      </a:lnTo>
                      <a:lnTo>
                        <a:pt x="134" y="206"/>
                      </a:lnTo>
                      <a:lnTo>
                        <a:pt x="166" y="208"/>
                      </a:lnTo>
                      <a:lnTo>
                        <a:pt x="192" y="208"/>
                      </a:lnTo>
                      <a:lnTo>
                        <a:pt x="208" y="208"/>
                      </a:lnTo>
                      <a:lnTo>
                        <a:pt x="230" y="206"/>
                      </a:lnTo>
                      <a:lnTo>
                        <a:pt x="242" y="204"/>
                      </a:lnTo>
                      <a:lnTo>
                        <a:pt x="246" y="202"/>
                      </a:lnTo>
                      <a:lnTo>
                        <a:pt x="248" y="198"/>
                      </a:lnTo>
                      <a:lnTo>
                        <a:pt x="246" y="192"/>
                      </a:lnTo>
                      <a:lnTo>
                        <a:pt x="242" y="184"/>
                      </a:lnTo>
                      <a:lnTo>
                        <a:pt x="232" y="170"/>
                      </a:lnTo>
                      <a:lnTo>
                        <a:pt x="230" y="162"/>
                      </a:lnTo>
                      <a:lnTo>
                        <a:pt x="228" y="154"/>
                      </a:lnTo>
                      <a:lnTo>
                        <a:pt x="228" y="150"/>
                      </a:lnTo>
                      <a:lnTo>
                        <a:pt x="230" y="146"/>
                      </a:lnTo>
                      <a:lnTo>
                        <a:pt x="234" y="142"/>
                      </a:lnTo>
                      <a:lnTo>
                        <a:pt x="238" y="140"/>
                      </a:lnTo>
                      <a:lnTo>
                        <a:pt x="280" y="122"/>
                      </a:lnTo>
                      <a:lnTo>
                        <a:pt x="306" y="110"/>
                      </a:lnTo>
                      <a:lnTo>
                        <a:pt x="308" y="108"/>
                      </a:lnTo>
                      <a:lnTo>
                        <a:pt x="308" y="106"/>
                      </a:lnTo>
                      <a:lnTo>
                        <a:pt x="306" y="102"/>
                      </a:lnTo>
                      <a:lnTo>
                        <a:pt x="290" y="90"/>
                      </a:lnTo>
                      <a:lnTo>
                        <a:pt x="270" y="78"/>
                      </a:lnTo>
                      <a:lnTo>
                        <a:pt x="260" y="72"/>
                      </a:lnTo>
                      <a:lnTo>
                        <a:pt x="262" y="70"/>
                      </a:lnTo>
                      <a:lnTo>
                        <a:pt x="264" y="66"/>
                      </a:lnTo>
                      <a:lnTo>
                        <a:pt x="278" y="60"/>
                      </a:lnTo>
                      <a:lnTo>
                        <a:pt x="300" y="52"/>
                      </a:lnTo>
                      <a:lnTo>
                        <a:pt x="324" y="32"/>
                      </a:lnTo>
                      <a:lnTo>
                        <a:pt x="338" y="0"/>
                      </a:lnTo>
                      <a:lnTo>
                        <a:pt x="300" y="2"/>
                      </a:lnTo>
                      <a:close/>
                    </a:path>
                  </a:pathLst>
                </a:custGeom>
                <a:solidFill>
                  <a:srgbClr val="FDD1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45" name="Freeform 94"/>
                <p:cNvSpPr>
                  <a:spLocks/>
                </p:cNvSpPr>
                <p:nvPr/>
              </p:nvSpPr>
              <p:spPr bwMode="auto">
                <a:xfrm>
                  <a:off x="5097465" y="2143116"/>
                  <a:ext cx="1406525" cy="1447800"/>
                </a:xfrm>
                <a:custGeom>
                  <a:avLst/>
                  <a:gdLst>
                    <a:gd name="T0" fmla="*/ 2147483646 w 886"/>
                    <a:gd name="T1" fmla="*/ 2147483646 h 912"/>
                    <a:gd name="T2" fmla="*/ 2147483646 w 886"/>
                    <a:gd name="T3" fmla="*/ 2147483646 h 912"/>
                    <a:gd name="T4" fmla="*/ 2147483646 w 886"/>
                    <a:gd name="T5" fmla="*/ 2147483646 h 912"/>
                    <a:gd name="T6" fmla="*/ 2147483646 w 886"/>
                    <a:gd name="T7" fmla="*/ 2147483646 h 912"/>
                    <a:gd name="T8" fmla="*/ 2147483646 w 886"/>
                    <a:gd name="T9" fmla="*/ 2147483646 h 912"/>
                    <a:gd name="T10" fmla="*/ 2147483646 w 886"/>
                    <a:gd name="T11" fmla="*/ 2147483646 h 912"/>
                    <a:gd name="T12" fmla="*/ 2147483646 w 886"/>
                    <a:gd name="T13" fmla="*/ 2147483646 h 912"/>
                    <a:gd name="T14" fmla="*/ 2147483646 w 886"/>
                    <a:gd name="T15" fmla="*/ 2147483646 h 912"/>
                    <a:gd name="T16" fmla="*/ 2147483646 w 886"/>
                    <a:gd name="T17" fmla="*/ 2147483646 h 912"/>
                    <a:gd name="T18" fmla="*/ 2147483646 w 886"/>
                    <a:gd name="T19" fmla="*/ 2147483646 h 912"/>
                    <a:gd name="T20" fmla="*/ 2147483646 w 886"/>
                    <a:gd name="T21" fmla="*/ 2147483646 h 912"/>
                    <a:gd name="T22" fmla="*/ 2147483646 w 886"/>
                    <a:gd name="T23" fmla="*/ 2147483646 h 912"/>
                    <a:gd name="T24" fmla="*/ 2147483646 w 886"/>
                    <a:gd name="T25" fmla="*/ 2147483646 h 912"/>
                    <a:gd name="T26" fmla="*/ 2147483646 w 886"/>
                    <a:gd name="T27" fmla="*/ 2147483646 h 912"/>
                    <a:gd name="T28" fmla="*/ 2147483646 w 886"/>
                    <a:gd name="T29" fmla="*/ 2147483646 h 912"/>
                    <a:gd name="T30" fmla="*/ 2147483646 w 886"/>
                    <a:gd name="T31" fmla="*/ 2147483646 h 912"/>
                    <a:gd name="T32" fmla="*/ 2147483646 w 886"/>
                    <a:gd name="T33" fmla="*/ 2147483646 h 912"/>
                    <a:gd name="T34" fmla="*/ 2147483646 w 886"/>
                    <a:gd name="T35" fmla="*/ 2147483646 h 912"/>
                    <a:gd name="T36" fmla="*/ 2147483646 w 886"/>
                    <a:gd name="T37" fmla="*/ 2147483646 h 912"/>
                    <a:gd name="T38" fmla="*/ 2147483646 w 886"/>
                    <a:gd name="T39" fmla="*/ 2147483646 h 912"/>
                    <a:gd name="T40" fmla="*/ 2147483646 w 886"/>
                    <a:gd name="T41" fmla="*/ 2147483646 h 912"/>
                    <a:gd name="T42" fmla="*/ 2147483646 w 886"/>
                    <a:gd name="T43" fmla="*/ 2147483646 h 912"/>
                    <a:gd name="T44" fmla="*/ 2147483646 w 886"/>
                    <a:gd name="T45" fmla="*/ 2147483646 h 912"/>
                    <a:gd name="T46" fmla="*/ 0 w 886"/>
                    <a:gd name="T47" fmla="*/ 2147483646 h 912"/>
                    <a:gd name="T48" fmla="*/ 2147483646 w 886"/>
                    <a:gd name="T49" fmla="*/ 2147483646 h 912"/>
                    <a:gd name="T50" fmla="*/ 2147483646 w 886"/>
                    <a:gd name="T51" fmla="*/ 2147483646 h 912"/>
                    <a:gd name="T52" fmla="*/ 2147483646 w 886"/>
                    <a:gd name="T53" fmla="*/ 2147483646 h 912"/>
                    <a:gd name="T54" fmla="*/ 2147483646 w 886"/>
                    <a:gd name="T55" fmla="*/ 2147483646 h 912"/>
                    <a:gd name="T56" fmla="*/ 2147483646 w 886"/>
                    <a:gd name="T57" fmla="*/ 2147483646 h 912"/>
                    <a:gd name="T58" fmla="*/ 2147483646 w 886"/>
                    <a:gd name="T59" fmla="*/ 2147483646 h 912"/>
                    <a:gd name="T60" fmla="*/ 2147483646 w 886"/>
                    <a:gd name="T61" fmla="*/ 2147483646 h 912"/>
                    <a:gd name="T62" fmla="*/ 2147483646 w 886"/>
                    <a:gd name="T63" fmla="*/ 2147483646 h 912"/>
                    <a:gd name="T64" fmla="*/ 2147483646 w 886"/>
                    <a:gd name="T65" fmla="*/ 2147483646 h 912"/>
                    <a:gd name="T66" fmla="*/ 2147483646 w 886"/>
                    <a:gd name="T67" fmla="*/ 2147483646 h 912"/>
                    <a:gd name="T68" fmla="*/ 2147483646 w 886"/>
                    <a:gd name="T69" fmla="*/ 2147483646 h 912"/>
                    <a:gd name="T70" fmla="*/ 2147483646 w 886"/>
                    <a:gd name="T71" fmla="*/ 2147483646 h 912"/>
                    <a:gd name="T72" fmla="*/ 2147483646 w 886"/>
                    <a:gd name="T73" fmla="*/ 2147483646 h 912"/>
                    <a:gd name="T74" fmla="*/ 2147483646 w 886"/>
                    <a:gd name="T75" fmla="*/ 2147483646 h 912"/>
                    <a:gd name="T76" fmla="*/ 2147483646 w 886"/>
                    <a:gd name="T77" fmla="*/ 2147483646 h 912"/>
                    <a:gd name="T78" fmla="*/ 2147483646 w 886"/>
                    <a:gd name="T79" fmla="*/ 2147483646 h 912"/>
                    <a:gd name="T80" fmla="*/ 2147483646 w 886"/>
                    <a:gd name="T81" fmla="*/ 2147483646 h 912"/>
                    <a:gd name="T82" fmla="*/ 2147483646 w 886"/>
                    <a:gd name="T83" fmla="*/ 2147483646 h 912"/>
                    <a:gd name="T84" fmla="*/ 2147483646 w 886"/>
                    <a:gd name="T85" fmla="*/ 2147483646 h 912"/>
                    <a:gd name="T86" fmla="*/ 2147483646 w 886"/>
                    <a:gd name="T87" fmla="*/ 2147483646 h 912"/>
                    <a:gd name="T88" fmla="*/ 2147483646 w 886"/>
                    <a:gd name="T89" fmla="*/ 2147483646 h 912"/>
                    <a:gd name="T90" fmla="*/ 2147483646 w 886"/>
                    <a:gd name="T91" fmla="*/ 2147483646 h 912"/>
                    <a:gd name="T92" fmla="*/ 2147483646 w 886"/>
                    <a:gd name="T93" fmla="*/ 2147483646 h 912"/>
                    <a:gd name="T94" fmla="*/ 2147483646 w 886"/>
                    <a:gd name="T95" fmla="*/ 2147483646 h 912"/>
                    <a:gd name="T96" fmla="*/ 2147483646 w 886"/>
                    <a:gd name="T97" fmla="*/ 2147483646 h 912"/>
                    <a:gd name="T98" fmla="*/ 2147483646 w 886"/>
                    <a:gd name="T99" fmla="*/ 2147483646 h 912"/>
                    <a:gd name="T100" fmla="*/ 2147483646 w 886"/>
                    <a:gd name="T101" fmla="*/ 2147483646 h 912"/>
                    <a:gd name="T102" fmla="*/ 2147483646 w 886"/>
                    <a:gd name="T103" fmla="*/ 2147483646 h 912"/>
                    <a:gd name="T104" fmla="*/ 2147483646 w 886"/>
                    <a:gd name="T105" fmla="*/ 2147483646 h 912"/>
                    <a:gd name="T106" fmla="*/ 2147483646 w 886"/>
                    <a:gd name="T107" fmla="*/ 2147483646 h 912"/>
                    <a:gd name="T108" fmla="*/ 2147483646 w 886"/>
                    <a:gd name="T109" fmla="*/ 2147483646 h 912"/>
                    <a:gd name="T110" fmla="*/ 2147483646 w 886"/>
                    <a:gd name="T111" fmla="*/ 2147483646 h 9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86"/>
                    <a:gd name="T169" fmla="*/ 0 h 912"/>
                    <a:gd name="T170" fmla="*/ 886 w 886"/>
                    <a:gd name="T171" fmla="*/ 912 h 9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86" h="912">
                      <a:moveTo>
                        <a:pt x="810" y="46"/>
                      </a:moveTo>
                      <a:lnTo>
                        <a:pt x="810" y="46"/>
                      </a:lnTo>
                      <a:lnTo>
                        <a:pt x="810" y="52"/>
                      </a:lnTo>
                      <a:lnTo>
                        <a:pt x="806" y="56"/>
                      </a:lnTo>
                      <a:lnTo>
                        <a:pt x="796" y="64"/>
                      </a:lnTo>
                      <a:lnTo>
                        <a:pt x="794" y="70"/>
                      </a:lnTo>
                      <a:lnTo>
                        <a:pt x="790" y="76"/>
                      </a:lnTo>
                      <a:lnTo>
                        <a:pt x="786" y="80"/>
                      </a:lnTo>
                      <a:lnTo>
                        <a:pt x="778" y="84"/>
                      </a:lnTo>
                      <a:lnTo>
                        <a:pt x="782" y="90"/>
                      </a:lnTo>
                      <a:lnTo>
                        <a:pt x="782" y="98"/>
                      </a:lnTo>
                      <a:lnTo>
                        <a:pt x="754" y="110"/>
                      </a:lnTo>
                      <a:lnTo>
                        <a:pt x="742" y="116"/>
                      </a:lnTo>
                      <a:lnTo>
                        <a:pt x="728" y="126"/>
                      </a:lnTo>
                      <a:lnTo>
                        <a:pt x="702" y="120"/>
                      </a:lnTo>
                      <a:lnTo>
                        <a:pt x="692" y="120"/>
                      </a:lnTo>
                      <a:lnTo>
                        <a:pt x="682" y="120"/>
                      </a:lnTo>
                      <a:lnTo>
                        <a:pt x="660" y="130"/>
                      </a:lnTo>
                      <a:lnTo>
                        <a:pt x="644" y="140"/>
                      </a:lnTo>
                      <a:lnTo>
                        <a:pt x="616" y="180"/>
                      </a:lnTo>
                      <a:lnTo>
                        <a:pt x="590" y="222"/>
                      </a:lnTo>
                      <a:lnTo>
                        <a:pt x="562" y="260"/>
                      </a:lnTo>
                      <a:lnTo>
                        <a:pt x="546" y="280"/>
                      </a:lnTo>
                      <a:lnTo>
                        <a:pt x="530" y="298"/>
                      </a:lnTo>
                      <a:lnTo>
                        <a:pt x="530" y="314"/>
                      </a:lnTo>
                      <a:lnTo>
                        <a:pt x="530" y="322"/>
                      </a:lnTo>
                      <a:lnTo>
                        <a:pt x="532" y="330"/>
                      </a:lnTo>
                      <a:lnTo>
                        <a:pt x="536" y="324"/>
                      </a:lnTo>
                      <a:lnTo>
                        <a:pt x="540" y="316"/>
                      </a:lnTo>
                      <a:lnTo>
                        <a:pt x="558" y="296"/>
                      </a:lnTo>
                      <a:lnTo>
                        <a:pt x="576" y="282"/>
                      </a:lnTo>
                      <a:lnTo>
                        <a:pt x="596" y="270"/>
                      </a:lnTo>
                      <a:lnTo>
                        <a:pt x="618" y="264"/>
                      </a:lnTo>
                      <a:lnTo>
                        <a:pt x="632" y="262"/>
                      </a:lnTo>
                      <a:lnTo>
                        <a:pt x="648" y="264"/>
                      </a:lnTo>
                      <a:lnTo>
                        <a:pt x="662" y="266"/>
                      </a:lnTo>
                      <a:lnTo>
                        <a:pt x="676" y="270"/>
                      </a:lnTo>
                      <a:lnTo>
                        <a:pt x="688" y="278"/>
                      </a:lnTo>
                      <a:lnTo>
                        <a:pt x="702" y="286"/>
                      </a:lnTo>
                      <a:lnTo>
                        <a:pt x="712" y="298"/>
                      </a:lnTo>
                      <a:lnTo>
                        <a:pt x="722" y="312"/>
                      </a:lnTo>
                      <a:lnTo>
                        <a:pt x="728" y="328"/>
                      </a:lnTo>
                      <a:lnTo>
                        <a:pt x="732" y="346"/>
                      </a:lnTo>
                      <a:lnTo>
                        <a:pt x="734" y="368"/>
                      </a:lnTo>
                      <a:lnTo>
                        <a:pt x="734" y="390"/>
                      </a:lnTo>
                      <a:lnTo>
                        <a:pt x="730" y="410"/>
                      </a:lnTo>
                      <a:lnTo>
                        <a:pt x="724" y="430"/>
                      </a:lnTo>
                      <a:lnTo>
                        <a:pt x="716" y="448"/>
                      </a:lnTo>
                      <a:lnTo>
                        <a:pt x="708" y="460"/>
                      </a:lnTo>
                      <a:lnTo>
                        <a:pt x="700" y="498"/>
                      </a:lnTo>
                      <a:lnTo>
                        <a:pt x="696" y="512"/>
                      </a:lnTo>
                      <a:lnTo>
                        <a:pt x="692" y="524"/>
                      </a:lnTo>
                      <a:lnTo>
                        <a:pt x="686" y="534"/>
                      </a:lnTo>
                      <a:lnTo>
                        <a:pt x="678" y="540"/>
                      </a:lnTo>
                      <a:lnTo>
                        <a:pt x="668" y="542"/>
                      </a:lnTo>
                      <a:lnTo>
                        <a:pt x="652" y="544"/>
                      </a:lnTo>
                      <a:lnTo>
                        <a:pt x="650" y="556"/>
                      </a:lnTo>
                      <a:lnTo>
                        <a:pt x="652" y="570"/>
                      </a:lnTo>
                      <a:lnTo>
                        <a:pt x="656" y="582"/>
                      </a:lnTo>
                      <a:lnTo>
                        <a:pt x="664" y="592"/>
                      </a:lnTo>
                      <a:lnTo>
                        <a:pt x="678" y="600"/>
                      </a:lnTo>
                      <a:lnTo>
                        <a:pt x="692" y="604"/>
                      </a:lnTo>
                      <a:lnTo>
                        <a:pt x="722" y="610"/>
                      </a:lnTo>
                      <a:lnTo>
                        <a:pt x="738" y="616"/>
                      </a:lnTo>
                      <a:lnTo>
                        <a:pt x="756" y="622"/>
                      </a:lnTo>
                      <a:lnTo>
                        <a:pt x="764" y="628"/>
                      </a:lnTo>
                      <a:lnTo>
                        <a:pt x="770" y="634"/>
                      </a:lnTo>
                      <a:lnTo>
                        <a:pt x="778" y="640"/>
                      </a:lnTo>
                      <a:lnTo>
                        <a:pt x="782" y="650"/>
                      </a:lnTo>
                      <a:lnTo>
                        <a:pt x="794" y="684"/>
                      </a:lnTo>
                      <a:lnTo>
                        <a:pt x="798" y="702"/>
                      </a:lnTo>
                      <a:lnTo>
                        <a:pt x="802" y="720"/>
                      </a:lnTo>
                      <a:lnTo>
                        <a:pt x="808" y="746"/>
                      </a:lnTo>
                      <a:lnTo>
                        <a:pt x="810" y="758"/>
                      </a:lnTo>
                      <a:lnTo>
                        <a:pt x="810" y="770"/>
                      </a:lnTo>
                      <a:lnTo>
                        <a:pt x="824" y="772"/>
                      </a:lnTo>
                      <a:lnTo>
                        <a:pt x="838" y="770"/>
                      </a:lnTo>
                      <a:lnTo>
                        <a:pt x="868" y="766"/>
                      </a:lnTo>
                      <a:lnTo>
                        <a:pt x="864" y="764"/>
                      </a:lnTo>
                      <a:lnTo>
                        <a:pt x="860" y="762"/>
                      </a:lnTo>
                      <a:lnTo>
                        <a:pt x="848" y="756"/>
                      </a:lnTo>
                      <a:lnTo>
                        <a:pt x="852" y="756"/>
                      </a:lnTo>
                      <a:lnTo>
                        <a:pt x="856" y="756"/>
                      </a:lnTo>
                      <a:lnTo>
                        <a:pt x="870" y="760"/>
                      </a:lnTo>
                      <a:lnTo>
                        <a:pt x="882" y="766"/>
                      </a:lnTo>
                      <a:lnTo>
                        <a:pt x="886" y="768"/>
                      </a:lnTo>
                      <a:lnTo>
                        <a:pt x="886" y="770"/>
                      </a:lnTo>
                      <a:lnTo>
                        <a:pt x="878" y="774"/>
                      </a:lnTo>
                      <a:lnTo>
                        <a:pt x="864" y="776"/>
                      </a:lnTo>
                      <a:lnTo>
                        <a:pt x="820" y="782"/>
                      </a:lnTo>
                      <a:lnTo>
                        <a:pt x="764" y="786"/>
                      </a:lnTo>
                      <a:lnTo>
                        <a:pt x="700" y="790"/>
                      </a:lnTo>
                      <a:lnTo>
                        <a:pt x="576" y="792"/>
                      </a:lnTo>
                      <a:lnTo>
                        <a:pt x="528" y="790"/>
                      </a:lnTo>
                      <a:lnTo>
                        <a:pt x="502" y="790"/>
                      </a:lnTo>
                      <a:lnTo>
                        <a:pt x="522" y="840"/>
                      </a:lnTo>
                      <a:lnTo>
                        <a:pt x="544" y="890"/>
                      </a:lnTo>
                      <a:lnTo>
                        <a:pt x="580" y="884"/>
                      </a:lnTo>
                      <a:lnTo>
                        <a:pt x="580" y="886"/>
                      </a:lnTo>
                      <a:lnTo>
                        <a:pt x="578" y="888"/>
                      </a:lnTo>
                      <a:lnTo>
                        <a:pt x="572" y="892"/>
                      </a:lnTo>
                      <a:lnTo>
                        <a:pt x="562" y="896"/>
                      </a:lnTo>
                      <a:lnTo>
                        <a:pt x="546" y="900"/>
                      </a:lnTo>
                      <a:lnTo>
                        <a:pt x="524" y="904"/>
                      </a:lnTo>
                      <a:lnTo>
                        <a:pt x="492" y="908"/>
                      </a:lnTo>
                      <a:lnTo>
                        <a:pt x="448" y="910"/>
                      </a:lnTo>
                      <a:lnTo>
                        <a:pt x="370" y="912"/>
                      </a:lnTo>
                      <a:lnTo>
                        <a:pt x="268" y="912"/>
                      </a:lnTo>
                      <a:lnTo>
                        <a:pt x="166" y="908"/>
                      </a:lnTo>
                      <a:lnTo>
                        <a:pt x="94" y="902"/>
                      </a:lnTo>
                      <a:lnTo>
                        <a:pt x="68" y="898"/>
                      </a:lnTo>
                      <a:lnTo>
                        <a:pt x="48" y="894"/>
                      </a:lnTo>
                      <a:lnTo>
                        <a:pt x="30" y="890"/>
                      </a:lnTo>
                      <a:lnTo>
                        <a:pt x="18" y="886"/>
                      </a:lnTo>
                      <a:lnTo>
                        <a:pt x="10" y="882"/>
                      </a:lnTo>
                      <a:lnTo>
                        <a:pt x="4" y="878"/>
                      </a:lnTo>
                      <a:lnTo>
                        <a:pt x="0" y="874"/>
                      </a:lnTo>
                      <a:lnTo>
                        <a:pt x="0" y="872"/>
                      </a:lnTo>
                      <a:lnTo>
                        <a:pt x="4" y="864"/>
                      </a:lnTo>
                      <a:lnTo>
                        <a:pt x="10" y="858"/>
                      </a:lnTo>
                      <a:lnTo>
                        <a:pt x="18" y="854"/>
                      </a:lnTo>
                      <a:lnTo>
                        <a:pt x="26" y="852"/>
                      </a:lnTo>
                      <a:lnTo>
                        <a:pt x="42" y="852"/>
                      </a:lnTo>
                      <a:lnTo>
                        <a:pt x="54" y="852"/>
                      </a:lnTo>
                      <a:lnTo>
                        <a:pt x="30" y="858"/>
                      </a:lnTo>
                      <a:lnTo>
                        <a:pt x="24" y="862"/>
                      </a:lnTo>
                      <a:lnTo>
                        <a:pt x="22" y="864"/>
                      </a:lnTo>
                      <a:lnTo>
                        <a:pt x="20" y="868"/>
                      </a:lnTo>
                      <a:lnTo>
                        <a:pt x="28" y="872"/>
                      </a:lnTo>
                      <a:lnTo>
                        <a:pt x="40" y="876"/>
                      </a:lnTo>
                      <a:lnTo>
                        <a:pt x="68" y="882"/>
                      </a:lnTo>
                      <a:lnTo>
                        <a:pt x="104" y="888"/>
                      </a:lnTo>
                      <a:lnTo>
                        <a:pt x="98" y="866"/>
                      </a:lnTo>
                      <a:lnTo>
                        <a:pt x="96" y="856"/>
                      </a:lnTo>
                      <a:lnTo>
                        <a:pt x="94" y="846"/>
                      </a:lnTo>
                      <a:lnTo>
                        <a:pt x="96" y="834"/>
                      </a:lnTo>
                      <a:lnTo>
                        <a:pt x="98" y="820"/>
                      </a:lnTo>
                      <a:lnTo>
                        <a:pt x="102" y="806"/>
                      </a:lnTo>
                      <a:lnTo>
                        <a:pt x="108" y="792"/>
                      </a:lnTo>
                      <a:lnTo>
                        <a:pt x="110" y="784"/>
                      </a:lnTo>
                      <a:lnTo>
                        <a:pt x="110" y="770"/>
                      </a:lnTo>
                      <a:lnTo>
                        <a:pt x="106" y="730"/>
                      </a:lnTo>
                      <a:lnTo>
                        <a:pt x="104" y="680"/>
                      </a:lnTo>
                      <a:lnTo>
                        <a:pt x="102" y="632"/>
                      </a:lnTo>
                      <a:lnTo>
                        <a:pt x="102" y="512"/>
                      </a:lnTo>
                      <a:lnTo>
                        <a:pt x="100" y="450"/>
                      </a:lnTo>
                      <a:lnTo>
                        <a:pt x="98" y="392"/>
                      </a:lnTo>
                      <a:lnTo>
                        <a:pt x="96" y="376"/>
                      </a:lnTo>
                      <a:lnTo>
                        <a:pt x="94" y="354"/>
                      </a:lnTo>
                      <a:lnTo>
                        <a:pt x="96" y="336"/>
                      </a:lnTo>
                      <a:lnTo>
                        <a:pt x="98" y="330"/>
                      </a:lnTo>
                      <a:lnTo>
                        <a:pt x="100" y="326"/>
                      </a:lnTo>
                      <a:lnTo>
                        <a:pt x="228" y="246"/>
                      </a:lnTo>
                      <a:lnTo>
                        <a:pt x="296" y="202"/>
                      </a:lnTo>
                      <a:lnTo>
                        <a:pt x="322" y="184"/>
                      </a:lnTo>
                      <a:lnTo>
                        <a:pt x="336" y="170"/>
                      </a:lnTo>
                      <a:lnTo>
                        <a:pt x="374" y="138"/>
                      </a:lnTo>
                      <a:lnTo>
                        <a:pt x="392" y="122"/>
                      </a:lnTo>
                      <a:lnTo>
                        <a:pt x="400" y="116"/>
                      </a:lnTo>
                      <a:lnTo>
                        <a:pt x="408" y="114"/>
                      </a:lnTo>
                      <a:lnTo>
                        <a:pt x="432" y="116"/>
                      </a:lnTo>
                      <a:lnTo>
                        <a:pt x="464" y="124"/>
                      </a:lnTo>
                      <a:lnTo>
                        <a:pt x="496" y="130"/>
                      </a:lnTo>
                      <a:lnTo>
                        <a:pt x="526" y="134"/>
                      </a:lnTo>
                      <a:lnTo>
                        <a:pt x="526" y="138"/>
                      </a:lnTo>
                      <a:lnTo>
                        <a:pt x="526" y="142"/>
                      </a:lnTo>
                      <a:lnTo>
                        <a:pt x="524" y="146"/>
                      </a:lnTo>
                      <a:lnTo>
                        <a:pt x="520" y="150"/>
                      </a:lnTo>
                      <a:lnTo>
                        <a:pt x="518" y="152"/>
                      </a:lnTo>
                      <a:lnTo>
                        <a:pt x="516" y="156"/>
                      </a:lnTo>
                      <a:lnTo>
                        <a:pt x="512" y="160"/>
                      </a:lnTo>
                      <a:lnTo>
                        <a:pt x="506" y="164"/>
                      </a:lnTo>
                      <a:lnTo>
                        <a:pt x="500" y="166"/>
                      </a:lnTo>
                      <a:lnTo>
                        <a:pt x="496" y="170"/>
                      </a:lnTo>
                      <a:lnTo>
                        <a:pt x="492" y="176"/>
                      </a:lnTo>
                      <a:lnTo>
                        <a:pt x="480" y="182"/>
                      </a:lnTo>
                      <a:lnTo>
                        <a:pt x="470" y="184"/>
                      </a:lnTo>
                      <a:lnTo>
                        <a:pt x="472" y="188"/>
                      </a:lnTo>
                      <a:lnTo>
                        <a:pt x="474" y="190"/>
                      </a:lnTo>
                      <a:lnTo>
                        <a:pt x="474" y="198"/>
                      </a:lnTo>
                      <a:lnTo>
                        <a:pt x="442" y="212"/>
                      </a:lnTo>
                      <a:lnTo>
                        <a:pt x="434" y="218"/>
                      </a:lnTo>
                      <a:lnTo>
                        <a:pt x="428" y="224"/>
                      </a:lnTo>
                      <a:lnTo>
                        <a:pt x="418" y="234"/>
                      </a:lnTo>
                      <a:lnTo>
                        <a:pt x="412" y="238"/>
                      </a:lnTo>
                      <a:lnTo>
                        <a:pt x="406" y="242"/>
                      </a:lnTo>
                      <a:lnTo>
                        <a:pt x="396" y="242"/>
                      </a:lnTo>
                      <a:lnTo>
                        <a:pt x="384" y="242"/>
                      </a:lnTo>
                      <a:lnTo>
                        <a:pt x="374" y="240"/>
                      </a:lnTo>
                      <a:lnTo>
                        <a:pt x="366" y="236"/>
                      </a:lnTo>
                      <a:lnTo>
                        <a:pt x="358" y="234"/>
                      </a:lnTo>
                      <a:lnTo>
                        <a:pt x="354" y="236"/>
                      </a:lnTo>
                      <a:lnTo>
                        <a:pt x="350" y="238"/>
                      </a:lnTo>
                      <a:lnTo>
                        <a:pt x="294" y="290"/>
                      </a:lnTo>
                      <a:lnTo>
                        <a:pt x="244" y="334"/>
                      </a:lnTo>
                      <a:lnTo>
                        <a:pt x="220" y="356"/>
                      </a:lnTo>
                      <a:lnTo>
                        <a:pt x="196" y="374"/>
                      </a:lnTo>
                      <a:lnTo>
                        <a:pt x="202" y="444"/>
                      </a:lnTo>
                      <a:lnTo>
                        <a:pt x="210" y="514"/>
                      </a:lnTo>
                      <a:lnTo>
                        <a:pt x="212" y="512"/>
                      </a:lnTo>
                      <a:lnTo>
                        <a:pt x="214" y="506"/>
                      </a:lnTo>
                      <a:lnTo>
                        <a:pt x="214" y="498"/>
                      </a:lnTo>
                      <a:lnTo>
                        <a:pt x="210" y="484"/>
                      </a:lnTo>
                      <a:lnTo>
                        <a:pt x="208" y="472"/>
                      </a:lnTo>
                      <a:lnTo>
                        <a:pt x="210" y="462"/>
                      </a:lnTo>
                      <a:lnTo>
                        <a:pt x="210" y="456"/>
                      </a:lnTo>
                      <a:lnTo>
                        <a:pt x="214" y="444"/>
                      </a:lnTo>
                      <a:lnTo>
                        <a:pt x="216" y="438"/>
                      </a:lnTo>
                      <a:lnTo>
                        <a:pt x="214" y="430"/>
                      </a:lnTo>
                      <a:lnTo>
                        <a:pt x="214" y="418"/>
                      </a:lnTo>
                      <a:lnTo>
                        <a:pt x="212" y="404"/>
                      </a:lnTo>
                      <a:lnTo>
                        <a:pt x="212" y="398"/>
                      </a:lnTo>
                      <a:lnTo>
                        <a:pt x="214" y="392"/>
                      </a:lnTo>
                      <a:lnTo>
                        <a:pt x="218" y="388"/>
                      </a:lnTo>
                      <a:lnTo>
                        <a:pt x="224" y="382"/>
                      </a:lnTo>
                      <a:lnTo>
                        <a:pt x="230" y="380"/>
                      </a:lnTo>
                      <a:lnTo>
                        <a:pt x="234" y="376"/>
                      </a:lnTo>
                      <a:lnTo>
                        <a:pt x="238" y="372"/>
                      </a:lnTo>
                      <a:lnTo>
                        <a:pt x="238" y="366"/>
                      </a:lnTo>
                      <a:lnTo>
                        <a:pt x="242" y="356"/>
                      </a:lnTo>
                      <a:lnTo>
                        <a:pt x="244" y="350"/>
                      </a:lnTo>
                      <a:lnTo>
                        <a:pt x="248" y="346"/>
                      </a:lnTo>
                      <a:lnTo>
                        <a:pt x="254" y="344"/>
                      </a:lnTo>
                      <a:lnTo>
                        <a:pt x="262" y="344"/>
                      </a:lnTo>
                      <a:lnTo>
                        <a:pt x="268" y="342"/>
                      </a:lnTo>
                      <a:lnTo>
                        <a:pt x="270" y="340"/>
                      </a:lnTo>
                      <a:lnTo>
                        <a:pt x="270" y="336"/>
                      </a:lnTo>
                      <a:lnTo>
                        <a:pt x="272" y="330"/>
                      </a:lnTo>
                      <a:lnTo>
                        <a:pt x="278" y="326"/>
                      </a:lnTo>
                      <a:lnTo>
                        <a:pt x="286" y="322"/>
                      </a:lnTo>
                      <a:lnTo>
                        <a:pt x="294" y="320"/>
                      </a:lnTo>
                      <a:lnTo>
                        <a:pt x="302" y="320"/>
                      </a:lnTo>
                      <a:lnTo>
                        <a:pt x="310" y="324"/>
                      </a:lnTo>
                      <a:lnTo>
                        <a:pt x="320" y="314"/>
                      </a:lnTo>
                      <a:lnTo>
                        <a:pt x="326" y="312"/>
                      </a:lnTo>
                      <a:lnTo>
                        <a:pt x="334" y="310"/>
                      </a:lnTo>
                      <a:lnTo>
                        <a:pt x="340" y="310"/>
                      </a:lnTo>
                      <a:lnTo>
                        <a:pt x="346" y="312"/>
                      </a:lnTo>
                      <a:lnTo>
                        <a:pt x="358" y="320"/>
                      </a:lnTo>
                      <a:lnTo>
                        <a:pt x="374" y="320"/>
                      </a:lnTo>
                      <a:lnTo>
                        <a:pt x="390" y="322"/>
                      </a:lnTo>
                      <a:lnTo>
                        <a:pt x="398" y="326"/>
                      </a:lnTo>
                      <a:lnTo>
                        <a:pt x="406" y="330"/>
                      </a:lnTo>
                      <a:lnTo>
                        <a:pt x="412" y="336"/>
                      </a:lnTo>
                      <a:lnTo>
                        <a:pt x="418" y="342"/>
                      </a:lnTo>
                      <a:lnTo>
                        <a:pt x="418" y="336"/>
                      </a:lnTo>
                      <a:lnTo>
                        <a:pt x="420" y="330"/>
                      </a:lnTo>
                      <a:lnTo>
                        <a:pt x="418" y="316"/>
                      </a:lnTo>
                      <a:lnTo>
                        <a:pt x="418" y="300"/>
                      </a:lnTo>
                      <a:lnTo>
                        <a:pt x="418" y="294"/>
                      </a:lnTo>
                      <a:lnTo>
                        <a:pt x="420" y="288"/>
                      </a:lnTo>
                      <a:lnTo>
                        <a:pt x="462" y="246"/>
                      </a:lnTo>
                      <a:lnTo>
                        <a:pt x="500" y="204"/>
                      </a:lnTo>
                      <a:lnTo>
                        <a:pt x="538" y="158"/>
                      </a:lnTo>
                      <a:lnTo>
                        <a:pt x="574" y="112"/>
                      </a:lnTo>
                      <a:lnTo>
                        <a:pt x="602" y="92"/>
                      </a:lnTo>
                      <a:lnTo>
                        <a:pt x="628" y="74"/>
                      </a:lnTo>
                      <a:lnTo>
                        <a:pt x="652" y="52"/>
                      </a:lnTo>
                      <a:lnTo>
                        <a:pt x="664" y="40"/>
                      </a:lnTo>
                      <a:lnTo>
                        <a:pt x="674" y="26"/>
                      </a:lnTo>
                      <a:lnTo>
                        <a:pt x="682" y="16"/>
                      </a:lnTo>
                      <a:lnTo>
                        <a:pt x="690" y="6"/>
                      </a:lnTo>
                      <a:lnTo>
                        <a:pt x="702" y="2"/>
                      </a:lnTo>
                      <a:lnTo>
                        <a:pt x="708" y="0"/>
                      </a:lnTo>
                      <a:lnTo>
                        <a:pt x="714" y="0"/>
                      </a:lnTo>
                      <a:lnTo>
                        <a:pt x="726" y="6"/>
                      </a:lnTo>
                      <a:lnTo>
                        <a:pt x="740" y="12"/>
                      </a:lnTo>
                      <a:lnTo>
                        <a:pt x="756" y="20"/>
                      </a:lnTo>
                      <a:lnTo>
                        <a:pt x="770" y="24"/>
                      </a:lnTo>
                      <a:lnTo>
                        <a:pt x="782" y="24"/>
                      </a:lnTo>
                      <a:lnTo>
                        <a:pt x="796" y="22"/>
                      </a:lnTo>
                      <a:lnTo>
                        <a:pt x="810" y="20"/>
                      </a:lnTo>
                      <a:lnTo>
                        <a:pt x="816" y="22"/>
                      </a:lnTo>
                      <a:lnTo>
                        <a:pt x="816" y="24"/>
                      </a:lnTo>
                      <a:lnTo>
                        <a:pt x="816" y="32"/>
                      </a:lnTo>
                      <a:lnTo>
                        <a:pt x="812" y="38"/>
                      </a:lnTo>
                      <a:lnTo>
                        <a:pt x="810" y="42"/>
                      </a:lnTo>
                      <a:lnTo>
                        <a:pt x="806" y="42"/>
                      </a:lnTo>
                      <a:lnTo>
                        <a:pt x="810"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46" name="Freeform 95"/>
                <p:cNvSpPr>
                  <a:spLocks/>
                </p:cNvSpPr>
                <p:nvPr/>
              </p:nvSpPr>
              <p:spPr bwMode="auto">
                <a:xfrm>
                  <a:off x="5789615" y="2165341"/>
                  <a:ext cx="568325" cy="1219200"/>
                </a:xfrm>
                <a:custGeom>
                  <a:avLst/>
                  <a:gdLst>
                    <a:gd name="T0" fmla="*/ 2147483646 w 358"/>
                    <a:gd name="T1" fmla="*/ 2147483646 h 768"/>
                    <a:gd name="T2" fmla="*/ 2147483646 w 358"/>
                    <a:gd name="T3" fmla="*/ 2147483646 h 768"/>
                    <a:gd name="T4" fmla="*/ 2147483646 w 358"/>
                    <a:gd name="T5" fmla="*/ 2147483646 h 768"/>
                    <a:gd name="T6" fmla="*/ 2147483646 w 358"/>
                    <a:gd name="T7" fmla="*/ 2147483646 h 768"/>
                    <a:gd name="T8" fmla="*/ 2147483646 w 358"/>
                    <a:gd name="T9" fmla="*/ 2147483646 h 768"/>
                    <a:gd name="T10" fmla="*/ 2147483646 w 358"/>
                    <a:gd name="T11" fmla="*/ 2147483646 h 768"/>
                    <a:gd name="T12" fmla="*/ 2147483646 w 358"/>
                    <a:gd name="T13" fmla="*/ 2147483646 h 768"/>
                    <a:gd name="T14" fmla="*/ 2147483646 w 358"/>
                    <a:gd name="T15" fmla="*/ 2147483646 h 768"/>
                    <a:gd name="T16" fmla="*/ 2147483646 w 358"/>
                    <a:gd name="T17" fmla="*/ 2147483646 h 768"/>
                    <a:gd name="T18" fmla="*/ 2147483646 w 358"/>
                    <a:gd name="T19" fmla="*/ 2147483646 h 768"/>
                    <a:gd name="T20" fmla="*/ 2147483646 w 358"/>
                    <a:gd name="T21" fmla="*/ 2147483646 h 768"/>
                    <a:gd name="T22" fmla="*/ 2147483646 w 358"/>
                    <a:gd name="T23" fmla="*/ 2147483646 h 768"/>
                    <a:gd name="T24" fmla="*/ 2147483646 w 358"/>
                    <a:gd name="T25" fmla="*/ 2147483646 h 768"/>
                    <a:gd name="T26" fmla="*/ 2147483646 w 358"/>
                    <a:gd name="T27" fmla="*/ 2147483646 h 768"/>
                    <a:gd name="T28" fmla="*/ 2147483646 w 358"/>
                    <a:gd name="T29" fmla="*/ 2147483646 h 768"/>
                    <a:gd name="T30" fmla="*/ 2147483646 w 358"/>
                    <a:gd name="T31" fmla="*/ 2147483646 h 768"/>
                    <a:gd name="T32" fmla="*/ 2147483646 w 358"/>
                    <a:gd name="T33" fmla="*/ 2147483646 h 768"/>
                    <a:gd name="T34" fmla="*/ 2147483646 w 358"/>
                    <a:gd name="T35" fmla="*/ 2147483646 h 768"/>
                    <a:gd name="T36" fmla="*/ 2147483646 w 358"/>
                    <a:gd name="T37" fmla="*/ 2147483646 h 768"/>
                    <a:gd name="T38" fmla="*/ 2147483646 w 358"/>
                    <a:gd name="T39" fmla="*/ 2147483646 h 768"/>
                    <a:gd name="T40" fmla="*/ 2147483646 w 358"/>
                    <a:gd name="T41" fmla="*/ 2147483646 h 768"/>
                    <a:gd name="T42" fmla="*/ 2147483646 w 358"/>
                    <a:gd name="T43" fmla="*/ 2147483646 h 768"/>
                    <a:gd name="T44" fmla="*/ 2147483646 w 358"/>
                    <a:gd name="T45" fmla="*/ 2147483646 h 768"/>
                    <a:gd name="T46" fmla="*/ 2147483646 w 358"/>
                    <a:gd name="T47" fmla="*/ 2147483646 h 768"/>
                    <a:gd name="T48" fmla="*/ 2147483646 w 358"/>
                    <a:gd name="T49" fmla="*/ 2147483646 h 768"/>
                    <a:gd name="T50" fmla="*/ 2147483646 w 358"/>
                    <a:gd name="T51" fmla="*/ 2147483646 h 768"/>
                    <a:gd name="T52" fmla="*/ 2147483646 w 358"/>
                    <a:gd name="T53" fmla="*/ 2147483646 h 768"/>
                    <a:gd name="T54" fmla="*/ 2147483646 w 358"/>
                    <a:gd name="T55" fmla="*/ 2147483646 h 768"/>
                    <a:gd name="T56" fmla="*/ 2147483646 w 358"/>
                    <a:gd name="T57" fmla="*/ 2147483646 h 768"/>
                    <a:gd name="T58" fmla="*/ 2147483646 w 358"/>
                    <a:gd name="T59" fmla="*/ 2147483646 h 768"/>
                    <a:gd name="T60" fmla="*/ 2147483646 w 358"/>
                    <a:gd name="T61" fmla="*/ 2147483646 h 768"/>
                    <a:gd name="T62" fmla="*/ 2147483646 w 358"/>
                    <a:gd name="T63" fmla="*/ 2147483646 h 768"/>
                    <a:gd name="T64" fmla="*/ 2147483646 w 358"/>
                    <a:gd name="T65" fmla="*/ 2147483646 h 768"/>
                    <a:gd name="T66" fmla="*/ 2147483646 w 358"/>
                    <a:gd name="T67" fmla="*/ 2147483646 h 768"/>
                    <a:gd name="T68" fmla="*/ 2147483646 w 358"/>
                    <a:gd name="T69" fmla="*/ 2147483646 h 768"/>
                    <a:gd name="T70" fmla="*/ 2147483646 w 358"/>
                    <a:gd name="T71" fmla="*/ 2147483646 h 768"/>
                    <a:gd name="T72" fmla="*/ 2147483646 w 358"/>
                    <a:gd name="T73" fmla="*/ 2147483646 h 768"/>
                    <a:gd name="T74" fmla="*/ 2147483646 w 358"/>
                    <a:gd name="T75" fmla="*/ 2147483646 h 768"/>
                    <a:gd name="T76" fmla="*/ 2147483646 w 358"/>
                    <a:gd name="T77" fmla="*/ 2147483646 h 768"/>
                    <a:gd name="T78" fmla="*/ 2147483646 w 358"/>
                    <a:gd name="T79" fmla="*/ 2147483646 h 768"/>
                    <a:gd name="T80" fmla="*/ 2147483646 w 358"/>
                    <a:gd name="T81" fmla="*/ 2147483646 h 768"/>
                    <a:gd name="T82" fmla="*/ 2147483646 w 358"/>
                    <a:gd name="T83" fmla="*/ 2147483646 h 768"/>
                    <a:gd name="T84" fmla="*/ 2147483646 w 358"/>
                    <a:gd name="T85" fmla="*/ 2147483646 h 768"/>
                    <a:gd name="T86" fmla="*/ 2147483646 w 358"/>
                    <a:gd name="T87" fmla="*/ 2147483646 h 768"/>
                    <a:gd name="T88" fmla="*/ 2147483646 w 358"/>
                    <a:gd name="T89" fmla="*/ 2147483646 h 768"/>
                    <a:gd name="T90" fmla="*/ 2147483646 w 358"/>
                    <a:gd name="T91" fmla="*/ 2147483646 h 768"/>
                    <a:gd name="T92" fmla="*/ 2147483646 w 358"/>
                    <a:gd name="T93" fmla="*/ 2147483646 h 768"/>
                    <a:gd name="T94" fmla="*/ 2147483646 w 358"/>
                    <a:gd name="T95" fmla="*/ 2147483646 h 768"/>
                    <a:gd name="T96" fmla="*/ 2147483646 w 358"/>
                    <a:gd name="T97" fmla="*/ 2147483646 h 768"/>
                    <a:gd name="T98" fmla="*/ 2147483646 w 358"/>
                    <a:gd name="T99" fmla="*/ 2147483646 h 768"/>
                    <a:gd name="T100" fmla="*/ 2147483646 w 358"/>
                    <a:gd name="T101" fmla="*/ 2147483646 h 768"/>
                    <a:gd name="T102" fmla="*/ 2147483646 w 358"/>
                    <a:gd name="T103" fmla="*/ 2147483646 h 768"/>
                    <a:gd name="T104" fmla="*/ 2147483646 w 358"/>
                    <a:gd name="T105" fmla="*/ 2147483646 h 768"/>
                    <a:gd name="T106" fmla="*/ 2147483646 w 358"/>
                    <a:gd name="T107" fmla="*/ 2147483646 h 768"/>
                    <a:gd name="T108" fmla="*/ 2147483646 w 358"/>
                    <a:gd name="T109" fmla="*/ 2147483646 h 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58"/>
                    <a:gd name="T166" fmla="*/ 0 h 768"/>
                    <a:gd name="T167" fmla="*/ 358 w 358"/>
                    <a:gd name="T168" fmla="*/ 768 h 76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58" h="768">
                      <a:moveTo>
                        <a:pt x="324" y="20"/>
                      </a:moveTo>
                      <a:lnTo>
                        <a:pt x="324" y="20"/>
                      </a:lnTo>
                      <a:lnTo>
                        <a:pt x="358" y="36"/>
                      </a:lnTo>
                      <a:lnTo>
                        <a:pt x="352" y="40"/>
                      </a:lnTo>
                      <a:lnTo>
                        <a:pt x="348" y="44"/>
                      </a:lnTo>
                      <a:lnTo>
                        <a:pt x="340" y="44"/>
                      </a:lnTo>
                      <a:lnTo>
                        <a:pt x="328" y="40"/>
                      </a:lnTo>
                      <a:lnTo>
                        <a:pt x="318" y="34"/>
                      </a:lnTo>
                      <a:lnTo>
                        <a:pt x="308" y="30"/>
                      </a:lnTo>
                      <a:lnTo>
                        <a:pt x="304" y="28"/>
                      </a:lnTo>
                      <a:lnTo>
                        <a:pt x="298" y="30"/>
                      </a:lnTo>
                      <a:lnTo>
                        <a:pt x="292" y="30"/>
                      </a:lnTo>
                      <a:lnTo>
                        <a:pt x="286" y="34"/>
                      </a:lnTo>
                      <a:lnTo>
                        <a:pt x="280" y="38"/>
                      </a:lnTo>
                      <a:lnTo>
                        <a:pt x="274" y="44"/>
                      </a:lnTo>
                      <a:lnTo>
                        <a:pt x="270" y="50"/>
                      </a:lnTo>
                      <a:lnTo>
                        <a:pt x="268" y="56"/>
                      </a:lnTo>
                      <a:lnTo>
                        <a:pt x="262" y="70"/>
                      </a:lnTo>
                      <a:lnTo>
                        <a:pt x="258" y="76"/>
                      </a:lnTo>
                      <a:lnTo>
                        <a:pt x="252" y="82"/>
                      </a:lnTo>
                      <a:lnTo>
                        <a:pt x="234" y="92"/>
                      </a:lnTo>
                      <a:lnTo>
                        <a:pt x="218" y="100"/>
                      </a:lnTo>
                      <a:lnTo>
                        <a:pt x="210" y="104"/>
                      </a:lnTo>
                      <a:lnTo>
                        <a:pt x="204" y="110"/>
                      </a:lnTo>
                      <a:lnTo>
                        <a:pt x="196" y="116"/>
                      </a:lnTo>
                      <a:lnTo>
                        <a:pt x="190" y="126"/>
                      </a:lnTo>
                      <a:lnTo>
                        <a:pt x="162" y="168"/>
                      </a:lnTo>
                      <a:lnTo>
                        <a:pt x="132" y="210"/>
                      </a:lnTo>
                      <a:lnTo>
                        <a:pt x="102" y="248"/>
                      </a:lnTo>
                      <a:lnTo>
                        <a:pt x="86" y="266"/>
                      </a:lnTo>
                      <a:lnTo>
                        <a:pt x="70" y="282"/>
                      </a:lnTo>
                      <a:lnTo>
                        <a:pt x="74" y="308"/>
                      </a:lnTo>
                      <a:lnTo>
                        <a:pt x="80" y="338"/>
                      </a:lnTo>
                      <a:lnTo>
                        <a:pt x="84" y="368"/>
                      </a:lnTo>
                      <a:lnTo>
                        <a:pt x="90" y="394"/>
                      </a:lnTo>
                      <a:lnTo>
                        <a:pt x="84" y="428"/>
                      </a:lnTo>
                      <a:lnTo>
                        <a:pt x="84" y="442"/>
                      </a:lnTo>
                      <a:lnTo>
                        <a:pt x="84" y="458"/>
                      </a:lnTo>
                      <a:lnTo>
                        <a:pt x="88" y="480"/>
                      </a:lnTo>
                      <a:lnTo>
                        <a:pt x="94" y="498"/>
                      </a:lnTo>
                      <a:lnTo>
                        <a:pt x="94" y="506"/>
                      </a:lnTo>
                      <a:lnTo>
                        <a:pt x="90" y="518"/>
                      </a:lnTo>
                      <a:lnTo>
                        <a:pt x="82" y="532"/>
                      </a:lnTo>
                      <a:lnTo>
                        <a:pt x="72" y="548"/>
                      </a:lnTo>
                      <a:lnTo>
                        <a:pt x="76" y="548"/>
                      </a:lnTo>
                      <a:lnTo>
                        <a:pt x="80" y="544"/>
                      </a:lnTo>
                      <a:lnTo>
                        <a:pt x="90" y="538"/>
                      </a:lnTo>
                      <a:lnTo>
                        <a:pt x="92" y="560"/>
                      </a:lnTo>
                      <a:lnTo>
                        <a:pt x="92" y="572"/>
                      </a:lnTo>
                      <a:lnTo>
                        <a:pt x="92" y="584"/>
                      </a:lnTo>
                      <a:lnTo>
                        <a:pt x="90" y="590"/>
                      </a:lnTo>
                      <a:lnTo>
                        <a:pt x="88" y="598"/>
                      </a:lnTo>
                      <a:lnTo>
                        <a:pt x="84" y="604"/>
                      </a:lnTo>
                      <a:lnTo>
                        <a:pt x="78" y="608"/>
                      </a:lnTo>
                      <a:lnTo>
                        <a:pt x="82" y="608"/>
                      </a:lnTo>
                      <a:lnTo>
                        <a:pt x="90" y="606"/>
                      </a:lnTo>
                      <a:lnTo>
                        <a:pt x="100" y="602"/>
                      </a:lnTo>
                      <a:lnTo>
                        <a:pt x="104" y="598"/>
                      </a:lnTo>
                      <a:lnTo>
                        <a:pt x="106" y="596"/>
                      </a:lnTo>
                      <a:lnTo>
                        <a:pt x="120" y="612"/>
                      </a:lnTo>
                      <a:lnTo>
                        <a:pt x="134" y="634"/>
                      </a:lnTo>
                      <a:lnTo>
                        <a:pt x="144" y="652"/>
                      </a:lnTo>
                      <a:lnTo>
                        <a:pt x="148" y="658"/>
                      </a:lnTo>
                      <a:lnTo>
                        <a:pt x="148" y="650"/>
                      </a:lnTo>
                      <a:lnTo>
                        <a:pt x="146" y="642"/>
                      </a:lnTo>
                      <a:lnTo>
                        <a:pt x="138" y="622"/>
                      </a:lnTo>
                      <a:lnTo>
                        <a:pt x="116" y="584"/>
                      </a:lnTo>
                      <a:lnTo>
                        <a:pt x="110" y="564"/>
                      </a:lnTo>
                      <a:lnTo>
                        <a:pt x="110" y="544"/>
                      </a:lnTo>
                      <a:lnTo>
                        <a:pt x="112" y="528"/>
                      </a:lnTo>
                      <a:lnTo>
                        <a:pt x="118" y="514"/>
                      </a:lnTo>
                      <a:lnTo>
                        <a:pt x="124" y="518"/>
                      </a:lnTo>
                      <a:lnTo>
                        <a:pt x="126" y="524"/>
                      </a:lnTo>
                      <a:lnTo>
                        <a:pt x="132" y="536"/>
                      </a:lnTo>
                      <a:lnTo>
                        <a:pt x="136" y="542"/>
                      </a:lnTo>
                      <a:lnTo>
                        <a:pt x="142" y="546"/>
                      </a:lnTo>
                      <a:lnTo>
                        <a:pt x="156" y="548"/>
                      </a:lnTo>
                      <a:lnTo>
                        <a:pt x="168" y="548"/>
                      </a:lnTo>
                      <a:lnTo>
                        <a:pt x="180" y="544"/>
                      </a:lnTo>
                      <a:lnTo>
                        <a:pt x="192" y="538"/>
                      </a:lnTo>
                      <a:lnTo>
                        <a:pt x="198" y="528"/>
                      </a:lnTo>
                      <a:lnTo>
                        <a:pt x="200" y="570"/>
                      </a:lnTo>
                      <a:lnTo>
                        <a:pt x="202" y="590"/>
                      </a:lnTo>
                      <a:lnTo>
                        <a:pt x="206" y="598"/>
                      </a:lnTo>
                      <a:lnTo>
                        <a:pt x="210" y="606"/>
                      </a:lnTo>
                      <a:lnTo>
                        <a:pt x="212" y="606"/>
                      </a:lnTo>
                      <a:lnTo>
                        <a:pt x="212" y="600"/>
                      </a:lnTo>
                      <a:lnTo>
                        <a:pt x="214" y="586"/>
                      </a:lnTo>
                      <a:lnTo>
                        <a:pt x="228" y="596"/>
                      </a:lnTo>
                      <a:lnTo>
                        <a:pt x="244" y="602"/>
                      </a:lnTo>
                      <a:lnTo>
                        <a:pt x="280" y="612"/>
                      </a:lnTo>
                      <a:lnTo>
                        <a:pt x="298" y="616"/>
                      </a:lnTo>
                      <a:lnTo>
                        <a:pt x="312" y="622"/>
                      </a:lnTo>
                      <a:lnTo>
                        <a:pt x="318" y="626"/>
                      </a:lnTo>
                      <a:lnTo>
                        <a:pt x="322" y="632"/>
                      </a:lnTo>
                      <a:lnTo>
                        <a:pt x="326" y="636"/>
                      </a:lnTo>
                      <a:lnTo>
                        <a:pt x="328" y="642"/>
                      </a:lnTo>
                      <a:lnTo>
                        <a:pt x="338" y="672"/>
                      </a:lnTo>
                      <a:lnTo>
                        <a:pt x="348" y="698"/>
                      </a:lnTo>
                      <a:lnTo>
                        <a:pt x="352" y="712"/>
                      </a:lnTo>
                      <a:lnTo>
                        <a:pt x="354" y="726"/>
                      </a:lnTo>
                      <a:lnTo>
                        <a:pt x="356" y="742"/>
                      </a:lnTo>
                      <a:lnTo>
                        <a:pt x="356" y="758"/>
                      </a:lnTo>
                      <a:lnTo>
                        <a:pt x="348" y="760"/>
                      </a:lnTo>
                      <a:lnTo>
                        <a:pt x="338" y="762"/>
                      </a:lnTo>
                      <a:lnTo>
                        <a:pt x="312" y="762"/>
                      </a:lnTo>
                      <a:lnTo>
                        <a:pt x="272" y="764"/>
                      </a:lnTo>
                      <a:lnTo>
                        <a:pt x="270" y="760"/>
                      </a:lnTo>
                      <a:lnTo>
                        <a:pt x="268" y="754"/>
                      </a:lnTo>
                      <a:lnTo>
                        <a:pt x="266" y="742"/>
                      </a:lnTo>
                      <a:lnTo>
                        <a:pt x="264" y="732"/>
                      </a:lnTo>
                      <a:lnTo>
                        <a:pt x="262" y="728"/>
                      </a:lnTo>
                      <a:lnTo>
                        <a:pt x="258" y="724"/>
                      </a:lnTo>
                      <a:lnTo>
                        <a:pt x="256" y="734"/>
                      </a:lnTo>
                      <a:lnTo>
                        <a:pt x="256" y="746"/>
                      </a:lnTo>
                      <a:lnTo>
                        <a:pt x="256" y="758"/>
                      </a:lnTo>
                      <a:lnTo>
                        <a:pt x="254" y="766"/>
                      </a:lnTo>
                      <a:lnTo>
                        <a:pt x="172" y="768"/>
                      </a:lnTo>
                      <a:lnTo>
                        <a:pt x="108" y="766"/>
                      </a:lnTo>
                      <a:lnTo>
                        <a:pt x="52" y="764"/>
                      </a:lnTo>
                      <a:lnTo>
                        <a:pt x="44" y="754"/>
                      </a:lnTo>
                      <a:lnTo>
                        <a:pt x="36" y="744"/>
                      </a:lnTo>
                      <a:lnTo>
                        <a:pt x="24" y="736"/>
                      </a:lnTo>
                      <a:lnTo>
                        <a:pt x="14" y="730"/>
                      </a:lnTo>
                      <a:lnTo>
                        <a:pt x="12" y="720"/>
                      </a:lnTo>
                      <a:lnTo>
                        <a:pt x="10" y="712"/>
                      </a:lnTo>
                      <a:lnTo>
                        <a:pt x="12" y="694"/>
                      </a:lnTo>
                      <a:lnTo>
                        <a:pt x="18" y="658"/>
                      </a:lnTo>
                      <a:lnTo>
                        <a:pt x="22" y="640"/>
                      </a:lnTo>
                      <a:lnTo>
                        <a:pt x="24" y="622"/>
                      </a:lnTo>
                      <a:lnTo>
                        <a:pt x="22" y="604"/>
                      </a:lnTo>
                      <a:lnTo>
                        <a:pt x="18" y="586"/>
                      </a:lnTo>
                      <a:lnTo>
                        <a:pt x="10" y="548"/>
                      </a:lnTo>
                      <a:lnTo>
                        <a:pt x="6" y="530"/>
                      </a:lnTo>
                      <a:lnTo>
                        <a:pt x="6" y="512"/>
                      </a:lnTo>
                      <a:lnTo>
                        <a:pt x="12" y="504"/>
                      </a:lnTo>
                      <a:lnTo>
                        <a:pt x="16" y="494"/>
                      </a:lnTo>
                      <a:lnTo>
                        <a:pt x="16" y="490"/>
                      </a:lnTo>
                      <a:lnTo>
                        <a:pt x="16" y="486"/>
                      </a:lnTo>
                      <a:lnTo>
                        <a:pt x="22" y="478"/>
                      </a:lnTo>
                      <a:lnTo>
                        <a:pt x="26" y="466"/>
                      </a:lnTo>
                      <a:lnTo>
                        <a:pt x="26" y="456"/>
                      </a:lnTo>
                      <a:lnTo>
                        <a:pt x="24" y="444"/>
                      </a:lnTo>
                      <a:lnTo>
                        <a:pt x="22" y="440"/>
                      </a:lnTo>
                      <a:lnTo>
                        <a:pt x="24" y="436"/>
                      </a:lnTo>
                      <a:lnTo>
                        <a:pt x="30" y="424"/>
                      </a:lnTo>
                      <a:lnTo>
                        <a:pt x="34" y="416"/>
                      </a:lnTo>
                      <a:lnTo>
                        <a:pt x="32" y="406"/>
                      </a:lnTo>
                      <a:lnTo>
                        <a:pt x="30" y="398"/>
                      </a:lnTo>
                      <a:lnTo>
                        <a:pt x="24" y="390"/>
                      </a:lnTo>
                      <a:lnTo>
                        <a:pt x="18" y="378"/>
                      </a:lnTo>
                      <a:lnTo>
                        <a:pt x="12" y="360"/>
                      </a:lnTo>
                      <a:lnTo>
                        <a:pt x="6" y="342"/>
                      </a:lnTo>
                      <a:lnTo>
                        <a:pt x="0" y="332"/>
                      </a:lnTo>
                      <a:lnTo>
                        <a:pt x="2" y="310"/>
                      </a:lnTo>
                      <a:lnTo>
                        <a:pt x="2" y="294"/>
                      </a:lnTo>
                      <a:lnTo>
                        <a:pt x="4" y="286"/>
                      </a:lnTo>
                      <a:lnTo>
                        <a:pt x="6" y="280"/>
                      </a:lnTo>
                      <a:lnTo>
                        <a:pt x="10" y="274"/>
                      </a:lnTo>
                      <a:lnTo>
                        <a:pt x="16" y="268"/>
                      </a:lnTo>
                      <a:lnTo>
                        <a:pt x="34" y="252"/>
                      </a:lnTo>
                      <a:lnTo>
                        <a:pt x="52" y="230"/>
                      </a:lnTo>
                      <a:lnTo>
                        <a:pt x="94" y="178"/>
                      </a:lnTo>
                      <a:lnTo>
                        <a:pt x="132" y="128"/>
                      </a:lnTo>
                      <a:lnTo>
                        <a:pt x="150" y="110"/>
                      </a:lnTo>
                      <a:lnTo>
                        <a:pt x="162" y="98"/>
                      </a:lnTo>
                      <a:lnTo>
                        <a:pt x="172" y="92"/>
                      </a:lnTo>
                      <a:lnTo>
                        <a:pt x="182" y="82"/>
                      </a:lnTo>
                      <a:lnTo>
                        <a:pt x="192" y="76"/>
                      </a:lnTo>
                      <a:lnTo>
                        <a:pt x="202" y="70"/>
                      </a:lnTo>
                      <a:lnTo>
                        <a:pt x="220" y="52"/>
                      </a:lnTo>
                      <a:lnTo>
                        <a:pt x="236" y="34"/>
                      </a:lnTo>
                      <a:lnTo>
                        <a:pt x="252" y="16"/>
                      </a:lnTo>
                      <a:lnTo>
                        <a:pt x="270" y="0"/>
                      </a:lnTo>
                      <a:lnTo>
                        <a:pt x="278" y="0"/>
                      </a:lnTo>
                      <a:lnTo>
                        <a:pt x="284" y="2"/>
                      </a:lnTo>
                      <a:lnTo>
                        <a:pt x="296" y="6"/>
                      </a:lnTo>
                      <a:lnTo>
                        <a:pt x="308" y="12"/>
                      </a:lnTo>
                      <a:lnTo>
                        <a:pt x="324" y="20"/>
                      </a:lnTo>
                      <a:close/>
                    </a:path>
                  </a:pathLst>
                </a:custGeom>
                <a:solidFill>
                  <a:srgbClr val="E3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47" name="Freeform 96"/>
                <p:cNvSpPr>
                  <a:spLocks/>
                </p:cNvSpPr>
                <p:nvPr/>
              </p:nvSpPr>
              <p:spPr bwMode="auto">
                <a:xfrm>
                  <a:off x="6329365" y="2187566"/>
                  <a:ext cx="53975" cy="15875"/>
                </a:xfrm>
                <a:custGeom>
                  <a:avLst/>
                  <a:gdLst>
                    <a:gd name="T0" fmla="*/ 2147483646 w 34"/>
                    <a:gd name="T1" fmla="*/ 0 h 10"/>
                    <a:gd name="T2" fmla="*/ 2147483646 w 34"/>
                    <a:gd name="T3" fmla="*/ 0 h 10"/>
                    <a:gd name="T4" fmla="*/ 2147483646 w 34"/>
                    <a:gd name="T5" fmla="*/ 2147483646 h 10"/>
                    <a:gd name="T6" fmla="*/ 2147483646 w 34"/>
                    <a:gd name="T7" fmla="*/ 2147483646 h 10"/>
                    <a:gd name="T8" fmla="*/ 2147483646 w 34"/>
                    <a:gd name="T9" fmla="*/ 2147483646 h 10"/>
                    <a:gd name="T10" fmla="*/ 2147483646 w 34"/>
                    <a:gd name="T11" fmla="*/ 2147483646 h 10"/>
                    <a:gd name="T12" fmla="*/ 0 w 34"/>
                    <a:gd name="T13" fmla="*/ 2147483646 h 10"/>
                    <a:gd name="T14" fmla="*/ 0 w 34"/>
                    <a:gd name="T15" fmla="*/ 2147483646 h 10"/>
                    <a:gd name="T16" fmla="*/ 2147483646 w 34"/>
                    <a:gd name="T17" fmla="*/ 2147483646 h 10"/>
                    <a:gd name="T18" fmla="*/ 2147483646 w 34"/>
                    <a:gd name="T19" fmla="*/ 2147483646 h 10"/>
                    <a:gd name="T20" fmla="*/ 2147483646 w 34"/>
                    <a:gd name="T21" fmla="*/ 0 h 10"/>
                    <a:gd name="T22" fmla="*/ 2147483646 w 34"/>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10"/>
                    <a:gd name="T38" fmla="*/ 34 w 34"/>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10">
                      <a:moveTo>
                        <a:pt x="34" y="0"/>
                      </a:moveTo>
                      <a:lnTo>
                        <a:pt x="34" y="0"/>
                      </a:lnTo>
                      <a:lnTo>
                        <a:pt x="32" y="4"/>
                      </a:lnTo>
                      <a:lnTo>
                        <a:pt x="30" y="8"/>
                      </a:lnTo>
                      <a:lnTo>
                        <a:pt x="28" y="10"/>
                      </a:lnTo>
                      <a:lnTo>
                        <a:pt x="24" y="10"/>
                      </a:lnTo>
                      <a:lnTo>
                        <a:pt x="0" y="2"/>
                      </a:lnTo>
                      <a:lnTo>
                        <a:pt x="10" y="4"/>
                      </a:lnTo>
                      <a:lnTo>
                        <a:pt x="18" y="2"/>
                      </a:lnTo>
                      <a:lnTo>
                        <a:pt x="34" y="0"/>
                      </a:lnTo>
                      <a:close/>
                    </a:path>
                  </a:pathLst>
                </a:custGeom>
                <a:solidFill>
                  <a:srgbClr val="E3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48" name="Freeform 97"/>
                <p:cNvSpPr>
                  <a:spLocks/>
                </p:cNvSpPr>
                <p:nvPr/>
              </p:nvSpPr>
              <p:spPr bwMode="auto">
                <a:xfrm>
                  <a:off x="6243640" y="2228841"/>
                  <a:ext cx="101600" cy="34925"/>
                </a:xfrm>
                <a:custGeom>
                  <a:avLst/>
                  <a:gdLst>
                    <a:gd name="T0" fmla="*/ 2147483646 w 64"/>
                    <a:gd name="T1" fmla="*/ 2147483646 h 22"/>
                    <a:gd name="T2" fmla="*/ 2147483646 w 64"/>
                    <a:gd name="T3" fmla="*/ 2147483646 h 22"/>
                    <a:gd name="T4" fmla="*/ 2147483646 w 64"/>
                    <a:gd name="T5" fmla="*/ 2147483646 h 22"/>
                    <a:gd name="T6" fmla="*/ 2147483646 w 64"/>
                    <a:gd name="T7" fmla="*/ 2147483646 h 22"/>
                    <a:gd name="T8" fmla="*/ 2147483646 w 64"/>
                    <a:gd name="T9" fmla="*/ 2147483646 h 22"/>
                    <a:gd name="T10" fmla="*/ 2147483646 w 64"/>
                    <a:gd name="T11" fmla="*/ 2147483646 h 22"/>
                    <a:gd name="T12" fmla="*/ 2147483646 w 64"/>
                    <a:gd name="T13" fmla="*/ 2147483646 h 22"/>
                    <a:gd name="T14" fmla="*/ 2147483646 w 64"/>
                    <a:gd name="T15" fmla="*/ 2147483646 h 22"/>
                    <a:gd name="T16" fmla="*/ 2147483646 w 64"/>
                    <a:gd name="T17" fmla="*/ 2147483646 h 22"/>
                    <a:gd name="T18" fmla="*/ 2147483646 w 64"/>
                    <a:gd name="T19" fmla="*/ 2147483646 h 22"/>
                    <a:gd name="T20" fmla="*/ 2147483646 w 64"/>
                    <a:gd name="T21" fmla="*/ 2147483646 h 22"/>
                    <a:gd name="T22" fmla="*/ 2147483646 w 64"/>
                    <a:gd name="T23" fmla="*/ 2147483646 h 22"/>
                    <a:gd name="T24" fmla="*/ 2147483646 w 64"/>
                    <a:gd name="T25" fmla="*/ 2147483646 h 22"/>
                    <a:gd name="T26" fmla="*/ 2147483646 w 64"/>
                    <a:gd name="T27" fmla="*/ 2147483646 h 22"/>
                    <a:gd name="T28" fmla="*/ 2147483646 w 64"/>
                    <a:gd name="T29" fmla="*/ 2147483646 h 22"/>
                    <a:gd name="T30" fmla="*/ 2147483646 w 64"/>
                    <a:gd name="T31" fmla="*/ 2147483646 h 22"/>
                    <a:gd name="T32" fmla="*/ 2147483646 w 64"/>
                    <a:gd name="T33" fmla="*/ 2147483646 h 22"/>
                    <a:gd name="T34" fmla="*/ 2147483646 w 64"/>
                    <a:gd name="T35" fmla="*/ 2147483646 h 22"/>
                    <a:gd name="T36" fmla="*/ 2147483646 w 64"/>
                    <a:gd name="T37" fmla="*/ 2147483646 h 22"/>
                    <a:gd name="T38" fmla="*/ 0 w 64"/>
                    <a:gd name="T39" fmla="*/ 2147483646 h 22"/>
                    <a:gd name="T40" fmla="*/ 0 w 64"/>
                    <a:gd name="T41" fmla="*/ 2147483646 h 22"/>
                    <a:gd name="T42" fmla="*/ 2147483646 w 64"/>
                    <a:gd name="T43" fmla="*/ 2147483646 h 22"/>
                    <a:gd name="T44" fmla="*/ 2147483646 w 64"/>
                    <a:gd name="T45" fmla="*/ 2147483646 h 22"/>
                    <a:gd name="T46" fmla="*/ 2147483646 w 64"/>
                    <a:gd name="T47" fmla="*/ 0 h 22"/>
                    <a:gd name="T48" fmla="*/ 2147483646 w 64"/>
                    <a:gd name="T49" fmla="*/ 0 h 22"/>
                    <a:gd name="T50" fmla="*/ 2147483646 w 64"/>
                    <a:gd name="T51" fmla="*/ 2147483646 h 22"/>
                    <a:gd name="T52" fmla="*/ 2147483646 w 64"/>
                    <a:gd name="T53" fmla="*/ 2147483646 h 22"/>
                    <a:gd name="T54" fmla="*/ 2147483646 w 64"/>
                    <a:gd name="T55" fmla="*/ 2147483646 h 22"/>
                    <a:gd name="T56" fmla="*/ 2147483646 w 64"/>
                    <a:gd name="T57" fmla="*/ 2147483646 h 22"/>
                    <a:gd name="T58" fmla="*/ 2147483646 w 64"/>
                    <a:gd name="T59" fmla="*/ 2147483646 h 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4"/>
                    <a:gd name="T91" fmla="*/ 0 h 22"/>
                    <a:gd name="T92" fmla="*/ 64 w 64"/>
                    <a:gd name="T93" fmla="*/ 22 h 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4" h="22">
                      <a:moveTo>
                        <a:pt x="64" y="16"/>
                      </a:moveTo>
                      <a:lnTo>
                        <a:pt x="64" y="16"/>
                      </a:lnTo>
                      <a:lnTo>
                        <a:pt x="60" y="20"/>
                      </a:lnTo>
                      <a:lnTo>
                        <a:pt x="56" y="22"/>
                      </a:lnTo>
                      <a:lnTo>
                        <a:pt x="50" y="22"/>
                      </a:lnTo>
                      <a:lnTo>
                        <a:pt x="46" y="22"/>
                      </a:lnTo>
                      <a:lnTo>
                        <a:pt x="40" y="20"/>
                      </a:lnTo>
                      <a:lnTo>
                        <a:pt x="34" y="20"/>
                      </a:lnTo>
                      <a:lnTo>
                        <a:pt x="30" y="20"/>
                      </a:lnTo>
                      <a:lnTo>
                        <a:pt x="26" y="16"/>
                      </a:lnTo>
                      <a:lnTo>
                        <a:pt x="24" y="20"/>
                      </a:lnTo>
                      <a:lnTo>
                        <a:pt x="22" y="20"/>
                      </a:lnTo>
                      <a:lnTo>
                        <a:pt x="14" y="22"/>
                      </a:lnTo>
                      <a:lnTo>
                        <a:pt x="8" y="16"/>
                      </a:lnTo>
                      <a:lnTo>
                        <a:pt x="0" y="14"/>
                      </a:lnTo>
                      <a:lnTo>
                        <a:pt x="6" y="6"/>
                      </a:lnTo>
                      <a:lnTo>
                        <a:pt x="12" y="2"/>
                      </a:lnTo>
                      <a:lnTo>
                        <a:pt x="18" y="0"/>
                      </a:lnTo>
                      <a:lnTo>
                        <a:pt x="26" y="2"/>
                      </a:lnTo>
                      <a:lnTo>
                        <a:pt x="36" y="8"/>
                      </a:lnTo>
                      <a:lnTo>
                        <a:pt x="48" y="14"/>
                      </a:lnTo>
                      <a:lnTo>
                        <a:pt x="64" y="16"/>
                      </a:lnTo>
                      <a:close/>
                    </a:path>
                  </a:pathLst>
                </a:custGeom>
                <a:solidFill>
                  <a:srgbClr val="E3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49" name="Freeform 98"/>
                <p:cNvSpPr>
                  <a:spLocks/>
                </p:cNvSpPr>
                <p:nvPr/>
              </p:nvSpPr>
              <p:spPr bwMode="auto">
                <a:xfrm>
                  <a:off x="6199190" y="2270116"/>
                  <a:ext cx="120650" cy="57150"/>
                </a:xfrm>
                <a:custGeom>
                  <a:avLst/>
                  <a:gdLst>
                    <a:gd name="T0" fmla="*/ 2147483646 w 76"/>
                    <a:gd name="T1" fmla="*/ 2147483646 h 36"/>
                    <a:gd name="T2" fmla="*/ 2147483646 w 76"/>
                    <a:gd name="T3" fmla="*/ 2147483646 h 36"/>
                    <a:gd name="T4" fmla="*/ 2147483646 w 76"/>
                    <a:gd name="T5" fmla="*/ 2147483646 h 36"/>
                    <a:gd name="T6" fmla="*/ 2147483646 w 76"/>
                    <a:gd name="T7" fmla="*/ 2147483646 h 36"/>
                    <a:gd name="T8" fmla="*/ 2147483646 w 76"/>
                    <a:gd name="T9" fmla="*/ 2147483646 h 36"/>
                    <a:gd name="T10" fmla="*/ 2147483646 w 76"/>
                    <a:gd name="T11" fmla="*/ 2147483646 h 36"/>
                    <a:gd name="T12" fmla="*/ 2147483646 w 76"/>
                    <a:gd name="T13" fmla="*/ 2147483646 h 36"/>
                    <a:gd name="T14" fmla="*/ 2147483646 w 76"/>
                    <a:gd name="T15" fmla="*/ 2147483646 h 36"/>
                    <a:gd name="T16" fmla="*/ 2147483646 w 76"/>
                    <a:gd name="T17" fmla="*/ 2147483646 h 36"/>
                    <a:gd name="T18" fmla="*/ 2147483646 w 76"/>
                    <a:gd name="T19" fmla="*/ 2147483646 h 36"/>
                    <a:gd name="T20" fmla="*/ 2147483646 w 76"/>
                    <a:gd name="T21" fmla="*/ 2147483646 h 36"/>
                    <a:gd name="T22" fmla="*/ 2147483646 w 76"/>
                    <a:gd name="T23" fmla="*/ 2147483646 h 36"/>
                    <a:gd name="T24" fmla="*/ 2147483646 w 76"/>
                    <a:gd name="T25" fmla="*/ 2147483646 h 36"/>
                    <a:gd name="T26" fmla="*/ 2147483646 w 76"/>
                    <a:gd name="T27" fmla="*/ 2147483646 h 36"/>
                    <a:gd name="T28" fmla="*/ 2147483646 w 76"/>
                    <a:gd name="T29" fmla="*/ 2147483646 h 36"/>
                    <a:gd name="T30" fmla="*/ 2147483646 w 76"/>
                    <a:gd name="T31" fmla="*/ 2147483646 h 36"/>
                    <a:gd name="T32" fmla="*/ 2147483646 w 76"/>
                    <a:gd name="T33" fmla="*/ 2147483646 h 36"/>
                    <a:gd name="T34" fmla="*/ 2147483646 w 76"/>
                    <a:gd name="T35" fmla="*/ 2147483646 h 36"/>
                    <a:gd name="T36" fmla="*/ 2147483646 w 76"/>
                    <a:gd name="T37" fmla="*/ 2147483646 h 36"/>
                    <a:gd name="T38" fmla="*/ 2147483646 w 76"/>
                    <a:gd name="T39" fmla="*/ 2147483646 h 36"/>
                    <a:gd name="T40" fmla="*/ 2147483646 w 76"/>
                    <a:gd name="T41" fmla="*/ 2147483646 h 36"/>
                    <a:gd name="T42" fmla="*/ 0 w 76"/>
                    <a:gd name="T43" fmla="*/ 2147483646 h 36"/>
                    <a:gd name="T44" fmla="*/ 0 w 76"/>
                    <a:gd name="T45" fmla="*/ 2147483646 h 36"/>
                    <a:gd name="T46" fmla="*/ 2147483646 w 76"/>
                    <a:gd name="T47" fmla="*/ 2147483646 h 36"/>
                    <a:gd name="T48" fmla="*/ 2147483646 w 76"/>
                    <a:gd name="T49" fmla="*/ 2147483646 h 36"/>
                    <a:gd name="T50" fmla="*/ 2147483646 w 76"/>
                    <a:gd name="T51" fmla="*/ 0 h 36"/>
                    <a:gd name="T52" fmla="*/ 2147483646 w 76"/>
                    <a:gd name="T53" fmla="*/ 0 h 36"/>
                    <a:gd name="T54" fmla="*/ 2147483646 w 76"/>
                    <a:gd name="T55" fmla="*/ 0 h 36"/>
                    <a:gd name="T56" fmla="*/ 2147483646 w 76"/>
                    <a:gd name="T57" fmla="*/ 2147483646 h 36"/>
                    <a:gd name="T58" fmla="*/ 2147483646 w 76"/>
                    <a:gd name="T59" fmla="*/ 2147483646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6"/>
                    <a:gd name="T91" fmla="*/ 0 h 36"/>
                    <a:gd name="T92" fmla="*/ 76 w 76"/>
                    <a:gd name="T93" fmla="*/ 36 h 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6" h="36">
                      <a:moveTo>
                        <a:pt x="32" y="4"/>
                      </a:moveTo>
                      <a:lnTo>
                        <a:pt x="32" y="4"/>
                      </a:lnTo>
                      <a:lnTo>
                        <a:pt x="34" y="8"/>
                      </a:lnTo>
                      <a:lnTo>
                        <a:pt x="34" y="12"/>
                      </a:lnTo>
                      <a:lnTo>
                        <a:pt x="32" y="20"/>
                      </a:lnTo>
                      <a:lnTo>
                        <a:pt x="36" y="18"/>
                      </a:lnTo>
                      <a:lnTo>
                        <a:pt x="38" y="16"/>
                      </a:lnTo>
                      <a:lnTo>
                        <a:pt x="40" y="12"/>
                      </a:lnTo>
                      <a:lnTo>
                        <a:pt x="42" y="8"/>
                      </a:lnTo>
                      <a:lnTo>
                        <a:pt x="50" y="4"/>
                      </a:lnTo>
                      <a:lnTo>
                        <a:pt x="60" y="2"/>
                      </a:lnTo>
                      <a:lnTo>
                        <a:pt x="64" y="2"/>
                      </a:lnTo>
                      <a:lnTo>
                        <a:pt x="68" y="4"/>
                      </a:lnTo>
                      <a:lnTo>
                        <a:pt x="72" y="6"/>
                      </a:lnTo>
                      <a:lnTo>
                        <a:pt x="76" y="12"/>
                      </a:lnTo>
                      <a:lnTo>
                        <a:pt x="56" y="22"/>
                      </a:lnTo>
                      <a:lnTo>
                        <a:pt x="42" y="28"/>
                      </a:lnTo>
                      <a:lnTo>
                        <a:pt x="32" y="36"/>
                      </a:lnTo>
                      <a:lnTo>
                        <a:pt x="0" y="30"/>
                      </a:lnTo>
                      <a:lnTo>
                        <a:pt x="12" y="16"/>
                      </a:lnTo>
                      <a:lnTo>
                        <a:pt x="16" y="8"/>
                      </a:lnTo>
                      <a:lnTo>
                        <a:pt x="18" y="0"/>
                      </a:lnTo>
                      <a:lnTo>
                        <a:pt x="26" y="0"/>
                      </a:lnTo>
                      <a:lnTo>
                        <a:pt x="32" y="4"/>
                      </a:lnTo>
                      <a:close/>
                    </a:path>
                  </a:pathLst>
                </a:custGeom>
                <a:solidFill>
                  <a:srgbClr val="E3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447" name="Freeform 99"/>
                <p:cNvSpPr>
                  <a:spLocks/>
                </p:cNvSpPr>
                <p:nvPr/>
              </p:nvSpPr>
              <p:spPr bwMode="auto">
                <a:xfrm>
                  <a:off x="5276096" y="2421465"/>
                  <a:ext cx="624328" cy="944414"/>
                </a:xfrm>
                <a:custGeom>
                  <a:avLst/>
                  <a:gdLst/>
                  <a:ahLst/>
                  <a:cxnLst>
                    <a:cxn ang="0">
                      <a:pos x="394" y="16"/>
                    </a:cxn>
                    <a:cxn ang="0">
                      <a:pos x="390" y="22"/>
                    </a:cxn>
                    <a:cxn ang="0">
                      <a:pos x="370" y="18"/>
                    </a:cxn>
                    <a:cxn ang="0">
                      <a:pos x="356" y="18"/>
                    </a:cxn>
                    <a:cxn ang="0">
                      <a:pos x="350" y="22"/>
                    </a:cxn>
                    <a:cxn ang="0">
                      <a:pos x="336" y="24"/>
                    </a:cxn>
                    <a:cxn ang="0">
                      <a:pos x="316" y="24"/>
                    </a:cxn>
                    <a:cxn ang="0">
                      <a:pos x="310" y="30"/>
                    </a:cxn>
                    <a:cxn ang="0">
                      <a:pos x="300" y="36"/>
                    </a:cxn>
                    <a:cxn ang="0">
                      <a:pos x="294" y="40"/>
                    </a:cxn>
                    <a:cxn ang="0">
                      <a:pos x="288" y="42"/>
                    </a:cxn>
                    <a:cxn ang="0">
                      <a:pos x="288" y="52"/>
                    </a:cxn>
                    <a:cxn ang="0">
                      <a:pos x="286" y="58"/>
                    </a:cxn>
                    <a:cxn ang="0">
                      <a:pos x="278" y="78"/>
                    </a:cxn>
                    <a:cxn ang="0">
                      <a:pos x="266" y="88"/>
                    </a:cxn>
                    <a:cxn ang="0">
                      <a:pos x="248" y="96"/>
                    </a:cxn>
                    <a:cxn ang="0">
                      <a:pos x="230" y="100"/>
                    </a:cxn>
                    <a:cxn ang="0">
                      <a:pos x="190" y="140"/>
                    </a:cxn>
                    <a:cxn ang="0">
                      <a:pos x="106" y="210"/>
                    </a:cxn>
                    <a:cxn ang="0">
                      <a:pos x="64" y="236"/>
                    </a:cxn>
                    <a:cxn ang="0">
                      <a:pos x="78" y="338"/>
                    </a:cxn>
                    <a:cxn ang="0">
                      <a:pos x="86" y="420"/>
                    </a:cxn>
                    <a:cxn ang="0">
                      <a:pos x="94" y="510"/>
                    </a:cxn>
                    <a:cxn ang="0">
                      <a:pos x="84" y="530"/>
                    </a:cxn>
                    <a:cxn ang="0">
                      <a:pos x="58" y="562"/>
                    </a:cxn>
                    <a:cxn ang="0">
                      <a:pos x="50" y="580"/>
                    </a:cxn>
                    <a:cxn ang="0">
                      <a:pos x="52" y="588"/>
                    </a:cxn>
                    <a:cxn ang="0">
                      <a:pos x="56" y="578"/>
                    </a:cxn>
                    <a:cxn ang="0">
                      <a:pos x="70" y="562"/>
                    </a:cxn>
                    <a:cxn ang="0">
                      <a:pos x="80" y="558"/>
                    </a:cxn>
                    <a:cxn ang="0">
                      <a:pos x="94" y="548"/>
                    </a:cxn>
                    <a:cxn ang="0">
                      <a:pos x="90" y="556"/>
                    </a:cxn>
                    <a:cxn ang="0">
                      <a:pos x="82" y="580"/>
                    </a:cxn>
                    <a:cxn ang="0">
                      <a:pos x="70" y="606"/>
                    </a:cxn>
                    <a:cxn ang="0">
                      <a:pos x="64" y="612"/>
                    </a:cxn>
                    <a:cxn ang="0">
                      <a:pos x="30" y="636"/>
                    </a:cxn>
                    <a:cxn ang="0">
                      <a:pos x="22" y="646"/>
                    </a:cxn>
                    <a:cxn ang="0">
                      <a:pos x="16" y="620"/>
                    </a:cxn>
                    <a:cxn ang="0">
                      <a:pos x="8" y="526"/>
                    </a:cxn>
                    <a:cxn ang="0">
                      <a:pos x="6" y="360"/>
                    </a:cxn>
                    <a:cxn ang="0">
                      <a:pos x="4" y="288"/>
                    </a:cxn>
                    <a:cxn ang="0">
                      <a:pos x="0" y="240"/>
                    </a:cxn>
                    <a:cxn ang="0">
                      <a:pos x="2" y="218"/>
                    </a:cxn>
                    <a:cxn ang="0">
                      <a:pos x="10" y="206"/>
                    </a:cxn>
                    <a:cxn ang="0">
                      <a:pos x="14" y="202"/>
                    </a:cxn>
                    <a:cxn ang="0">
                      <a:pos x="58" y="176"/>
                    </a:cxn>
                    <a:cxn ang="0">
                      <a:pos x="220" y="62"/>
                    </a:cxn>
                    <a:cxn ang="0">
                      <a:pos x="258" y="28"/>
                    </a:cxn>
                    <a:cxn ang="0">
                      <a:pos x="298" y="0"/>
                    </a:cxn>
                    <a:cxn ang="0">
                      <a:pos x="348" y="6"/>
                    </a:cxn>
                    <a:cxn ang="0">
                      <a:pos x="394" y="16"/>
                    </a:cxn>
                  </a:cxnLst>
                  <a:rect l="0" t="0" r="r" b="b"/>
                  <a:pathLst>
                    <a:path w="394" h="646">
                      <a:moveTo>
                        <a:pt x="394" y="16"/>
                      </a:moveTo>
                      <a:lnTo>
                        <a:pt x="394" y="16"/>
                      </a:lnTo>
                      <a:lnTo>
                        <a:pt x="394" y="20"/>
                      </a:lnTo>
                      <a:lnTo>
                        <a:pt x="390" y="22"/>
                      </a:lnTo>
                      <a:lnTo>
                        <a:pt x="378" y="20"/>
                      </a:lnTo>
                      <a:lnTo>
                        <a:pt x="370" y="18"/>
                      </a:lnTo>
                      <a:lnTo>
                        <a:pt x="362" y="18"/>
                      </a:lnTo>
                      <a:lnTo>
                        <a:pt x="356" y="18"/>
                      </a:lnTo>
                      <a:lnTo>
                        <a:pt x="350" y="22"/>
                      </a:lnTo>
                      <a:lnTo>
                        <a:pt x="350" y="22"/>
                      </a:lnTo>
                      <a:lnTo>
                        <a:pt x="342" y="24"/>
                      </a:lnTo>
                      <a:lnTo>
                        <a:pt x="336" y="24"/>
                      </a:lnTo>
                      <a:lnTo>
                        <a:pt x="326" y="22"/>
                      </a:lnTo>
                      <a:lnTo>
                        <a:pt x="316" y="24"/>
                      </a:lnTo>
                      <a:lnTo>
                        <a:pt x="314" y="26"/>
                      </a:lnTo>
                      <a:lnTo>
                        <a:pt x="310" y="30"/>
                      </a:lnTo>
                      <a:lnTo>
                        <a:pt x="310" y="30"/>
                      </a:lnTo>
                      <a:lnTo>
                        <a:pt x="300" y="36"/>
                      </a:lnTo>
                      <a:lnTo>
                        <a:pt x="294" y="40"/>
                      </a:lnTo>
                      <a:lnTo>
                        <a:pt x="294" y="40"/>
                      </a:lnTo>
                      <a:lnTo>
                        <a:pt x="290" y="40"/>
                      </a:lnTo>
                      <a:lnTo>
                        <a:pt x="288" y="42"/>
                      </a:lnTo>
                      <a:lnTo>
                        <a:pt x="288" y="46"/>
                      </a:lnTo>
                      <a:lnTo>
                        <a:pt x="288" y="52"/>
                      </a:lnTo>
                      <a:lnTo>
                        <a:pt x="286" y="58"/>
                      </a:lnTo>
                      <a:lnTo>
                        <a:pt x="286" y="58"/>
                      </a:lnTo>
                      <a:lnTo>
                        <a:pt x="284" y="68"/>
                      </a:lnTo>
                      <a:lnTo>
                        <a:pt x="278" y="78"/>
                      </a:lnTo>
                      <a:lnTo>
                        <a:pt x="272" y="84"/>
                      </a:lnTo>
                      <a:lnTo>
                        <a:pt x="266" y="88"/>
                      </a:lnTo>
                      <a:lnTo>
                        <a:pt x="258" y="92"/>
                      </a:lnTo>
                      <a:lnTo>
                        <a:pt x="248" y="96"/>
                      </a:lnTo>
                      <a:lnTo>
                        <a:pt x="232" y="100"/>
                      </a:lnTo>
                      <a:lnTo>
                        <a:pt x="230" y="100"/>
                      </a:lnTo>
                      <a:lnTo>
                        <a:pt x="230" y="100"/>
                      </a:lnTo>
                      <a:lnTo>
                        <a:pt x="190" y="140"/>
                      </a:lnTo>
                      <a:lnTo>
                        <a:pt x="148" y="178"/>
                      </a:lnTo>
                      <a:lnTo>
                        <a:pt x="106" y="210"/>
                      </a:lnTo>
                      <a:lnTo>
                        <a:pt x="64" y="236"/>
                      </a:lnTo>
                      <a:lnTo>
                        <a:pt x="64" y="236"/>
                      </a:lnTo>
                      <a:lnTo>
                        <a:pt x="72" y="284"/>
                      </a:lnTo>
                      <a:lnTo>
                        <a:pt x="78" y="338"/>
                      </a:lnTo>
                      <a:lnTo>
                        <a:pt x="78" y="338"/>
                      </a:lnTo>
                      <a:lnTo>
                        <a:pt x="86" y="420"/>
                      </a:lnTo>
                      <a:lnTo>
                        <a:pt x="94" y="510"/>
                      </a:lnTo>
                      <a:lnTo>
                        <a:pt x="94" y="510"/>
                      </a:lnTo>
                      <a:lnTo>
                        <a:pt x="90" y="520"/>
                      </a:lnTo>
                      <a:lnTo>
                        <a:pt x="84" y="530"/>
                      </a:lnTo>
                      <a:lnTo>
                        <a:pt x="68" y="552"/>
                      </a:lnTo>
                      <a:lnTo>
                        <a:pt x="58" y="562"/>
                      </a:lnTo>
                      <a:lnTo>
                        <a:pt x="52" y="572"/>
                      </a:lnTo>
                      <a:lnTo>
                        <a:pt x="50" y="580"/>
                      </a:lnTo>
                      <a:lnTo>
                        <a:pt x="50" y="584"/>
                      </a:lnTo>
                      <a:lnTo>
                        <a:pt x="52" y="588"/>
                      </a:lnTo>
                      <a:lnTo>
                        <a:pt x="52" y="588"/>
                      </a:lnTo>
                      <a:lnTo>
                        <a:pt x="56" y="578"/>
                      </a:lnTo>
                      <a:lnTo>
                        <a:pt x="62" y="568"/>
                      </a:lnTo>
                      <a:lnTo>
                        <a:pt x="70" y="562"/>
                      </a:lnTo>
                      <a:lnTo>
                        <a:pt x="80" y="558"/>
                      </a:lnTo>
                      <a:lnTo>
                        <a:pt x="80" y="558"/>
                      </a:lnTo>
                      <a:lnTo>
                        <a:pt x="88" y="554"/>
                      </a:lnTo>
                      <a:lnTo>
                        <a:pt x="94" y="548"/>
                      </a:lnTo>
                      <a:lnTo>
                        <a:pt x="94" y="548"/>
                      </a:lnTo>
                      <a:lnTo>
                        <a:pt x="90" y="556"/>
                      </a:lnTo>
                      <a:lnTo>
                        <a:pt x="86" y="564"/>
                      </a:lnTo>
                      <a:lnTo>
                        <a:pt x="82" y="580"/>
                      </a:lnTo>
                      <a:lnTo>
                        <a:pt x="76" y="598"/>
                      </a:lnTo>
                      <a:lnTo>
                        <a:pt x="70" y="606"/>
                      </a:lnTo>
                      <a:lnTo>
                        <a:pt x="64" y="612"/>
                      </a:lnTo>
                      <a:lnTo>
                        <a:pt x="64" y="612"/>
                      </a:lnTo>
                      <a:lnTo>
                        <a:pt x="42" y="628"/>
                      </a:lnTo>
                      <a:lnTo>
                        <a:pt x="30" y="636"/>
                      </a:lnTo>
                      <a:lnTo>
                        <a:pt x="22" y="646"/>
                      </a:lnTo>
                      <a:lnTo>
                        <a:pt x="22" y="646"/>
                      </a:lnTo>
                      <a:lnTo>
                        <a:pt x="18" y="634"/>
                      </a:lnTo>
                      <a:lnTo>
                        <a:pt x="16" y="620"/>
                      </a:lnTo>
                      <a:lnTo>
                        <a:pt x="12" y="578"/>
                      </a:lnTo>
                      <a:lnTo>
                        <a:pt x="8" y="526"/>
                      </a:lnTo>
                      <a:lnTo>
                        <a:pt x="8" y="470"/>
                      </a:lnTo>
                      <a:lnTo>
                        <a:pt x="6" y="360"/>
                      </a:lnTo>
                      <a:lnTo>
                        <a:pt x="4" y="288"/>
                      </a:lnTo>
                      <a:lnTo>
                        <a:pt x="4" y="288"/>
                      </a:lnTo>
                      <a:lnTo>
                        <a:pt x="4" y="266"/>
                      </a:lnTo>
                      <a:lnTo>
                        <a:pt x="0" y="240"/>
                      </a:lnTo>
                      <a:lnTo>
                        <a:pt x="0" y="228"/>
                      </a:lnTo>
                      <a:lnTo>
                        <a:pt x="2" y="218"/>
                      </a:lnTo>
                      <a:lnTo>
                        <a:pt x="6" y="208"/>
                      </a:lnTo>
                      <a:lnTo>
                        <a:pt x="10" y="206"/>
                      </a:lnTo>
                      <a:lnTo>
                        <a:pt x="14" y="202"/>
                      </a:lnTo>
                      <a:lnTo>
                        <a:pt x="14" y="202"/>
                      </a:lnTo>
                      <a:lnTo>
                        <a:pt x="32" y="192"/>
                      </a:lnTo>
                      <a:lnTo>
                        <a:pt x="58" y="176"/>
                      </a:lnTo>
                      <a:lnTo>
                        <a:pt x="122" y="130"/>
                      </a:lnTo>
                      <a:lnTo>
                        <a:pt x="220" y="62"/>
                      </a:lnTo>
                      <a:lnTo>
                        <a:pt x="220" y="62"/>
                      </a:lnTo>
                      <a:lnTo>
                        <a:pt x="258" y="28"/>
                      </a:lnTo>
                      <a:lnTo>
                        <a:pt x="278" y="12"/>
                      </a:lnTo>
                      <a:lnTo>
                        <a:pt x="298" y="0"/>
                      </a:lnTo>
                      <a:lnTo>
                        <a:pt x="298" y="0"/>
                      </a:lnTo>
                      <a:lnTo>
                        <a:pt x="348" y="6"/>
                      </a:lnTo>
                      <a:lnTo>
                        <a:pt x="394" y="16"/>
                      </a:lnTo>
                      <a:lnTo>
                        <a:pt x="394" y="16"/>
                      </a:lnTo>
                      <a:close/>
                    </a:path>
                  </a:pathLst>
                </a:custGeom>
                <a:solidFill>
                  <a:schemeClr val="accent6">
                    <a:lumMod val="40000"/>
                    <a:lumOff val="60000"/>
                  </a:schemeClr>
                </a:solidFill>
                <a:ln w="9525">
                  <a:noFill/>
                  <a:round/>
                  <a:headEnd/>
                  <a:tailEnd/>
                </a:ln>
              </p:spPr>
              <p:txBody>
                <a:bodyPr/>
                <a:lstStyle/>
                <a:p>
                  <a:pPr defTabSz="1007943">
                    <a:defRPr/>
                  </a:pPr>
                  <a:endParaRPr lang="ja-JP" altLang="en-US" sz="1984">
                    <a:solidFill>
                      <a:prstClr val="black"/>
                    </a:solidFill>
                    <a:latin typeface="Calibri"/>
                    <a:ea typeface="ＭＳ Ｐゴシック" panose="020B0600070205080204" pitchFamily="50" charset="-128"/>
                    <a:cs typeface="メイリオ" pitchFamily="50" charset="-128"/>
                  </a:endParaRPr>
                </a:p>
              </p:txBody>
            </p:sp>
            <p:sp>
              <p:nvSpPr>
                <p:cNvPr id="2251" name="Freeform 100"/>
                <p:cNvSpPr>
                  <a:spLocks/>
                </p:cNvSpPr>
                <p:nvPr/>
              </p:nvSpPr>
              <p:spPr bwMode="auto">
                <a:xfrm>
                  <a:off x="5700715" y="2387591"/>
                  <a:ext cx="184150" cy="120650"/>
                </a:xfrm>
                <a:custGeom>
                  <a:avLst/>
                  <a:gdLst>
                    <a:gd name="T0" fmla="*/ 2147483646 w 116"/>
                    <a:gd name="T1" fmla="*/ 2147483646 h 76"/>
                    <a:gd name="T2" fmla="*/ 2147483646 w 116"/>
                    <a:gd name="T3" fmla="*/ 2147483646 h 76"/>
                    <a:gd name="T4" fmla="*/ 2147483646 w 116"/>
                    <a:gd name="T5" fmla="*/ 2147483646 h 76"/>
                    <a:gd name="T6" fmla="*/ 2147483646 w 116"/>
                    <a:gd name="T7" fmla="*/ 2147483646 h 76"/>
                    <a:gd name="T8" fmla="*/ 2147483646 w 116"/>
                    <a:gd name="T9" fmla="*/ 2147483646 h 76"/>
                    <a:gd name="T10" fmla="*/ 2147483646 w 116"/>
                    <a:gd name="T11" fmla="*/ 2147483646 h 76"/>
                    <a:gd name="T12" fmla="*/ 2147483646 w 116"/>
                    <a:gd name="T13" fmla="*/ 2147483646 h 76"/>
                    <a:gd name="T14" fmla="*/ 2147483646 w 116"/>
                    <a:gd name="T15" fmla="*/ 2147483646 h 76"/>
                    <a:gd name="T16" fmla="*/ 2147483646 w 116"/>
                    <a:gd name="T17" fmla="*/ 2147483646 h 76"/>
                    <a:gd name="T18" fmla="*/ 2147483646 w 116"/>
                    <a:gd name="T19" fmla="*/ 2147483646 h 76"/>
                    <a:gd name="T20" fmla="*/ 0 w 116"/>
                    <a:gd name="T21" fmla="*/ 2147483646 h 76"/>
                    <a:gd name="T22" fmla="*/ 0 w 116"/>
                    <a:gd name="T23" fmla="*/ 2147483646 h 76"/>
                    <a:gd name="T24" fmla="*/ 2147483646 w 116"/>
                    <a:gd name="T25" fmla="*/ 2147483646 h 76"/>
                    <a:gd name="T26" fmla="*/ 2147483646 w 116"/>
                    <a:gd name="T27" fmla="*/ 2147483646 h 76"/>
                    <a:gd name="T28" fmla="*/ 2147483646 w 116"/>
                    <a:gd name="T29" fmla="*/ 2147483646 h 76"/>
                    <a:gd name="T30" fmla="*/ 2147483646 w 116"/>
                    <a:gd name="T31" fmla="*/ 2147483646 h 76"/>
                    <a:gd name="T32" fmla="*/ 2147483646 w 116"/>
                    <a:gd name="T33" fmla="*/ 2147483646 h 76"/>
                    <a:gd name="T34" fmla="*/ 2147483646 w 116"/>
                    <a:gd name="T35" fmla="*/ 2147483646 h 76"/>
                    <a:gd name="T36" fmla="*/ 2147483646 w 116"/>
                    <a:gd name="T37" fmla="*/ 2147483646 h 76"/>
                    <a:gd name="T38" fmla="*/ 2147483646 w 116"/>
                    <a:gd name="T39" fmla="*/ 2147483646 h 76"/>
                    <a:gd name="T40" fmla="*/ 2147483646 w 116"/>
                    <a:gd name="T41" fmla="*/ 2147483646 h 76"/>
                    <a:gd name="T42" fmla="*/ 2147483646 w 116"/>
                    <a:gd name="T43" fmla="*/ 2147483646 h 76"/>
                    <a:gd name="T44" fmla="*/ 2147483646 w 116"/>
                    <a:gd name="T45" fmla="*/ 2147483646 h 76"/>
                    <a:gd name="T46" fmla="*/ 2147483646 w 116"/>
                    <a:gd name="T47" fmla="*/ 2147483646 h 76"/>
                    <a:gd name="T48" fmla="*/ 2147483646 w 116"/>
                    <a:gd name="T49" fmla="*/ 0 h 76"/>
                    <a:gd name="T50" fmla="*/ 2147483646 w 116"/>
                    <a:gd name="T51" fmla="*/ 0 h 76"/>
                    <a:gd name="T52" fmla="*/ 2147483646 w 116"/>
                    <a:gd name="T53" fmla="*/ 2147483646 h 76"/>
                    <a:gd name="T54" fmla="*/ 2147483646 w 116"/>
                    <a:gd name="T55" fmla="*/ 2147483646 h 76"/>
                    <a:gd name="T56" fmla="*/ 2147483646 w 116"/>
                    <a:gd name="T57" fmla="*/ 2147483646 h 76"/>
                    <a:gd name="T58" fmla="*/ 2147483646 w 116"/>
                    <a:gd name="T59" fmla="*/ 2147483646 h 76"/>
                    <a:gd name="T60" fmla="*/ 2147483646 w 116"/>
                    <a:gd name="T61" fmla="*/ 2147483646 h 76"/>
                    <a:gd name="T62" fmla="*/ 2147483646 w 116"/>
                    <a:gd name="T63" fmla="*/ 2147483646 h 76"/>
                    <a:gd name="T64" fmla="*/ 2147483646 w 116"/>
                    <a:gd name="T65" fmla="*/ 2147483646 h 76"/>
                    <a:gd name="T66" fmla="*/ 2147483646 w 116"/>
                    <a:gd name="T67" fmla="*/ 2147483646 h 76"/>
                    <a:gd name="T68" fmla="*/ 2147483646 w 116"/>
                    <a:gd name="T69" fmla="*/ 2147483646 h 76"/>
                    <a:gd name="T70" fmla="*/ 2147483646 w 116"/>
                    <a:gd name="T71" fmla="*/ 2147483646 h 76"/>
                    <a:gd name="T72" fmla="*/ 2147483646 w 116"/>
                    <a:gd name="T73" fmla="*/ 2147483646 h 76"/>
                    <a:gd name="T74" fmla="*/ 2147483646 w 116"/>
                    <a:gd name="T75" fmla="*/ 2147483646 h 76"/>
                    <a:gd name="T76" fmla="*/ 2147483646 w 116"/>
                    <a:gd name="T77" fmla="*/ 2147483646 h 76"/>
                    <a:gd name="T78" fmla="*/ 2147483646 w 116"/>
                    <a:gd name="T79" fmla="*/ 2147483646 h 76"/>
                    <a:gd name="T80" fmla="*/ 2147483646 w 116"/>
                    <a:gd name="T81" fmla="*/ 2147483646 h 76"/>
                    <a:gd name="T82" fmla="*/ 2147483646 w 116"/>
                    <a:gd name="T83" fmla="*/ 2147483646 h 76"/>
                    <a:gd name="T84" fmla="*/ 2147483646 w 116"/>
                    <a:gd name="T85" fmla="*/ 2147483646 h 76"/>
                    <a:gd name="T86" fmla="*/ 2147483646 w 116"/>
                    <a:gd name="T87" fmla="*/ 2147483646 h 76"/>
                    <a:gd name="T88" fmla="*/ 2147483646 w 116"/>
                    <a:gd name="T89" fmla="*/ 2147483646 h 76"/>
                    <a:gd name="T90" fmla="*/ 2147483646 w 116"/>
                    <a:gd name="T91" fmla="*/ 2147483646 h 76"/>
                    <a:gd name="T92" fmla="*/ 2147483646 w 116"/>
                    <a:gd name="T93" fmla="*/ 2147483646 h 76"/>
                    <a:gd name="T94" fmla="*/ 2147483646 w 116"/>
                    <a:gd name="T95" fmla="*/ 2147483646 h 76"/>
                    <a:gd name="T96" fmla="*/ 2147483646 w 116"/>
                    <a:gd name="T97" fmla="*/ 2147483646 h 76"/>
                    <a:gd name="T98" fmla="*/ 2147483646 w 116"/>
                    <a:gd name="T99" fmla="*/ 2147483646 h 76"/>
                    <a:gd name="T100" fmla="*/ 2147483646 w 116"/>
                    <a:gd name="T101" fmla="*/ 2147483646 h 76"/>
                    <a:gd name="T102" fmla="*/ 2147483646 w 116"/>
                    <a:gd name="T103" fmla="*/ 2147483646 h 76"/>
                    <a:gd name="T104" fmla="*/ 2147483646 w 116"/>
                    <a:gd name="T105" fmla="*/ 2147483646 h 76"/>
                    <a:gd name="T106" fmla="*/ 2147483646 w 116"/>
                    <a:gd name="T107" fmla="*/ 2147483646 h 76"/>
                    <a:gd name="T108" fmla="*/ 2147483646 w 116"/>
                    <a:gd name="T109" fmla="*/ 2147483646 h 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6"/>
                    <a:gd name="T166" fmla="*/ 0 h 76"/>
                    <a:gd name="T167" fmla="*/ 116 w 116"/>
                    <a:gd name="T168" fmla="*/ 76 h 7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6" h="76">
                      <a:moveTo>
                        <a:pt x="60" y="50"/>
                      </a:moveTo>
                      <a:lnTo>
                        <a:pt x="60" y="50"/>
                      </a:lnTo>
                      <a:lnTo>
                        <a:pt x="52" y="54"/>
                      </a:lnTo>
                      <a:lnTo>
                        <a:pt x="46" y="60"/>
                      </a:lnTo>
                      <a:lnTo>
                        <a:pt x="42" y="66"/>
                      </a:lnTo>
                      <a:lnTo>
                        <a:pt x="34" y="72"/>
                      </a:lnTo>
                      <a:lnTo>
                        <a:pt x="26" y="74"/>
                      </a:lnTo>
                      <a:lnTo>
                        <a:pt x="16" y="76"/>
                      </a:lnTo>
                      <a:lnTo>
                        <a:pt x="8" y="76"/>
                      </a:lnTo>
                      <a:lnTo>
                        <a:pt x="0" y="74"/>
                      </a:lnTo>
                      <a:lnTo>
                        <a:pt x="12" y="62"/>
                      </a:lnTo>
                      <a:lnTo>
                        <a:pt x="22" y="48"/>
                      </a:lnTo>
                      <a:lnTo>
                        <a:pt x="32" y="34"/>
                      </a:lnTo>
                      <a:lnTo>
                        <a:pt x="36" y="18"/>
                      </a:lnTo>
                      <a:lnTo>
                        <a:pt x="44" y="14"/>
                      </a:lnTo>
                      <a:lnTo>
                        <a:pt x="52" y="10"/>
                      </a:lnTo>
                      <a:lnTo>
                        <a:pt x="64" y="8"/>
                      </a:lnTo>
                      <a:lnTo>
                        <a:pt x="76" y="8"/>
                      </a:lnTo>
                      <a:lnTo>
                        <a:pt x="82" y="6"/>
                      </a:lnTo>
                      <a:lnTo>
                        <a:pt x="88" y="2"/>
                      </a:lnTo>
                      <a:lnTo>
                        <a:pt x="94" y="0"/>
                      </a:lnTo>
                      <a:lnTo>
                        <a:pt x="102" y="0"/>
                      </a:lnTo>
                      <a:lnTo>
                        <a:pt x="108" y="2"/>
                      </a:lnTo>
                      <a:lnTo>
                        <a:pt x="116" y="2"/>
                      </a:lnTo>
                      <a:lnTo>
                        <a:pt x="110" y="6"/>
                      </a:lnTo>
                      <a:lnTo>
                        <a:pt x="104" y="8"/>
                      </a:lnTo>
                      <a:lnTo>
                        <a:pt x="98" y="10"/>
                      </a:lnTo>
                      <a:lnTo>
                        <a:pt x="90" y="10"/>
                      </a:lnTo>
                      <a:lnTo>
                        <a:pt x="100" y="14"/>
                      </a:lnTo>
                      <a:lnTo>
                        <a:pt x="102" y="16"/>
                      </a:lnTo>
                      <a:lnTo>
                        <a:pt x="102" y="18"/>
                      </a:lnTo>
                      <a:lnTo>
                        <a:pt x="98" y="18"/>
                      </a:lnTo>
                      <a:lnTo>
                        <a:pt x="96" y="20"/>
                      </a:lnTo>
                      <a:lnTo>
                        <a:pt x="78" y="20"/>
                      </a:lnTo>
                      <a:lnTo>
                        <a:pt x="58" y="24"/>
                      </a:lnTo>
                      <a:lnTo>
                        <a:pt x="50" y="28"/>
                      </a:lnTo>
                      <a:lnTo>
                        <a:pt x="42" y="34"/>
                      </a:lnTo>
                      <a:lnTo>
                        <a:pt x="36" y="40"/>
                      </a:lnTo>
                      <a:lnTo>
                        <a:pt x="30" y="46"/>
                      </a:lnTo>
                      <a:lnTo>
                        <a:pt x="32" y="48"/>
                      </a:lnTo>
                      <a:lnTo>
                        <a:pt x="36" y="46"/>
                      </a:lnTo>
                      <a:lnTo>
                        <a:pt x="52" y="40"/>
                      </a:lnTo>
                      <a:lnTo>
                        <a:pt x="60" y="38"/>
                      </a:lnTo>
                      <a:lnTo>
                        <a:pt x="70" y="36"/>
                      </a:lnTo>
                      <a:lnTo>
                        <a:pt x="76" y="36"/>
                      </a:lnTo>
                      <a:lnTo>
                        <a:pt x="82" y="40"/>
                      </a:lnTo>
                      <a:lnTo>
                        <a:pt x="60" y="50"/>
                      </a:lnTo>
                      <a:close/>
                    </a:path>
                  </a:pathLst>
                </a:custGeom>
                <a:solidFill>
                  <a:srgbClr val="9274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52" name="Freeform 101"/>
                <p:cNvSpPr>
                  <a:spLocks/>
                </p:cNvSpPr>
                <p:nvPr/>
              </p:nvSpPr>
              <p:spPr bwMode="auto">
                <a:xfrm>
                  <a:off x="6100765" y="2584441"/>
                  <a:ext cx="98425" cy="85725"/>
                </a:xfrm>
                <a:custGeom>
                  <a:avLst/>
                  <a:gdLst>
                    <a:gd name="T0" fmla="*/ 2147483646 w 62"/>
                    <a:gd name="T1" fmla="*/ 2147483646 h 54"/>
                    <a:gd name="T2" fmla="*/ 2147483646 w 62"/>
                    <a:gd name="T3" fmla="*/ 2147483646 h 54"/>
                    <a:gd name="T4" fmla="*/ 2147483646 w 62"/>
                    <a:gd name="T5" fmla="*/ 2147483646 h 54"/>
                    <a:gd name="T6" fmla="*/ 2147483646 w 62"/>
                    <a:gd name="T7" fmla="*/ 2147483646 h 54"/>
                    <a:gd name="T8" fmla="*/ 2147483646 w 62"/>
                    <a:gd name="T9" fmla="*/ 2147483646 h 54"/>
                    <a:gd name="T10" fmla="*/ 2147483646 w 62"/>
                    <a:gd name="T11" fmla="*/ 2147483646 h 54"/>
                    <a:gd name="T12" fmla="*/ 2147483646 w 62"/>
                    <a:gd name="T13" fmla="*/ 2147483646 h 54"/>
                    <a:gd name="T14" fmla="*/ 2147483646 w 62"/>
                    <a:gd name="T15" fmla="*/ 2147483646 h 54"/>
                    <a:gd name="T16" fmla="*/ 2147483646 w 62"/>
                    <a:gd name="T17" fmla="*/ 2147483646 h 54"/>
                    <a:gd name="T18" fmla="*/ 2147483646 w 62"/>
                    <a:gd name="T19" fmla="*/ 2147483646 h 54"/>
                    <a:gd name="T20" fmla="*/ 2147483646 w 62"/>
                    <a:gd name="T21" fmla="*/ 2147483646 h 54"/>
                    <a:gd name="T22" fmla="*/ 0 w 62"/>
                    <a:gd name="T23" fmla="*/ 2147483646 h 54"/>
                    <a:gd name="T24" fmla="*/ 0 w 62"/>
                    <a:gd name="T25" fmla="*/ 2147483646 h 54"/>
                    <a:gd name="T26" fmla="*/ 2147483646 w 62"/>
                    <a:gd name="T27" fmla="*/ 0 h 54"/>
                    <a:gd name="T28" fmla="*/ 2147483646 w 62"/>
                    <a:gd name="T29" fmla="*/ 0 h 54"/>
                    <a:gd name="T30" fmla="*/ 2147483646 w 62"/>
                    <a:gd name="T31" fmla="*/ 0 h 54"/>
                    <a:gd name="T32" fmla="*/ 2147483646 w 62"/>
                    <a:gd name="T33" fmla="*/ 0 h 54"/>
                    <a:gd name="T34" fmla="*/ 2147483646 w 62"/>
                    <a:gd name="T35" fmla="*/ 2147483646 h 54"/>
                    <a:gd name="T36" fmla="*/ 2147483646 w 62"/>
                    <a:gd name="T37" fmla="*/ 2147483646 h 54"/>
                    <a:gd name="T38" fmla="*/ 2147483646 w 62"/>
                    <a:gd name="T39" fmla="*/ 2147483646 h 54"/>
                    <a:gd name="T40" fmla="*/ 2147483646 w 62"/>
                    <a:gd name="T41" fmla="*/ 2147483646 h 54"/>
                    <a:gd name="T42" fmla="*/ 2147483646 w 62"/>
                    <a:gd name="T43" fmla="*/ 2147483646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2"/>
                    <a:gd name="T67" fmla="*/ 0 h 54"/>
                    <a:gd name="T68" fmla="*/ 62 w 62"/>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2" h="54">
                      <a:moveTo>
                        <a:pt x="62" y="20"/>
                      </a:moveTo>
                      <a:lnTo>
                        <a:pt x="62" y="20"/>
                      </a:lnTo>
                      <a:lnTo>
                        <a:pt x="52" y="26"/>
                      </a:lnTo>
                      <a:lnTo>
                        <a:pt x="42" y="34"/>
                      </a:lnTo>
                      <a:lnTo>
                        <a:pt x="34" y="42"/>
                      </a:lnTo>
                      <a:lnTo>
                        <a:pt x="28" y="54"/>
                      </a:lnTo>
                      <a:lnTo>
                        <a:pt x="16" y="48"/>
                      </a:lnTo>
                      <a:lnTo>
                        <a:pt x="2" y="46"/>
                      </a:lnTo>
                      <a:lnTo>
                        <a:pt x="2" y="26"/>
                      </a:lnTo>
                      <a:lnTo>
                        <a:pt x="0" y="2"/>
                      </a:lnTo>
                      <a:lnTo>
                        <a:pt x="4" y="0"/>
                      </a:lnTo>
                      <a:lnTo>
                        <a:pt x="10" y="0"/>
                      </a:lnTo>
                      <a:lnTo>
                        <a:pt x="20" y="0"/>
                      </a:lnTo>
                      <a:lnTo>
                        <a:pt x="32" y="4"/>
                      </a:lnTo>
                      <a:lnTo>
                        <a:pt x="42" y="8"/>
                      </a:lnTo>
                      <a:lnTo>
                        <a:pt x="52" y="14"/>
                      </a:lnTo>
                      <a:lnTo>
                        <a:pt x="62"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53" name="Freeform 102"/>
                <p:cNvSpPr>
                  <a:spLocks/>
                </p:cNvSpPr>
                <p:nvPr/>
              </p:nvSpPr>
              <p:spPr bwMode="auto">
                <a:xfrm>
                  <a:off x="5957890" y="2590791"/>
                  <a:ext cx="130175" cy="123825"/>
                </a:xfrm>
                <a:custGeom>
                  <a:avLst/>
                  <a:gdLst>
                    <a:gd name="T0" fmla="*/ 2147483646 w 82"/>
                    <a:gd name="T1" fmla="*/ 2147483646 h 78"/>
                    <a:gd name="T2" fmla="*/ 2147483646 w 82"/>
                    <a:gd name="T3" fmla="*/ 2147483646 h 78"/>
                    <a:gd name="T4" fmla="*/ 2147483646 w 82"/>
                    <a:gd name="T5" fmla="*/ 2147483646 h 78"/>
                    <a:gd name="T6" fmla="*/ 2147483646 w 82"/>
                    <a:gd name="T7" fmla="*/ 2147483646 h 78"/>
                    <a:gd name="T8" fmla="*/ 2147483646 w 82"/>
                    <a:gd name="T9" fmla="*/ 2147483646 h 78"/>
                    <a:gd name="T10" fmla="*/ 2147483646 w 82"/>
                    <a:gd name="T11" fmla="*/ 2147483646 h 78"/>
                    <a:gd name="T12" fmla="*/ 2147483646 w 82"/>
                    <a:gd name="T13" fmla="*/ 2147483646 h 78"/>
                    <a:gd name="T14" fmla="*/ 0 w 82"/>
                    <a:gd name="T15" fmla="*/ 2147483646 h 78"/>
                    <a:gd name="T16" fmla="*/ 0 w 82"/>
                    <a:gd name="T17" fmla="*/ 2147483646 h 78"/>
                    <a:gd name="T18" fmla="*/ 0 w 82"/>
                    <a:gd name="T19" fmla="*/ 2147483646 h 78"/>
                    <a:gd name="T20" fmla="*/ 0 w 82"/>
                    <a:gd name="T21" fmla="*/ 2147483646 h 78"/>
                    <a:gd name="T22" fmla="*/ 2147483646 w 82"/>
                    <a:gd name="T23" fmla="*/ 2147483646 h 78"/>
                    <a:gd name="T24" fmla="*/ 2147483646 w 82"/>
                    <a:gd name="T25" fmla="*/ 2147483646 h 78"/>
                    <a:gd name="T26" fmla="*/ 2147483646 w 82"/>
                    <a:gd name="T27" fmla="*/ 2147483646 h 78"/>
                    <a:gd name="T28" fmla="*/ 2147483646 w 82"/>
                    <a:gd name="T29" fmla="*/ 2147483646 h 78"/>
                    <a:gd name="T30" fmla="*/ 2147483646 w 82"/>
                    <a:gd name="T31" fmla="*/ 2147483646 h 78"/>
                    <a:gd name="T32" fmla="*/ 2147483646 w 82"/>
                    <a:gd name="T33" fmla="*/ 0 h 78"/>
                    <a:gd name="T34" fmla="*/ 2147483646 w 82"/>
                    <a:gd name="T35" fmla="*/ 0 h 78"/>
                    <a:gd name="T36" fmla="*/ 2147483646 w 82"/>
                    <a:gd name="T37" fmla="*/ 0 h 78"/>
                    <a:gd name="T38" fmla="*/ 2147483646 w 82"/>
                    <a:gd name="T39" fmla="*/ 2147483646 h 78"/>
                    <a:gd name="T40" fmla="*/ 2147483646 w 82"/>
                    <a:gd name="T41" fmla="*/ 2147483646 h 78"/>
                    <a:gd name="T42" fmla="*/ 2147483646 w 82"/>
                    <a:gd name="T43" fmla="*/ 2147483646 h 78"/>
                    <a:gd name="T44" fmla="*/ 2147483646 w 82"/>
                    <a:gd name="T45" fmla="*/ 2147483646 h 78"/>
                    <a:gd name="T46" fmla="*/ 2147483646 w 82"/>
                    <a:gd name="T47" fmla="*/ 2147483646 h 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2"/>
                    <a:gd name="T73" fmla="*/ 0 h 78"/>
                    <a:gd name="T74" fmla="*/ 82 w 82"/>
                    <a:gd name="T75" fmla="*/ 78 h 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2" h="78">
                      <a:moveTo>
                        <a:pt x="80" y="40"/>
                      </a:moveTo>
                      <a:lnTo>
                        <a:pt x="80" y="40"/>
                      </a:lnTo>
                      <a:lnTo>
                        <a:pt x="58" y="46"/>
                      </a:lnTo>
                      <a:lnTo>
                        <a:pt x="38" y="54"/>
                      </a:lnTo>
                      <a:lnTo>
                        <a:pt x="18" y="64"/>
                      </a:lnTo>
                      <a:lnTo>
                        <a:pt x="2" y="78"/>
                      </a:lnTo>
                      <a:lnTo>
                        <a:pt x="0" y="76"/>
                      </a:lnTo>
                      <a:lnTo>
                        <a:pt x="0" y="72"/>
                      </a:lnTo>
                      <a:lnTo>
                        <a:pt x="0" y="66"/>
                      </a:lnTo>
                      <a:lnTo>
                        <a:pt x="4" y="54"/>
                      </a:lnTo>
                      <a:lnTo>
                        <a:pt x="12" y="44"/>
                      </a:lnTo>
                      <a:lnTo>
                        <a:pt x="20" y="34"/>
                      </a:lnTo>
                      <a:lnTo>
                        <a:pt x="30" y="26"/>
                      </a:lnTo>
                      <a:lnTo>
                        <a:pt x="50" y="10"/>
                      </a:lnTo>
                      <a:lnTo>
                        <a:pt x="72" y="0"/>
                      </a:lnTo>
                      <a:lnTo>
                        <a:pt x="76" y="0"/>
                      </a:lnTo>
                      <a:lnTo>
                        <a:pt x="78" y="4"/>
                      </a:lnTo>
                      <a:lnTo>
                        <a:pt x="80" y="16"/>
                      </a:lnTo>
                      <a:lnTo>
                        <a:pt x="82" y="30"/>
                      </a:lnTo>
                      <a:lnTo>
                        <a:pt x="80" y="4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54" name="Freeform 103"/>
                <p:cNvSpPr>
                  <a:spLocks/>
                </p:cNvSpPr>
                <p:nvPr/>
              </p:nvSpPr>
              <p:spPr bwMode="auto">
                <a:xfrm>
                  <a:off x="6157915" y="2635241"/>
                  <a:ext cx="82550" cy="187325"/>
                </a:xfrm>
                <a:custGeom>
                  <a:avLst/>
                  <a:gdLst>
                    <a:gd name="T0" fmla="*/ 2147483646 w 52"/>
                    <a:gd name="T1" fmla="*/ 2147483646 h 118"/>
                    <a:gd name="T2" fmla="*/ 2147483646 w 52"/>
                    <a:gd name="T3" fmla="*/ 2147483646 h 118"/>
                    <a:gd name="T4" fmla="*/ 2147483646 w 52"/>
                    <a:gd name="T5" fmla="*/ 2147483646 h 118"/>
                    <a:gd name="T6" fmla="*/ 2147483646 w 52"/>
                    <a:gd name="T7" fmla="*/ 2147483646 h 118"/>
                    <a:gd name="T8" fmla="*/ 2147483646 w 52"/>
                    <a:gd name="T9" fmla="*/ 2147483646 h 118"/>
                    <a:gd name="T10" fmla="*/ 2147483646 w 52"/>
                    <a:gd name="T11" fmla="*/ 2147483646 h 118"/>
                    <a:gd name="T12" fmla="*/ 2147483646 w 52"/>
                    <a:gd name="T13" fmla="*/ 2147483646 h 118"/>
                    <a:gd name="T14" fmla="*/ 2147483646 w 52"/>
                    <a:gd name="T15" fmla="*/ 2147483646 h 118"/>
                    <a:gd name="T16" fmla="*/ 2147483646 w 52"/>
                    <a:gd name="T17" fmla="*/ 2147483646 h 118"/>
                    <a:gd name="T18" fmla="*/ 2147483646 w 52"/>
                    <a:gd name="T19" fmla="*/ 2147483646 h 118"/>
                    <a:gd name="T20" fmla="*/ 2147483646 w 52"/>
                    <a:gd name="T21" fmla="*/ 2147483646 h 118"/>
                    <a:gd name="T22" fmla="*/ 2147483646 w 52"/>
                    <a:gd name="T23" fmla="*/ 2147483646 h 118"/>
                    <a:gd name="T24" fmla="*/ 2147483646 w 52"/>
                    <a:gd name="T25" fmla="*/ 2147483646 h 118"/>
                    <a:gd name="T26" fmla="*/ 2147483646 w 52"/>
                    <a:gd name="T27" fmla="*/ 2147483646 h 118"/>
                    <a:gd name="T28" fmla="*/ 2147483646 w 52"/>
                    <a:gd name="T29" fmla="*/ 2147483646 h 118"/>
                    <a:gd name="T30" fmla="*/ 2147483646 w 52"/>
                    <a:gd name="T31" fmla="*/ 2147483646 h 118"/>
                    <a:gd name="T32" fmla="*/ 0 w 52"/>
                    <a:gd name="T33" fmla="*/ 2147483646 h 118"/>
                    <a:gd name="T34" fmla="*/ 0 w 52"/>
                    <a:gd name="T35" fmla="*/ 2147483646 h 118"/>
                    <a:gd name="T36" fmla="*/ 2147483646 w 52"/>
                    <a:gd name="T37" fmla="*/ 2147483646 h 118"/>
                    <a:gd name="T38" fmla="*/ 2147483646 w 52"/>
                    <a:gd name="T39" fmla="*/ 2147483646 h 118"/>
                    <a:gd name="T40" fmla="*/ 2147483646 w 52"/>
                    <a:gd name="T41" fmla="*/ 0 h 118"/>
                    <a:gd name="T42" fmla="*/ 2147483646 w 52"/>
                    <a:gd name="T43" fmla="*/ 0 h 118"/>
                    <a:gd name="T44" fmla="*/ 2147483646 w 52"/>
                    <a:gd name="T45" fmla="*/ 2147483646 h 118"/>
                    <a:gd name="T46" fmla="*/ 2147483646 w 52"/>
                    <a:gd name="T47" fmla="*/ 2147483646 h 1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
                    <a:gd name="T73" fmla="*/ 0 h 118"/>
                    <a:gd name="T74" fmla="*/ 52 w 52"/>
                    <a:gd name="T75" fmla="*/ 118 h 1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 h="118">
                      <a:moveTo>
                        <a:pt x="40" y="2"/>
                      </a:moveTo>
                      <a:lnTo>
                        <a:pt x="40" y="2"/>
                      </a:lnTo>
                      <a:lnTo>
                        <a:pt x="46" y="14"/>
                      </a:lnTo>
                      <a:lnTo>
                        <a:pt x="50" y="28"/>
                      </a:lnTo>
                      <a:lnTo>
                        <a:pt x="52" y="44"/>
                      </a:lnTo>
                      <a:lnTo>
                        <a:pt x="52" y="62"/>
                      </a:lnTo>
                      <a:lnTo>
                        <a:pt x="52" y="78"/>
                      </a:lnTo>
                      <a:lnTo>
                        <a:pt x="48" y="94"/>
                      </a:lnTo>
                      <a:lnTo>
                        <a:pt x="44" y="106"/>
                      </a:lnTo>
                      <a:lnTo>
                        <a:pt x="40" y="118"/>
                      </a:lnTo>
                      <a:lnTo>
                        <a:pt x="36" y="92"/>
                      </a:lnTo>
                      <a:lnTo>
                        <a:pt x="28" y="66"/>
                      </a:lnTo>
                      <a:lnTo>
                        <a:pt x="24" y="54"/>
                      </a:lnTo>
                      <a:lnTo>
                        <a:pt x="18" y="42"/>
                      </a:lnTo>
                      <a:lnTo>
                        <a:pt x="10" y="32"/>
                      </a:lnTo>
                      <a:lnTo>
                        <a:pt x="0" y="24"/>
                      </a:lnTo>
                      <a:lnTo>
                        <a:pt x="6" y="14"/>
                      </a:lnTo>
                      <a:lnTo>
                        <a:pt x="18" y="6"/>
                      </a:lnTo>
                      <a:lnTo>
                        <a:pt x="30" y="0"/>
                      </a:lnTo>
                      <a:lnTo>
                        <a:pt x="36" y="0"/>
                      </a:lnTo>
                      <a:lnTo>
                        <a:pt x="40" y="2"/>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55" name="Freeform 104"/>
                <p:cNvSpPr>
                  <a:spLocks/>
                </p:cNvSpPr>
                <p:nvPr/>
              </p:nvSpPr>
              <p:spPr bwMode="auto">
                <a:xfrm>
                  <a:off x="5462590" y="2666991"/>
                  <a:ext cx="352425" cy="304800"/>
                </a:xfrm>
                <a:custGeom>
                  <a:avLst/>
                  <a:gdLst>
                    <a:gd name="T0" fmla="*/ 2147483646 w 222"/>
                    <a:gd name="T1" fmla="*/ 2147483646 h 192"/>
                    <a:gd name="T2" fmla="*/ 2147483646 w 222"/>
                    <a:gd name="T3" fmla="*/ 0 h 192"/>
                    <a:gd name="T4" fmla="*/ 2147483646 w 222"/>
                    <a:gd name="T5" fmla="*/ 2147483646 h 192"/>
                    <a:gd name="T6" fmla="*/ 2147483646 w 222"/>
                    <a:gd name="T7" fmla="*/ 2147483646 h 192"/>
                    <a:gd name="T8" fmla="*/ 2147483646 w 222"/>
                    <a:gd name="T9" fmla="*/ 2147483646 h 192"/>
                    <a:gd name="T10" fmla="*/ 2147483646 w 222"/>
                    <a:gd name="T11" fmla="*/ 2147483646 h 192"/>
                    <a:gd name="T12" fmla="*/ 2147483646 w 222"/>
                    <a:gd name="T13" fmla="*/ 2147483646 h 192"/>
                    <a:gd name="T14" fmla="*/ 2147483646 w 222"/>
                    <a:gd name="T15" fmla="*/ 2147483646 h 192"/>
                    <a:gd name="T16" fmla="*/ 2147483646 w 222"/>
                    <a:gd name="T17" fmla="*/ 2147483646 h 192"/>
                    <a:gd name="T18" fmla="*/ 2147483646 w 222"/>
                    <a:gd name="T19" fmla="*/ 2147483646 h 192"/>
                    <a:gd name="T20" fmla="*/ 2147483646 w 222"/>
                    <a:gd name="T21" fmla="*/ 2147483646 h 192"/>
                    <a:gd name="T22" fmla="*/ 2147483646 w 222"/>
                    <a:gd name="T23" fmla="*/ 2147483646 h 192"/>
                    <a:gd name="T24" fmla="*/ 2147483646 w 222"/>
                    <a:gd name="T25" fmla="*/ 2147483646 h 192"/>
                    <a:gd name="T26" fmla="*/ 2147483646 w 222"/>
                    <a:gd name="T27" fmla="*/ 2147483646 h 192"/>
                    <a:gd name="T28" fmla="*/ 2147483646 w 222"/>
                    <a:gd name="T29" fmla="*/ 2147483646 h 192"/>
                    <a:gd name="T30" fmla="*/ 2147483646 w 222"/>
                    <a:gd name="T31" fmla="*/ 2147483646 h 192"/>
                    <a:gd name="T32" fmla="*/ 2147483646 w 222"/>
                    <a:gd name="T33" fmla="*/ 2147483646 h 192"/>
                    <a:gd name="T34" fmla="*/ 2147483646 w 222"/>
                    <a:gd name="T35" fmla="*/ 2147483646 h 192"/>
                    <a:gd name="T36" fmla="*/ 2147483646 w 222"/>
                    <a:gd name="T37" fmla="*/ 2147483646 h 192"/>
                    <a:gd name="T38" fmla="*/ 2147483646 w 222"/>
                    <a:gd name="T39" fmla="*/ 2147483646 h 192"/>
                    <a:gd name="T40" fmla="*/ 2147483646 w 222"/>
                    <a:gd name="T41" fmla="*/ 2147483646 h 192"/>
                    <a:gd name="T42" fmla="*/ 2147483646 w 222"/>
                    <a:gd name="T43" fmla="*/ 2147483646 h 192"/>
                    <a:gd name="T44" fmla="*/ 2147483646 w 222"/>
                    <a:gd name="T45" fmla="*/ 2147483646 h 192"/>
                    <a:gd name="T46" fmla="*/ 2147483646 w 222"/>
                    <a:gd name="T47" fmla="*/ 2147483646 h 192"/>
                    <a:gd name="T48" fmla="*/ 2147483646 w 222"/>
                    <a:gd name="T49" fmla="*/ 2147483646 h 192"/>
                    <a:gd name="T50" fmla="*/ 2147483646 w 222"/>
                    <a:gd name="T51" fmla="*/ 2147483646 h 192"/>
                    <a:gd name="T52" fmla="*/ 2147483646 w 222"/>
                    <a:gd name="T53" fmla="*/ 2147483646 h 192"/>
                    <a:gd name="T54" fmla="*/ 2147483646 w 222"/>
                    <a:gd name="T55" fmla="*/ 2147483646 h 192"/>
                    <a:gd name="T56" fmla="*/ 2147483646 w 222"/>
                    <a:gd name="T57" fmla="*/ 2147483646 h 192"/>
                    <a:gd name="T58" fmla="*/ 2147483646 w 222"/>
                    <a:gd name="T59" fmla="*/ 2147483646 h 192"/>
                    <a:gd name="T60" fmla="*/ 2147483646 w 222"/>
                    <a:gd name="T61" fmla="*/ 2147483646 h 192"/>
                    <a:gd name="T62" fmla="*/ 2147483646 w 222"/>
                    <a:gd name="T63" fmla="*/ 2147483646 h 192"/>
                    <a:gd name="T64" fmla="*/ 2147483646 w 222"/>
                    <a:gd name="T65" fmla="*/ 2147483646 h 192"/>
                    <a:gd name="T66" fmla="*/ 2147483646 w 222"/>
                    <a:gd name="T67" fmla="*/ 2147483646 h 192"/>
                    <a:gd name="T68" fmla="*/ 2147483646 w 222"/>
                    <a:gd name="T69" fmla="*/ 2147483646 h 192"/>
                    <a:gd name="T70" fmla="*/ 2147483646 w 222"/>
                    <a:gd name="T71" fmla="*/ 2147483646 h 192"/>
                    <a:gd name="T72" fmla="*/ 0 w 222"/>
                    <a:gd name="T73" fmla="*/ 2147483646 h 192"/>
                    <a:gd name="T74" fmla="*/ 2147483646 w 222"/>
                    <a:gd name="T75" fmla="*/ 2147483646 h 192"/>
                    <a:gd name="T76" fmla="*/ 2147483646 w 222"/>
                    <a:gd name="T77" fmla="*/ 2147483646 h 192"/>
                    <a:gd name="T78" fmla="*/ 2147483646 w 222"/>
                    <a:gd name="T79" fmla="*/ 2147483646 h 192"/>
                    <a:gd name="T80" fmla="*/ 2147483646 w 222"/>
                    <a:gd name="T81" fmla="*/ 2147483646 h 192"/>
                    <a:gd name="T82" fmla="*/ 2147483646 w 222"/>
                    <a:gd name="T83" fmla="*/ 2147483646 h 192"/>
                    <a:gd name="T84" fmla="*/ 2147483646 w 222"/>
                    <a:gd name="T85" fmla="*/ 2147483646 h 192"/>
                    <a:gd name="T86" fmla="*/ 2147483646 w 222"/>
                    <a:gd name="T87" fmla="*/ 2147483646 h 192"/>
                    <a:gd name="T88" fmla="*/ 2147483646 w 222"/>
                    <a:gd name="T89" fmla="*/ 2147483646 h 192"/>
                    <a:gd name="T90" fmla="*/ 2147483646 w 222"/>
                    <a:gd name="T91" fmla="*/ 2147483646 h 192"/>
                    <a:gd name="T92" fmla="*/ 2147483646 w 222"/>
                    <a:gd name="T93" fmla="*/ 2147483646 h 192"/>
                    <a:gd name="T94" fmla="*/ 2147483646 w 222"/>
                    <a:gd name="T95" fmla="*/ 2147483646 h 1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2"/>
                    <a:gd name="T145" fmla="*/ 0 h 192"/>
                    <a:gd name="T146" fmla="*/ 222 w 222"/>
                    <a:gd name="T147" fmla="*/ 192 h 1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2" h="192">
                      <a:moveTo>
                        <a:pt x="118" y="0"/>
                      </a:moveTo>
                      <a:lnTo>
                        <a:pt x="118" y="0"/>
                      </a:lnTo>
                      <a:lnTo>
                        <a:pt x="120" y="2"/>
                      </a:lnTo>
                      <a:lnTo>
                        <a:pt x="122" y="4"/>
                      </a:lnTo>
                      <a:lnTo>
                        <a:pt x="128" y="4"/>
                      </a:lnTo>
                      <a:lnTo>
                        <a:pt x="130" y="2"/>
                      </a:lnTo>
                      <a:lnTo>
                        <a:pt x="132" y="0"/>
                      </a:lnTo>
                      <a:lnTo>
                        <a:pt x="154" y="6"/>
                      </a:lnTo>
                      <a:lnTo>
                        <a:pt x="172" y="16"/>
                      </a:lnTo>
                      <a:lnTo>
                        <a:pt x="178" y="24"/>
                      </a:lnTo>
                      <a:lnTo>
                        <a:pt x="182" y="32"/>
                      </a:lnTo>
                      <a:lnTo>
                        <a:pt x="188" y="38"/>
                      </a:lnTo>
                      <a:lnTo>
                        <a:pt x="190" y="42"/>
                      </a:lnTo>
                      <a:lnTo>
                        <a:pt x="194" y="44"/>
                      </a:lnTo>
                      <a:lnTo>
                        <a:pt x="200" y="44"/>
                      </a:lnTo>
                      <a:lnTo>
                        <a:pt x="204" y="48"/>
                      </a:lnTo>
                      <a:lnTo>
                        <a:pt x="210" y="56"/>
                      </a:lnTo>
                      <a:lnTo>
                        <a:pt x="210" y="64"/>
                      </a:lnTo>
                      <a:lnTo>
                        <a:pt x="210" y="66"/>
                      </a:lnTo>
                      <a:lnTo>
                        <a:pt x="208" y="70"/>
                      </a:lnTo>
                      <a:lnTo>
                        <a:pt x="208" y="74"/>
                      </a:lnTo>
                      <a:lnTo>
                        <a:pt x="208" y="76"/>
                      </a:lnTo>
                      <a:lnTo>
                        <a:pt x="212" y="80"/>
                      </a:lnTo>
                      <a:lnTo>
                        <a:pt x="218" y="86"/>
                      </a:lnTo>
                      <a:lnTo>
                        <a:pt x="220" y="88"/>
                      </a:lnTo>
                      <a:lnTo>
                        <a:pt x="222" y="92"/>
                      </a:lnTo>
                      <a:lnTo>
                        <a:pt x="222" y="108"/>
                      </a:lnTo>
                      <a:lnTo>
                        <a:pt x="220" y="114"/>
                      </a:lnTo>
                      <a:lnTo>
                        <a:pt x="218" y="118"/>
                      </a:lnTo>
                      <a:lnTo>
                        <a:pt x="216" y="120"/>
                      </a:lnTo>
                      <a:lnTo>
                        <a:pt x="214" y="126"/>
                      </a:lnTo>
                      <a:lnTo>
                        <a:pt x="212" y="134"/>
                      </a:lnTo>
                      <a:lnTo>
                        <a:pt x="212" y="142"/>
                      </a:lnTo>
                      <a:lnTo>
                        <a:pt x="214" y="148"/>
                      </a:lnTo>
                      <a:lnTo>
                        <a:pt x="212" y="156"/>
                      </a:lnTo>
                      <a:lnTo>
                        <a:pt x="210" y="160"/>
                      </a:lnTo>
                      <a:lnTo>
                        <a:pt x="206" y="164"/>
                      </a:lnTo>
                      <a:lnTo>
                        <a:pt x="206" y="174"/>
                      </a:lnTo>
                      <a:lnTo>
                        <a:pt x="204" y="182"/>
                      </a:lnTo>
                      <a:lnTo>
                        <a:pt x="194" y="190"/>
                      </a:lnTo>
                      <a:lnTo>
                        <a:pt x="188" y="192"/>
                      </a:lnTo>
                      <a:lnTo>
                        <a:pt x="184" y="190"/>
                      </a:lnTo>
                      <a:lnTo>
                        <a:pt x="182" y="188"/>
                      </a:lnTo>
                      <a:lnTo>
                        <a:pt x="182" y="182"/>
                      </a:lnTo>
                      <a:lnTo>
                        <a:pt x="184" y="174"/>
                      </a:lnTo>
                      <a:lnTo>
                        <a:pt x="186" y="166"/>
                      </a:lnTo>
                      <a:lnTo>
                        <a:pt x="184" y="164"/>
                      </a:lnTo>
                      <a:lnTo>
                        <a:pt x="184" y="162"/>
                      </a:lnTo>
                      <a:lnTo>
                        <a:pt x="180" y="162"/>
                      </a:lnTo>
                      <a:lnTo>
                        <a:pt x="178" y="164"/>
                      </a:lnTo>
                      <a:lnTo>
                        <a:pt x="178" y="160"/>
                      </a:lnTo>
                      <a:lnTo>
                        <a:pt x="178" y="158"/>
                      </a:lnTo>
                      <a:lnTo>
                        <a:pt x="178" y="152"/>
                      </a:lnTo>
                      <a:lnTo>
                        <a:pt x="178" y="148"/>
                      </a:lnTo>
                      <a:lnTo>
                        <a:pt x="176" y="146"/>
                      </a:lnTo>
                      <a:lnTo>
                        <a:pt x="172" y="144"/>
                      </a:lnTo>
                      <a:lnTo>
                        <a:pt x="174" y="140"/>
                      </a:lnTo>
                      <a:lnTo>
                        <a:pt x="176" y="138"/>
                      </a:lnTo>
                      <a:lnTo>
                        <a:pt x="176" y="134"/>
                      </a:lnTo>
                      <a:lnTo>
                        <a:pt x="172" y="130"/>
                      </a:lnTo>
                      <a:lnTo>
                        <a:pt x="170" y="128"/>
                      </a:lnTo>
                      <a:lnTo>
                        <a:pt x="168" y="126"/>
                      </a:lnTo>
                      <a:lnTo>
                        <a:pt x="172" y="122"/>
                      </a:lnTo>
                      <a:lnTo>
                        <a:pt x="174" y="116"/>
                      </a:lnTo>
                      <a:lnTo>
                        <a:pt x="174" y="108"/>
                      </a:lnTo>
                      <a:lnTo>
                        <a:pt x="172" y="106"/>
                      </a:lnTo>
                      <a:lnTo>
                        <a:pt x="170" y="104"/>
                      </a:lnTo>
                      <a:lnTo>
                        <a:pt x="164" y="108"/>
                      </a:lnTo>
                      <a:lnTo>
                        <a:pt x="158" y="110"/>
                      </a:lnTo>
                      <a:lnTo>
                        <a:pt x="154" y="108"/>
                      </a:lnTo>
                      <a:lnTo>
                        <a:pt x="150" y="106"/>
                      </a:lnTo>
                      <a:lnTo>
                        <a:pt x="148" y="104"/>
                      </a:lnTo>
                      <a:lnTo>
                        <a:pt x="148" y="96"/>
                      </a:lnTo>
                      <a:lnTo>
                        <a:pt x="146" y="88"/>
                      </a:lnTo>
                      <a:lnTo>
                        <a:pt x="144" y="86"/>
                      </a:lnTo>
                      <a:lnTo>
                        <a:pt x="142" y="86"/>
                      </a:lnTo>
                      <a:lnTo>
                        <a:pt x="142" y="92"/>
                      </a:lnTo>
                      <a:lnTo>
                        <a:pt x="140" y="96"/>
                      </a:lnTo>
                      <a:lnTo>
                        <a:pt x="138" y="100"/>
                      </a:lnTo>
                      <a:lnTo>
                        <a:pt x="134" y="100"/>
                      </a:lnTo>
                      <a:lnTo>
                        <a:pt x="126" y="98"/>
                      </a:lnTo>
                      <a:lnTo>
                        <a:pt x="118" y="92"/>
                      </a:lnTo>
                      <a:lnTo>
                        <a:pt x="120" y="90"/>
                      </a:lnTo>
                      <a:lnTo>
                        <a:pt x="122" y="86"/>
                      </a:lnTo>
                      <a:lnTo>
                        <a:pt x="122" y="82"/>
                      </a:lnTo>
                      <a:lnTo>
                        <a:pt x="120" y="80"/>
                      </a:lnTo>
                      <a:lnTo>
                        <a:pt x="112" y="82"/>
                      </a:lnTo>
                      <a:lnTo>
                        <a:pt x="104" y="86"/>
                      </a:lnTo>
                      <a:lnTo>
                        <a:pt x="102" y="82"/>
                      </a:lnTo>
                      <a:lnTo>
                        <a:pt x="102" y="76"/>
                      </a:lnTo>
                      <a:lnTo>
                        <a:pt x="102" y="72"/>
                      </a:lnTo>
                      <a:lnTo>
                        <a:pt x="100" y="70"/>
                      </a:lnTo>
                      <a:lnTo>
                        <a:pt x="96" y="70"/>
                      </a:lnTo>
                      <a:lnTo>
                        <a:pt x="92" y="76"/>
                      </a:lnTo>
                      <a:lnTo>
                        <a:pt x="88" y="80"/>
                      </a:lnTo>
                      <a:lnTo>
                        <a:pt x="82" y="84"/>
                      </a:lnTo>
                      <a:lnTo>
                        <a:pt x="78" y="84"/>
                      </a:lnTo>
                      <a:lnTo>
                        <a:pt x="74" y="80"/>
                      </a:lnTo>
                      <a:lnTo>
                        <a:pt x="74" y="76"/>
                      </a:lnTo>
                      <a:lnTo>
                        <a:pt x="74" y="70"/>
                      </a:lnTo>
                      <a:lnTo>
                        <a:pt x="72" y="66"/>
                      </a:lnTo>
                      <a:lnTo>
                        <a:pt x="62" y="74"/>
                      </a:lnTo>
                      <a:lnTo>
                        <a:pt x="56" y="76"/>
                      </a:lnTo>
                      <a:lnTo>
                        <a:pt x="50" y="76"/>
                      </a:lnTo>
                      <a:lnTo>
                        <a:pt x="46" y="70"/>
                      </a:lnTo>
                      <a:lnTo>
                        <a:pt x="42" y="68"/>
                      </a:lnTo>
                      <a:lnTo>
                        <a:pt x="38" y="68"/>
                      </a:lnTo>
                      <a:lnTo>
                        <a:pt x="30" y="80"/>
                      </a:lnTo>
                      <a:lnTo>
                        <a:pt x="20" y="92"/>
                      </a:lnTo>
                      <a:lnTo>
                        <a:pt x="8" y="102"/>
                      </a:lnTo>
                      <a:lnTo>
                        <a:pt x="4" y="108"/>
                      </a:lnTo>
                      <a:lnTo>
                        <a:pt x="2" y="116"/>
                      </a:lnTo>
                      <a:lnTo>
                        <a:pt x="2" y="108"/>
                      </a:lnTo>
                      <a:lnTo>
                        <a:pt x="0" y="102"/>
                      </a:lnTo>
                      <a:lnTo>
                        <a:pt x="0" y="94"/>
                      </a:lnTo>
                      <a:lnTo>
                        <a:pt x="0" y="86"/>
                      </a:lnTo>
                      <a:lnTo>
                        <a:pt x="2" y="82"/>
                      </a:lnTo>
                      <a:lnTo>
                        <a:pt x="2" y="78"/>
                      </a:lnTo>
                      <a:lnTo>
                        <a:pt x="2" y="74"/>
                      </a:lnTo>
                      <a:lnTo>
                        <a:pt x="2" y="68"/>
                      </a:lnTo>
                      <a:lnTo>
                        <a:pt x="8" y="62"/>
                      </a:lnTo>
                      <a:lnTo>
                        <a:pt x="12" y="56"/>
                      </a:lnTo>
                      <a:lnTo>
                        <a:pt x="14" y="52"/>
                      </a:lnTo>
                      <a:lnTo>
                        <a:pt x="16" y="50"/>
                      </a:lnTo>
                      <a:lnTo>
                        <a:pt x="20" y="50"/>
                      </a:lnTo>
                      <a:lnTo>
                        <a:pt x="24" y="52"/>
                      </a:lnTo>
                      <a:lnTo>
                        <a:pt x="26" y="50"/>
                      </a:lnTo>
                      <a:lnTo>
                        <a:pt x="26" y="48"/>
                      </a:lnTo>
                      <a:lnTo>
                        <a:pt x="26" y="44"/>
                      </a:lnTo>
                      <a:lnTo>
                        <a:pt x="24" y="38"/>
                      </a:lnTo>
                      <a:lnTo>
                        <a:pt x="26" y="34"/>
                      </a:lnTo>
                      <a:lnTo>
                        <a:pt x="32" y="28"/>
                      </a:lnTo>
                      <a:lnTo>
                        <a:pt x="40" y="24"/>
                      </a:lnTo>
                      <a:lnTo>
                        <a:pt x="44" y="24"/>
                      </a:lnTo>
                      <a:lnTo>
                        <a:pt x="50" y="26"/>
                      </a:lnTo>
                      <a:lnTo>
                        <a:pt x="52" y="26"/>
                      </a:lnTo>
                      <a:lnTo>
                        <a:pt x="54" y="26"/>
                      </a:lnTo>
                      <a:lnTo>
                        <a:pt x="56" y="24"/>
                      </a:lnTo>
                      <a:lnTo>
                        <a:pt x="56" y="18"/>
                      </a:lnTo>
                      <a:lnTo>
                        <a:pt x="52" y="14"/>
                      </a:lnTo>
                      <a:lnTo>
                        <a:pt x="56" y="10"/>
                      </a:lnTo>
                      <a:lnTo>
                        <a:pt x="62" y="6"/>
                      </a:lnTo>
                      <a:lnTo>
                        <a:pt x="70" y="4"/>
                      </a:lnTo>
                      <a:lnTo>
                        <a:pt x="76" y="6"/>
                      </a:lnTo>
                      <a:lnTo>
                        <a:pt x="78" y="8"/>
                      </a:lnTo>
                      <a:lnTo>
                        <a:pt x="82" y="10"/>
                      </a:lnTo>
                      <a:lnTo>
                        <a:pt x="88" y="12"/>
                      </a:lnTo>
                      <a:lnTo>
                        <a:pt x="90" y="8"/>
                      </a:lnTo>
                      <a:lnTo>
                        <a:pt x="92" y="6"/>
                      </a:lnTo>
                      <a:lnTo>
                        <a:pt x="90" y="4"/>
                      </a:lnTo>
                      <a:lnTo>
                        <a:pt x="108" y="2"/>
                      </a:lnTo>
                      <a:lnTo>
                        <a:pt x="118" y="0"/>
                      </a:lnTo>
                      <a:close/>
                    </a:path>
                  </a:pathLst>
                </a:custGeom>
                <a:solidFill>
                  <a:srgbClr val="EC3E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56" name="Freeform 105"/>
                <p:cNvSpPr>
                  <a:spLocks/>
                </p:cNvSpPr>
                <p:nvPr/>
              </p:nvSpPr>
              <p:spPr bwMode="auto">
                <a:xfrm>
                  <a:off x="5713415" y="2771766"/>
                  <a:ext cx="60325" cy="38100"/>
                </a:xfrm>
                <a:custGeom>
                  <a:avLst/>
                  <a:gdLst>
                    <a:gd name="T0" fmla="*/ 2147483646 w 38"/>
                    <a:gd name="T1" fmla="*/ 2147483646 h 24"/>
                    <a:gd name="T2" fmla="*/ 2147483646 w 38"/>
                    <a:gd name="T3" fmla="*/ 2147483646 h 24"/>
                    <a:gd name="T4" fmla="*/ 2147483646 w 38"/>
                    <a:gd name="T5" fmla="*/ 2147483646 h 24"/>
                    <a:gd name="T6" fmla="*/ 2147483646 w 38"/>
                    <a:gd name="T7" fmla="*/ 2147483646 h 24"/>
                    <a:gd name="T8" fmla="*/ 2147483646 w 38"/>
                    <a:gd name="T9" fmla="*/ 2147483646 h 24"/>
                    <a:gd name="T10" fmla="*/ 2147483646 w 38"/>
                    <a:gd name="T11" fmla="*/ 2147483646 h 24"/>
                    <a:gd name="T12" fmla="*/ 2147483646 w 38"/>
                    <a:gd name="T13" fmla="*/ 2147483646 h 24"/>
                    <a:gd name="T14" fmla="*/ 2147483646 w 38"/>
                    <a:gd name="T15" fmla="*/ 2147483646 h 24"/>
                    <a:gd name="T16" fmla="*/ 2147483646 w 38"/>
                    <a:gd name="T17" fmla="*/ 2147483646 h 24"/>
                    <a:gd name="T18" fmla="*/ 2147483646 w 38"/>
                    <a:gd name="T19" fmla="*/ 2147483646 h 24"/>
                    <a:gd name="T20" fmla="*/ 2147483646 w 38"/>
                    <a:gd name="T21" fmla="*/ 2147483646 h 24"/>
                    <a:gd name="T22" fmla="*/ 2147483646 w 38"/>
                    <a:gd name="T23" fmla="*/ 2147483646 h 24"/>
                    <a:gd name="T24" fmla="*/ 0 w 38"/>
                    <a:gd name="T25" fmla="*/ 2147483646 h 24"/>
                    <a:gd name="T26" fmla="*/ 0 w 38"/>
                    <a:gd name="T27" fmla="*/ 2147483646 h 24"/>
                    <a:gd name="T28" fmla="*/ 2147483646 w 38"/>
                    <a:gd name="T29" fmla="*/ 2147483646 h 24"/>
                    <a:gd name="T30" fmla="*/ 2147483646 w 38"/>
                    <a:gd name="T31" fmla="*/ 2147483646 h 24"/>
                    <a:gd name="T32" fmla="*/ 2147483646 w 38"/>
                    <a:gd name="T33" fmla="*/ 2147483646 h 24"/>
                    <a:gd name="T34" fmla="*/ 2147483646 w 38"/>
                    <a:gd name="T35" fmla="*/ 2147483646 h 24"/>
                    <a:gd name="T36" fmla="*/ 2147483646 w 38"/>
                    <a:gd name="T37" fmla="*/ 2147483646 h 24"/>
                    <a:gd name="T38" fmla="*/ 2147483646 w 38"/>
                    <a:gd name="T39" fmla="*/ 2147483646 h 24"/>
                    <a:gd name="T40" fmla="*/ 2147483646 w 38"/>
                    <a:gd name="T41" fmla="*/ 2147483646 h 24"/>
                    <a:gd name="T42" fmla="*/ 2147483646 w 38"/>
                    <a:gd name="T43" fmla="*/ 2147483646 h 24"/>
                    <a:gd name="T44" fmla="*/ 2147483646 w 38"/>
                    <a:gd name="T45" fmla="*/ 0 h 24"/>
                    <a:gd name="T46" fmla="*/ 2147483646 w 38"/>
                    <a:gd name="T47" fmla="*/ 0 h 24"/>
                    <a:gd name="T48" fmla="*/ 2147483646 w 38"/>
                    <a:gd name="T49" fmla="*/ 0 h 24"/>
                    <a:gd name="T50" fmla="*/ 2147483646 w 38"/>
                    <a:gd name="T51" fmla="*/ 2147483646 h 24"/>
                    <a:gd name="T52" fmla="*/ 2147483646 w 38"/>
                    <a:gd name="T53" fmla="*/ 2147483646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8"/>
                    <a:gd name="T82" fmla="*/ 0 h 24"/>
                    <a:gd name="T83" fmla="*/ 38 w 38"/>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8" h="24">
                      <a:moveTo>
                        <a:pt x="36" y="4"/>
                      </a:moveTo>
                      <a:lnTo>
                        <a:pt x="36" y="4"/>
                      </a:lnTo>
                      <a:lnTo>
                        <a:pt x="38" y="10"/>
                      </a:lnTo>
                      <a:lnTo>
                        <a:pt x="36" y="16"/>
                      </a:lnTo>
                      <a:lnTo>
                        <a:pt x="34" y="20"/>
                      </a:lnTo>
                      <a:lnTo>
                        <a:pt x="30" y="24"/>
                      </a:lnTo>
                      <a:lnTo>
                        <a:pt x="22" y="24"/>
                      </a:lnTo>
                      <a:lnTo>
                        <a:pt x="14" y="24"/>
                      </a:lnTo>
                      <a:lnTo>
                        <a:pt x="10" y="22"/>
                      </a:lnTo>
                      <a:lnTo>
                        <a:pt x="6" y="20"/>
                      </a:lnTo>
                      <a:lnTo>
                        <a:pt x="2" y="14"/>
                      </a:lnTo>
                      <a:lnTo>
                        <a:pt x="0" y="8"/>
                      </a:lnTo>
                      <a:lnTo>
                        <a:pt x="6" y="10"/>
                      </a:lnTo>
                      <a:lnTo>
                        <a:pt x="12" y="12"/>
                      </a:lnTo>
                      <a:lnTo>
                        <a:pt x="20" y="14"/>
                      </a:lnTo>
                      <a:lnTo>
                        <a:pt x="22" y="14"/>
                      </a:lnTo>
                      <a:lnTo>
                        <a:pt x="26" y="14"/>
                      </a:lnTo>
                      <a:lnTo>
                        <a:pt x="28" y="8"/>
                      </a:lnTo>
                      <a:lnTo>
                        <a:pt x="30" y="2"/>
                      </a:lnTo>
                      <a:lnTo>
                        <a:pt x="32" y="0"/>
                      </a:lnTo>
                      <a:lnTo>
                        <a:pt x="34" y="0"/>
                      </a:lnTo>
                      <a:lnTo>
                        <a:pt x="36" y="0"/>
                      </a:lnTo>
                      <a:lnTo>
                        <a:pt x="3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57" name="Freeform 106"/>
                <p:cNvSpPr>
                  <a:spLocks/>
                </p:cNvSpPr>
                <p:nvPr/>
              </p:nvSpPr>
              <p:spPr bwMode="auto">
                <a:xfrm>
                  <a:off x="5665790" y="2701916"/>
                  <a:ext cx="53975" cy="50800"/>
                </a:xfrm>
                <a:custGeom>
                  <a:avLst/>
                  <a:gdLst>
                    <a:gd name="T0" fmla="*/ 2147483646 w 34"/>
                    <a:gd name="T1" fmla="*/ 2147483646 h 32"/>
                    <a:gd name="T2" fmla="*/ 2147483646 w 34"/>
                    <a:gd name="T3" fmla="*/ 2147483646 h 32"/>
                    <a:gd name="T4" fmla="*/ 2147483646 w 34"/>
                    <a:gd name="T5" fmla="*/ 2147483646 h 32"/>
                    <a:gd name="T6" fmla="*/ 2147483646 w 34"/>
                    <a:gd name="T7" fmla="*/ 2147483646 h 32"/>
                    <a:gd name="T8" fmla="*/ 2147483646 w 34"/>
                    <a:gd name="T9" fmla="*/ 2147483646 h 32"/>
                    <a:gd name="T10" fmla="*/ 2147483646 w 34"/>
                    <a:gd name="T11" fmla="*/ 2147483646 h 32"/>
                    <a:gd name="T12" fmla="*/ 2147483646 w 34"/>
                    <a:gd name="T13" fmla="*/ 2147483646 h 32"/>
                    <a:gd name="T14" fmla="*/ 2147483646 w 34"/>
                    <a:gd name="T15" fmla="*/ 2147483646 h 32"/>
                    <a:gd name="T16" fmla="*/ 2147483646 w 34"/>
                    <a:gd name="T17" fmla="*/ 2147483646 h 32"/>
                    <a:gd name="T18" fmla="*/ 2147483646 w 34"/>
                    <a:gd name="T19" fmla="*/ 2147483646 h 32"/>
                    <a:gd name="T20" fmla="*/ 0 w 34"/>
                    <a:gd name="T21" fmla="*/ 2147483646 h 32"/>
                    <a:gd name="T22" fmla="*/ 2147483646 w 34"/>
                    <a:gd name="T23" fmla="*/ 2147483646 h 32"/>
                    <a:gd name="T24" fmla="*/ 2147483646 w 34"/>
                    <a:gd name="T25" fmla="*/ 0 h 32"/>
                    <a:gd name="T26" fmla="*/ 2147483646 w 34"/>
                    <a:gd name="T27" fmla="*/ 0 h 32"/>
                    <a:gd name="T28" fmla="*/ 2147483646 w 34"/>
                    <a:gd name="T29" fmla="*/ 2147483646 h 32"/>
                    <a:gd name="T30" fmla="*/ 2147483646 w 34"/>
                    <a:gd name="T31" fmla="*/ 2147483646 h 32"/>
                    <a:gd name="T32" fmla="*/ 2147483646 w 34"/>
                    <a:gd name="T33" fmla="*/ 2147483646 h 32"/>
                    <a:gd name="T34" fmla="*/ 2147483646 w 34"/>
                    <a:gd name="T35" fmla="*/ 2147483646 h 32"/>
                    <a:gd name="T36" fmla="*/ 2147483646 w 34"/>
                    <a:gd name="T37" fmla="*/ 2147483646 h 32"/>
                    <a:gd name="T38" fmla="*/ 2147483646 w 34"/>
                    <a:gd name="T39" fmla="*/ 2147483646 h 32"/>
                    <a:gd name="T40" fmla="*/ 2147483646 w 34"/>
                    <a:gd name="T41" fmla="*/ 2147483646 h 32"/>
                    <a:gd name="T42" fmla="*/ 2147483646 w 34"/>
                    <a:gd name="T43" fmla="*/ 2147483646 h 32"/>
                    <a:gd name="T44" fmla="*/ 2147483646 w 34"/>
                    <a:gd name="T45" fmla="*/ 2147483646 h 32"/>
                    <a:gd name="T46" fmla="*/ 2147483646 w 34"/>
                    <a:gd name="T47" fmla="*/ 2147483646 h 32"/>
                    <a:gd name="T48" fmla="*/ 2147483646 w 34"/>
                    <a:gd name="T49" fmla="*/ 2147483646 h 32"/>
                    <a:gd name="T50" fmla="*/ 2147483646 w 34"/>
                    <a:gd name="T51" fmla="*/ 2147483646 h 32"/>
                    <a:gd name="T52" fmla="*/ 2147483646 w 34"/>
                    <a:gd name="T53" fmla="*/ 2147483646 h 3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
                    <a:gd name="T82" fmla="*/ 0 h 32"/>
                    <a:gd name="T83" fmla="*/ 34 w 34"/>
                    <a:gd name="T84" fmla="*/ 32 h 3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 h="32">
                      <a:moveTo>
                        <a:pt x="32" y="26"/>
                      </a:moveTo>
                      <a:lnTo>
                        <a:pt x="32" y="26"/>
                      </a:lnTo>
                      <a:lnTo>
                        <a:pt x="28" y="30"/>
                      </a:lnTo>
                      <a:lnTo>
                        <a:pt x="24" y="32"/>
                      </a:lnTo>
                      <a:lnTo>
                        <a:pt x="18" y="32"/>
                      </a:lnTo>
                      <a:lnTo>
                        <a:pt x="12" y="32"/>
                      </a:lnTo>
                      <a:lnTo>
                        <a:pt x="6" y="26"/>
                      </a:lnTo>
                      <a:lnTo>
                        <a:pt x="4" y="20"/>
                      </a:lnTo>
                      <a:lnTo>
                        <a:pt x="2" y="16"/>
                      </a:lnTo>
                      <a:lnTo>
                        <a:pt x="0" y="12"/>
                      </a:lnTo>
                      <a:lnTo>
                        <a:pt x="2" y="4"/>
                      </a:lnTo>
                      <a:lnTo>
                        <a:pt x="8" y="0"/>
                      </a:lnTo>
                      <a:lnTo>
                        <a:pt x="10" y="4"/>
                      </a:lnTo>
                      <a:lnTo>
                        <a:pt x="10" y="12"/>
                      </a:lnTo>
                      <a:lnTo>
                        <a:pt x="14" y="18"/>
                      </a:lnTo>
                      <a:lnTo>
                        <a:pt x="16" y="22"/>
                      </a:lnTo>
                      <a:lnTo>
                        <a:pt x="18" y="22"/>
                      </a:lnTo>
                      <a:lnTo>
                        <a:pt x="24" y="20"/>
                      </a:lnTo>
                      <a:lnTo>
                        <a:pt x="30" y="20"/>
                      </a:lnTo>
                      <a:lnTo>
                        <a:pt x="34" y="20"/>
                      </a:lnTo>
                      <a:lnTo>
                        <a:pt x="34" y="22"/>
                      </a:lnTo>
                      <a:lnTo>
                        <a:pt x="32"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58" name="Freeform 107"/>
                <p:cNvSpPr>
                  <a:spLocks/>
                </p:cNvSpPr>
                <p:nvPr/>
              </p:nvSpPr>
              <p:spPr bwMode="auto">
                <a:xfrm>
                  <a:off x="5580065" y="2698741"/>
                  <a:ext cx="53975" cy="53975"/>
                </a:xfrm>
                <a:custGeom>
                  <a:avLst/>
                  <a:gdLst>
                    <a:gd name="T0" fmla="*/ 2147483646 w 34"/>
                    <a:gd name="T1" fmla="*/ 2147483646 h 34"/>
                    <a:gd name="T2" fmla="*/ 2147483646 w 34"/>
                    <a:gd name="T3" fmla="*/ 2147483646 h 34"/>
                    <a:gd name="T4" fmla="*/ 2147483646 w 34"/>
                    <a:gd name="T5" fmla="*/ 2147483646 h 34"/>
                    <a:gd name="T6" fmla="*/ 2147483646 w 34"/>
                    <a:gd name="T7" fmla="*/ 2147483646 h 34"/>
                    <a:gd name="T8" fmla="*/ 2147483646 w 34"/>
                    <a:gd name="T9" fmla="*/ 2147483646 h 34"/>
                    <a:gd name="T10" fmla="*/ 2147483646 w 34"/>
                    <a:gd name="T11" fmla="*/ 2147483646 h 34"/>
                    <a:gd name="T12" fmla="*/ 2147483646 w 34"/>
                    <a:gd name="T13" fmla="*/ 2147483646 h 34"/>
                    <a:gd name="T14" fmla="*/ 2147483646 w 34"/>
                    <a:gd name="T15" fmla="*/ 2147483646 h 34"/>
                    <a:gd name="T16" fmla="*/ 2147483646 w 34"/>
                    <a:gd name="T17" fmla="*/ 2147483646 h 34"/>
                    <a:gd name="T18" fmla="*/ 0 w 34"/>
                    <a:gd name="T19" fmla="*/ 2147483646 h 34"/>
                    <a:gd name="T20" fmla="*/ 0 w 34"/>
                    <a:gd name="T21" fmla="*/ 2147483646 h 34"/>
                    <a:gd name="T22" fmla="*/ 2147483646 w 34"/>
                    <a:gd name="T23" fmla="*/ 2147483646 h 34"/>
                    <a:gd name="T24" fmla="*/ 2147483646 w 34"/>
                    <a:gd name="T25" fmla="*/ 0 h 34"/>
                    <a:gd name="T26" fmla="*/ 2147483646 w 34"/>
                    <a:gd name="T27" fmla="*/ 0 h 34"/>
                    <a:gd name="T28" fmla="*/ 2147483646 w 34"/>
                    <a:gd name="T29" fmla="*/ 2147483646 h 34"/>
                    <a:gd name="T30" fmla="*/ 2147483646 w 34"/>
                    <a:gd name="T31" fmla="*/ 2147483646 h 34"/>
                    <a:gd name="T32" fmla="*/ 2147483646 w 34"/>
                    <a:gd name="T33" fmla="*/ 2147483646 h 34"/>
                    <a:gd name="T34" fmla="*/ 2147483646 w 34"/>
                    <a:gd name="T35" fmla="*/ 2147483646 h 34"/>
                    <a:gd name="T36" fmla="*/ 2147483646 w 34"/>
                    <a:gd name="T37" fmla="*/ 2147483646 h 34"/>
                    <a:gd name="T38" fmla="*/ 2147483646 w 34"/>
                    <a:gd name="T39" fmla="*/ 2147483646 h 34"/>
                    <a:gd name="T40" fmla="*/ 2147483646 w 34"/>
                    <a:gd name="T41" fmla="*/ 2147483646 h 34"/>
                    <a:gd name="T42" fmla="*/ 2147483646 w 34"/>
                    <a:gd name="T43" fmla="*/ 2147483646 h 34"/>
                    <a:gd name="T44" fmla="*/ 2147483646 w 34"/>
                    <a:gd name="T45" fmla="*/ 2147483646 h 34"/>
                    <a:gd name="T46" fmla="*/ 2147483646 w 34"/>
                    <a:gd name="T47" fmla="*/ 2147483646 h 34"/>
                    <a:gd name="T48" fmla="*/ 2147483646 w 34"/>
                    <a:gd name="T49" fmla="*/ 2147483646 h 34"/>
                    <a:gd name="T50" fmla="*/ 2147483646 w 34"/>
                    <a:gd name="T51" fmla="*/ 2147483646 h 34"/>
                    <a:gd name="T52" fmla="*/ 2147483646 w 34"/>
                    <a:gd name="T53" fmla="*/ 2147483646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
                    <a:gd name="T82" fmla="*/ 0 h 34"/>
                    <a:gd name="T83" fmla="*/ 34 w 34"/>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 h="34">
                      <a:moveTo>
                        <a:pt x="32" y="28"/>
                      </a:moveTo>
                      <a:lnTo>
                        <a:pt x="32" y="28"/>
                      </a:lnTo>
                      <a:lnTo>
                        <a:pt x="26" y="32"/>
                      </a:lnTo>
                      <a:lnTo>
                        <a:pt x="22" y="34"/>
                      </a:lnTo>
                      <a:lnTo>
                        <a:pt x="16" y="34"/>
                      </a:lnTo>
                      <a:lnTo>
                        <a:pt x="10" y="32"/>
                      </a:lnTo>
                      <a:lnTo>
                        <a:pt x="6" y="26"/>
                      </a:lnTo>
                      <a:lnTo>
                        <a:pt x="2" y="20"/>
                      </a:lnTo>
                      <a:lnTo>
                        <a:pt x="0" y="16"/>
                      </a:lnTo>
                      <a:lnTo>
                        <a:pt x="0" y="12"/>
                      </a:lnTo>
                      <a:lnTo>
                        <a:pt x="4" y="4"/>
                      </a:lnTo>
                      <a:lnTo>
                        <a:pt x="8" y="0"/>
                      </a:lnTo>
                      <a:lnTo>
                        <a:pt x="10" y="6"/>
                      </a:lnTo>
                      <a:lnTo>
                        <a:pt x="10" y="12"/>
                      </a:lnTo>
                      <a:lnTo>
                        <a:pt x="12" y="20"/>
                      </a:lnTo>
                      <a:lnTo>
                        <a:pt x="14" y="22"/>
                      </a:lnTo>
                      <a:lnTo>
                        <a:pt x="16" y="24"/>
                      </a:lnTo>
                      <a:lnTo>
                        <a:pt x="24" y="22"/>
                      </a:lnTo>
                      <a:lnTo>
                        <a:pt x="30" y="22"/>
                      </a:lnTo>
                      <a:lnTo>
                        <a:pt x="32" y="22"/>
                      </a:lnTo>
                      <a:lnTo>
                        <a:pt x="34" y="24"/>
                      </a:lnTo>
                      <a:lnTo>
                        <a:pt x="34" y="26"/>
                      </a:lnTo>
                      <a:lnTo>
                        <a:pt x="32"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59" name="Freeform 108"/>
                <p:cNvSpPr>
                  <a:spLocks/>
                </p:cNvSpPr>
                <p:nvPr/>
              </p:nvSpPr>
              <p:spPr bwMode="auto">
                <a:xfrm>
                  <a:off x="5754690" y="2825741"/>
                  <a:ext cx="41275" cy="28575"/>
                </a:xfrm>
                <a:custGeom>
                  <a:avLst/>
                  <a:gdLst>
                    <a:gd name="T0" fmla="*/ 2147483646 w 26"/>
                    <a:gd name="T1" fmla="*/ 2147483646 h 18"/>
                    <a:gd name="T2" fmla="*/ 2147483646 w 26"/>
                    <a:gd name="T3" fmla="*/ 2147483646 h 18"/>
                    <a:gd name="T4" fmla="*/ 2147483646 w 26"/>
                    <a:gd name="T5" fmla="*/ 2147483646 h 18"/>
                    <a:gd name="T6" fmla="*/ 2147483646 w 26"/>
                    <a:gd name="T7" fmla="*/ 2147483646 h 18"/>
                    <a:gd name="T8" fmla="*/ 2147483646 w 26"/>
                    <a:gd name="T9" fmla="*/ 2147483646 h 18"/>
                    <a:gd name="T10" fmla="*/ 2147483646 w 26"/>
                    <a:gd name="T11" fmla="*/ 2147483646 h 18"/>
                    <a:gd name="T12" fmla="*/ 2147483646 w 26"/>
                    <a:gd name="T13" fmla="*/ 2147483646 h 18"/>
                    <a:gd name="T14" fmla="*/ 2147483646 w 26"/>
                    <a:gd name="T15" fmla="*/ 2147483646 h 18"/>
                    <a:gd name="T16" fmla="*/ 2147483646 w 26"/>
                    <a:gd name="T17" fmla="*/ 2147483646 h 18"/>
                    <a:gd name="T18" fmla="*/ 0 w 26"/>
                    <a:gd name="T19" fmla="*/ 2147483646 h 18"/>
                    <a:gd name="T20" fmla="*/ 0 w 26"/>
                    <a:gd name="T21" fmla="*/ 2147483646 h 18"/>
                    <a:gd name="T22" fmla="*/ 0 w 26"/>
                    <a:gd name="T23" fmla="*/ 2147483646 h 18"/>
                    <a:gd name="T24" fmla="*/ 2147483646 w 26"/>
                    <a:gd name="T25" fmla="*/ 2147483646 h 18"/>
                    <a:gd name="T26" fmla="*/ 2147483646 w 26"/>
                    <a:gd name="T27" fmla="*/ 2147483646 h 18"/>
                    <a:gd name="T28" fmla="*/ 2147483646 w 26"/>
                    <a:gd name="T29" fmla="*/ 2147483646 h 18"/>
                    <a:gd name="T30" fmla="*/ 2147483646 w 26"/>
                    <a:gd name="T31" fmla="*/ 2147483646 h 18"/>
                    <a:gd name="T32" fmla="*/ 2147483646 w 26"/>
                    <a:gd name="T33" fmla="*/ 2147483646 h 18"/>
                    <a:gd name="T34" fmla="*/ 2147483646 w 26"/>
                    <a:gd name="T35" fmla="*/ 0 h 18"/>
                    <a:gd name="T36" fmla="*/ 2147483646 w 26"/>
                    <a:gd name="T37" fmla="*/ 2147483646 h 18"/>
                    <a:gd name="T38" fmla="*/ 2147483646 w 26"/>
                    <a:gd name="T39" fmla="*/ 2147483646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18"/>
                    <a:gd name="T62" fmla="*/ 26 w 26"/>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18">
                      <a:moveTo>
                        <a:pt x="24" y="4"/>
                      </a:moveTo>
                      <a:lnTo>
                        <a:pt x="24" y="4"/>
                      </a:lnTo>
                      <a:lnTo>
                        <a:pt x="26" y="8"/>
                      </a:lnTo>
                      <a:lnTo>
                        <a:pt x="24" y="10"/>
                      </a:lnTo>
                      <a:lnTo>
                        <a:pt x="22" y="14"/>
                      </a:lnTo>
                      <a:lnTo>
                        <a:pt x="20" y="16"/>
                      </a:lnTo>
                      <a:lnTo>
                        <a:pt x="10" y="18"/>
                      </a:lnTo>
                      <a:lnTo>
                        <a:pt x="4" y="16"/>
                      </a:lnTo>
                      <a:lnTo>
                        <a:pt x="0" y="12"/>
                      </a:lnTo>
                      <a:lnTo>
                        <a:pt x="0" y="6"/>
                      </a:lnTo>
                      <a:lnTo>
                        <a:pt x="8" y="10"/>
                      </a:lnTo>
                      <a:lnTo>
                        <a:pt x="12" y="10"/>
                      </a:lnTo>
                      <a:lnTo>
                        <a:pt x="16" y="10"/>
                      </a:lnTo>
                      <a:lnTo>
                        <a:pt x="20" y="2"/>
                      </a:lnTo>
                      <a:lnTo>
                        <a:pt x="2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60" name="Freeform 109"/>
                <p:cNvSpPr>
                  <a:spLocks/>
                </p:cNvSpPr>
                <p:nvPr/>
              </p:nvSpPr>
              <p:spPr bwMode="auto">
                <a:xfrm>
                  <a:off x="5519740" y="2727316"/>
                  <a:ext cx="41275" cy="28575"/>
                </a:xfrm>
                <a:custGeom>
                  <a:avLst/>
                  <a:gdLst>
                    <a:gd name="T0" fmla="*/ 2147483646 w 26"/>
                    <a:gd name="T1" fmla="*/ 2147483646 h 18"/>
                    <a:gd name="T2" fmla="*/ 2147483646 w 26"/>
                    <a:gd name="T3" fmla="*/ 2147483646 h 18"/>
                    <a:gd name="T4" fmla="*/ 2147483646 w 26"/>
                    <a:gd name="T5" fmla="*/ 2147483646 h 18"/>
                    <a:gd name="T6" fmla="*/ 2147483646 w 26"/>
                    <a:gd name="T7" fmla="*/ 2147483646 h 18"/>
                    <a:gd name="T8" fmla="*/ 2147483646 w 26"/>
                    <a:gd name="T9" fmla="*/ 2147483646 h 18"/>
                    <a:gd name="T10" fmla="*/ 2147483646 w 26"/>
                    <a:gd name="T11" fmla="*/ 2147483646 h 18"/>
                    <a:gd name="T12" fmla="*/ 2147483646 w 26"/>
                    <a:gd name="T13" fmla="*/ 2147483646 h 18"/>
                    <a:gd name="T14" fmla="*/ 2147483646 w 26"/>
                    <a:gd name="T15" fmla="*/ 2147483646 h 18"/>
                    <a:gd name="T16" fmla="*/ 2147483646 w 26"/>
                    <a:gd name="T17" fmla="*/ 2147483646 h 18"/>
                    <a:gd name="T18" fmla="*/ 2147483646 w 26"/>
                    <a:gd name="T19" fmla="*/ 2147483646 h 18"/>
                    <a:gd name="T20" fmla="*/ 0 w 26"/>
                    <a:gd name="T21" fmla="*/ 2147483646 h 18"/>
                    <a:gd name="T22" fmla="*/ 0 w 26"/>
                    <a:gd name="T23" fmla="*/ 2147483646 h 18"/>
                    <a:gd name="T24" fmla="*/ 2147483646 w 26"/>
                    <a:gd name="T25" fmla="*/ 2147483646 h 18"/>
                    <a:gd name="T26" fmla="*/ 2147483646 w 26"/>
                    <a:gd name="T27" fmla="*/ 2147483646 h 18"/>
                    <a:gd name="T28" fmla="*/ 2147483646 w 26"/>
                    <a:gd name="T29" fmla="*/ 2147483646 h 18"/>
                    <a:gd name="T30" fmla="*/ 2147483646 w 26"/>
                    <a:gd name="T31" fmla="*/ 2147483646 h 18"/>
                    <a:gd name="T32" fmla="*/ 2147483646 w 26"/>
                    <a:gd name="T33" fmla="*/ 0 h 18"/>
                    <a:gd name="T34" fmla="*/ 2147483646 w 26"/>
                    <a:gd name="T35" fmla="*/ 0 h 18"/>
                    <a:gd name="T36" fmla="*/ 2147483646 w 26"/>
                    <a:gd name="T37" fmla="*/ 2147483646 h 18"/>
                    <a:gd name="T38" fmla="*/ 2147483646 w 26"/>
                    <a:gd name="T39" fmla="*/ 2147483646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18"/>
                    <a:gd name="T62" fmla="*/ 26 w 26"/>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18">
                      <a:moveTo>
                        <a:pt x="26" y="2"/>
                      </a:moveTo>
                      <a:lnTo>
                        <a:pt x="26" y="2"/>
                      </a:lnTo>
                      <a:lnTo>
                        <a:pt x="26" y="6"/>
                      </a:lnTo>
                      <a:lnTo>
                        <a:pt x="26" y="10"/>
                      </a:lnTo>
                      <a:lnTo>
                        <a:pt x="24" y="14"/>
                      </a:lnTo>
                      <a:lnTo>
                        <a:pt x="22" y="16"/>
                      </a:lnTo>
                      <a:lnTo>
                        <a:pt x="12" y="18"/>
                      </a:lnTo>
                      <a:lnTo>
                        <a:pt x="4" y="14"/>
                      </a:lnTo>
                      <a:lnTo>
                        <a:pt x="2" y="10"/>
                      </a:lnTo>
                      <a:lnTo>
                        <a:pt x="0" y="6"/>
                      </a:lnTo>
                      <a:lnTo>
                        <a:pt x="10" y="10"/>
                      </a:lnTo>
                      <a:lnTo>
                        <a:pt x="14" y="10"/>
                      </a:lnTo>
                      <a:lnTo>
                        <a:pt x="18" y="10"/>
                      </a:lnTo>
                      <a:lnTo>
                        <a:pt x="22" y="0"/>
                      </a:lnTo>
                      <a:lnTo>
                        <a:pt x="24" y="0"/>
                      </a:lnTo>
                      <a:lnTo>
                        <a:pt x="2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61" name="Freeform 110"/>
                <p:cNvSpPr>
                  <a:spLocks/>
                </p:cNvSpPr>
                <p:nvPr/>
              </p:nvSpPr>
              <p:spPr bwMode="auto">
                <a:xfrm>
                  <a:off x="5868990" y="3314691"/>
                  <a:ext cx="38100" cy="38100"/>
                </a:xfrm>
                <a:custGeom>
                  <a:avLst/>
                  <a:gdLst>
                    <a:gd name="T0" fmla="*/ 2147483646 w 24"/>
                    <a:gd name="T1" fmla="*/ 2147483646 h 24"/>
                    <a:gd name="T2" fmla="*/ 2147483646 w 24"/>
                    <a:gd name="T3" fmla="*/ 2147483646 h 24"/>
                    <a:gd name="T4" fmla="*/ 2147483646 w 24"/>
                    <a:gd name="T5" fmla="*/ 2147483646 h 24"/>
                    <a:gd name="T6" fmla="*/ 2147483646 w 24"/>
                    <a:gd name="T7" fmla="*/ 2147483646 h 24"/>
                    <a:gd name="T8" fmla="*/ 2147483646 w 24"/>
                    <a:gd name="T9" fmla="*/ 2147483646 h 24"/>
                    <a:gd name="T10" fmla="*/ 2147483646 w 24"/>
                    <a:gd name="T11" fmla="*/ 2147483646 h 24"/>
                    <a:gd name="T12" fmla="*/ 2147483646 w 24"/>
                    <a:gd name="T13" fmla="*/ 2147483646 h 24"/>
                    <a:gd name="T14" fmla="*/ 2147483646 w 24"/>
                    <a:gd name="T15" fmla="*/ 2147483646 h 24"/>
                    <a:gd name="T16" fmla="*/ 2147483646 w 24"/>
                    <a:gd name="T17" fmla="*/ 2147483646 h 24"/>
                    <a:gd name="T18" fmla="*/ 0 w 24"/>
                    <a:gd name="T19" fmla="*/ 2147483646 h 24"/>
                    <a:gd name="T20" fmla="*/ 0 w 24"/>
                    <a:gd name="T21" fmla="*/ 2147483646 h 24"/>
                    <a:gd name="T22" fmla="*/ 2147483646 w 24"/>
                    <a:gd name="T23" fmla="*/ 2147483646 h 24"/>
                    <a:gd name="T24" fmla="*/ 2147483646 w 24"/>
                    <a:gd name="T25" fmla="*/ 0 h 24"/>
                    <a:gd name="T26" fmla="*/ 2147483646 w 24"/>
                    <a:gd name="T27" fmla="*/ 0 h 24"/>
                    <a:gd name="T28" fmla="*/ 2147483646 w 24"/>
                    <a:gd name="T29" fmla="*/ 2147483646 h 24"/>
                    <a:gd name="T30" fmla="*/ 2147483646 w 24"/>
                    <a:gd name="T31" fmla="*/ 2147483646 h 24"/>
                    <a:gd name="T32" fmla="*/ 2147483646 w 24"/>
                    <a:gd name="T33" fmla="*/ 2147483646 h 24"/>
                    <a:gd name="T34" fmla="*/ 2147483646 w 24"/>
                    <a:gd name="T35" fmla="*/ 2147483646 h 24"/>
                    <a:gd name="T36" fmla="*/ 2147483646 w 24"/>
                    <a:gd name="T37" fmla="*/ 2147483646 h 24"/>
                    <a:gd name="T38" fmla="*/ 2147483646 w 24"/>
                    <a:gd name="T39" fmla="*/ 2147483646 h 24"/>
                    <a:gd name="T40" fmla="*/ 2147483646 w 24"/>
                    <a:gd name="T41" fmla="*/ 2147483646 h 24"/>
                    <a:gd name="T42" fmla="*/ 2147483646 w 24"/>
                    <a:gd name="T43" fmla="*/ 2147483646 h 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
                    <a:gd name="T67" fmla="*/ 0 h 24"/>
                    <a:gd name="T68" fmla="*/ 24 w 24"/>
                    <a:gd name="T69" fmla="*/ 24 h 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 h="24">
                      <a:moveTo>
                        <a:pt x="24" y="18"/>
                      </a:moveTo>
                      <a:lnTo>
                        <a:pt x="24" y="18"/>
                      </a:lnTo>
                      <a:lnTo>
                        <a:pt x="22" y="22"/>
                      </a:lnTo>
                      <a:lnTo>
                        <a:pt x="18" y="22"/>
                      </a:lnTo>
                      <a:lnTo>
                        <a:pt x="14" y="24"/>
                      </a:lnTo>
                      <a:lnTo>
                        <a:pt x="10" y="22"/>
                      </a:lnTo>
                      <a:lnTo>
                        <a:pt x="4" y="20"/>
                      </a:lnTo>
                      <a:lnTo>
                        <a:pt x="2" y="16"/>
                      </a:lnTo>
                      <a:lnTo>
                        <a:pt x="0" y="12"/>
                      </a:lnTo>
                      <a:lnTo>
                        <a:pt x="0" y="10"/>
                      </a:lnTo>
                      <a:lnTo>
                        <a:pt x="2" y="4"/>
                      </a:lnTo>
                      <a:lnTo>
                        <a:pt x="4" y="0"/>
                      </a:lnTo>
                      <a:lnTo>
                        <a:pt x="8" y="8"/>
                      </a:lnTo>
                      <a:lnTo>
                        <a:pt x="8" y="10"/>
                      </a:lnTo>
                      <a:lnTo>
                        <a:pt x="12" y="12"/>
                      </a:lnTo>
                      <a:lnTo>
                        <a:pt x="20" y="14"/>
                      </a:lnTo>
                      <a:lnTo>
                        <a:pt x="22" y="16"/>
                      </a:lnTo>
                      <a:lnTo>
                        <a:pt x="2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62" name="Freeform 111"/>
                <p:cNvSpPr>
                  <a:spLocks/>
                </p:cNvSpPr>
                <p:nvPr/>
              </p:nvSpPr>
              <p:spPr bwMode="auto">
                <a:xfrm>
                  <a:off x="5948365" y="2682866"/>
                  <a:ext cx="250825" cy="330200"/>
                </a:xfrm>
                <a:custGeom>
                  <a:avLst/>
                  <a:gdLst>
                    <a:gd name="T0" fmla="*/ 2147483646 w 158"/>
                    <a:gd name="T1" fmla="*/ 2147483646 h 208"/>
                    <a:gd name="T2" fmla="*/ 2147483646 w 158"/>
                    <a:gd name="T3" fmla="*/ 2147483646 h 208"/>
                    <a:gd name="T4" fmla="*/ 2147483646 w 158"/>
                    <a:gd name="T5" fmla="*/ 2147483646 h 208"/>
                    <a:gd name="T6" fmla="*/ 2147483646 w 158"/>
                    <a:gd name="T7" fmla="*/ 2147483646 h 208"/>
                    <a:gd name="T8" fmla="*/ 2147483646 w 158"/>
                    <a:gd name="T9" fmla="*/ 2147483646 h 208"/>
                    <a:gd name="T10" fmla="*/ 2147483646 w 158"/>
                    <a:gd name="T11" fmla="*/ 2147483646 h 208"/>
                    <a:gd name="T12" fmla="*/ 2147483646 w 158"/>
                    <a:gd name="T13" fmla="*/ 2147483646 h 208"/>
                    <a:gd name="T14" fmla="*/ 2147483646 w 158"/>
                    <a:gd name="T15" fmla="*/ 2147483646 h 208"/>
                    <a:gd name="T16" fmla="*/ 2147483646 w 158"/>
                    <a:gd name="T17" fmla="*/ 2147483646 h 208"/>
                    <a:gd name="T18" fmla="*/ 2147483646 w 158"/>
                    <a:gd name="T19" fmla="*/ 2147483646 h 208"/>
                    <a:gd name="T20" fmla="*/ 2147483646 w 158"/>
                    <a:gd name="T21" fmla="*/ 2147483646 h 208"/>
                    <a:gd name="T22" fmla="*/ 2147483646 w 158"/>
                    <a:gd name="T23" fmla="*/ 2147483646 h 208"/>
                    <a:gd name="T24" fmla="*/ 2147483646 w 158"/>
                    <a:gd name="T25" fmla="*/ 2147483646 h 208"/>
                    <a:gd name="T26" fmla="*/ 2147483646 w 158"/>
                    <a:gd name="T27" fmla="*/ 2147483646 h 208"/>
                    <a:gd name="T28" fmla="*/ 2147483646 w 158"/>
                    <a:gd name="T29" fmla="*/ 2147483646 h 208"/>
                    <a:gd name="T30" fmla="*/ 2147483646 w 158"/>
                    <a:gd name="T31" fmla="*/ 2147483646 h 208"/>
                    <a:gd name="T32" fmla="*/ 2147483646 w 158"/>
                    <a:gd name="T33" fmla="*/ 2147483646 h 208"/>
                    <a:gd name="T34" fmla="*/ 2147483646 w 158"/>
                    <a:gd name="T35" fmla="*/ 2147483646 h 208"/>
                    <a:gd name="T36" fmla="*/ 2147483646 w 158"/>
                    <a:gd name="T37" fmla="*/ 2147483646 h 208"/>
                    <a:gd name="T38" fmla="*/ 2147483646 w 158"/>
                    <a:gd name="T39" fmla="*/ 2147483646 h 208"/>
                    <a:gd name="T40" fmla="*/ 2147483646 w 158"/>
                    <a:gd name="T41" fmla="*/ 2147483646 h 208"/>
                    <a:gd name="T42" fmla="*/ 2147483646 w 158"/>
                    <a:gd name="T43" fmla="*/ 2147483646 h 208"/>
                    <a:gd name="T44" fmla="*/ 2147483646 w 158"/>
                    <a:gd name="T45" fmla="*/ 2147483646 h 208"/>
                    <a:gd name="T46" fmla="*/ 2147483646 w 158"/>
                    <a:gd name="T47" fmla="*/ 2147483646 h 208"/>
                    <a:gd name="T48" fmla="*/ 2147483646 w 158"/>
                    <a:gd name="T49" fmla="*/ 2147483646 h 208"/>
                    <a:gd name="T50" fmla="*/ 2147483646 w 158"/>
                    <a:gd name="T51" fmla="*/ 2147483646 h 208"/>
                    <a:gd name="T52" fmla="*/ 2147483646 w 158"/>
                    <a:gd name="T53" fmla="*/ 2147483646 h 208"/>
                    <a:gd name="T54" fmla="*/ 2147483646 w 158"/>
                    <a:gd name="T55" fmla="*/ 2147483646 h 208"/>
                    <a:gd name="T56" fmla="*/ 2147483646 w 158"/>
                    <a:gd name="T57" fmla="*/ 2147483646 h 208"/>
                    <a:gd name="T58" fmla="*/ 2147483646 w 158"/>
                    <a:gd name="T59" fmla="*/ 2147483646 h 208"/>
                    <a:gd name="T60" fmla="*/ 2147483646 w 158"/>
                    <a:gd name="T61" fmla="*/ 2147483646 h 208"/>
                    <a:gd name="T62" fmla="*/ 2147483646 w 158"/>
                    <a:gd name="T63" fmla="*/ 2147483646 h 208"/>
                    <a:gd name="T64" fmla="*/ 2147483646 w 158"/>
                    <a:gd name="T65" fmla="*/ 2147483646 h 208"/>
                    <a:gd name="T66" fmla="*/ 2147483646 w 158"/>
                    <a:gd name="T67" fmla="*/ 2147483646 h 208"/>
                    <a:gd name="T68" fmla="*/ 2147483646 w 158"/>
                    <a:gd name="T69" fmla="*/ 2147483646 h 208"/>
                    <a:gd name="T70" fmla="*/ 2147483646 w 158"/>
                    <a:gd name="T71" fmla="*/ 2147483646 h 208"/>
                    <a:gd name="T72" fmla="*/ 2147483646 w 158"/>
                    <a:gd name="T73" fmla="*/ 2147483646 h 208"/>
                    <a:gd name="T74" fmla="*/ 2147483646 w 158"/>
                    <a:gd name="T75" fmla="*/ 2147483646 h 208"/>
                    <a:gd name="T76" fmla="*/ 0 w 158"/>
                    <a:gd name="T77" fmla="*/ 2147483646 h 208"/>
                    <a:gd name="T78" fmla="*/ 0 w 158"/>
                    <a:gd name="T79" fmla="*/ 2147483646 h 208"/>
                    <a:gd name="T80" fmla="*/ 2147483646 w 158"/>
                    <a:gd name="T81" fmla="*/ 2147483646 h 208"/>
                    <a:gd name="T82" fmla="*/ 2147483646 w 158"/>
                    <a:gd name="T83" fmla="*/ 2147483646 h 208"/>
                    <a:gd name="T84" fmla="*/ 2147483646 w 158"/>
                    <a:gd name="T85" fmla="*/ 2147483646 h 208"/>
                    <a:gd name="T86" fmla="*/ 2147483646 w 158"/>
                    <a:gd name="T87" fmla="*/ 2147483646 h 208"/>
                    <a:gd name="T88" fmla="*/ 2147483646 w 158"/>
                    <a:gd name="T89" fmla="*/ 2147483646 h 208"/>
                    <a:gd name="T90" fmla="*/ 2147483646 w 158"/>
                    <a:gd name="T91" fmla="*/ 2147483646 h 208"/>
                    <a:gd name="T92" fmla="*/ 2147483646 w 158"/>
                    <a:gd name="T93" fmla="*/ 2147483646 h 208"/>
                    <a:gd name="T94" fmla="*/ 2147483646 w 158"/>
                    <a:gd name="T95" fmla="*/ 2147483646 h 208"/>
                    <a:gd name="T96" fmla="*/ 2147483646 w 158"/>
                    <a:gd name="T97" fmla="*/ 2147483646 h 208"/>
                    <a:gd name="T98" fmla="*/ 2147483646 w 158"/>
                    <a:gd name="T99" fmla="*/ 2147483646 h 208"/>
                    <a:gd name="T100" fmla="*/ 2147483646 w 158"/>
                    <a:gd name="T101" fmla="*/ 2147483646 h 208"/>
                    <a:gd name="T102" fmla="*/ 2147483646 w 158"/>
                    <a:gd name="T103" fmla="*/ 2147483646 h 208"/>
                    <a:gd name="T104" fmla="*/ 2147483646 w 158"/>
                    <a:gd name="T105" fmla="*/ 2147483646 h 208"/>
                    <a:gd name="T106" fmla="*/ 2147483646 w 158"/>
                    <a:gd name="T107" fmla="*/ 2147483646 h 208"/>
                    <a:gd name="T108" fmla="*/ 2147483646 w 158"/>
                    <a:gd name="T109" fmla="*/ 0 h 208"/>
                    <a:gd name="T110" fmla="*/ 2147483646 w 158"/>
                    <a:gd name="T111" fmla="*/ 2147483646 h 208"/>
                    <a:gd name="T112" fmla="*/ 2147483646 w 158"/>
                    <a:gd name="T113" fmla="*/ 2147483646 h 208"/>
                    <a:gd name="T114" fmla="*/ 2147483646 w 158"/>
                    <a:gd name="T115" fmla="*/ 2147483646 h 208"/>
                    <a:gd name="T116" fmla="*/ 2147483646 w 158"/>
                    <a:gd name="T117" fmla="*/ 2147483646 h 208"/>
                    <a:gd name="T118" fmla="*/ 2147483646 w 158"/>
                    <a:gd name="T119" fmla="*/ 2147483646 h 2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8"/>
                    <a:gd name="T181" fmla="*/ 0 h 208"/>
                    <a:gd name="T182" fmla="*/ 158 w 158"/>
                    <a:gd name="T183" fmla="*/ 208 h 2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8" h="208">
                      <a:moveTo>
                        <a:pt x="138" y="24"/>
                      </a:moveTo>
                      <a:lnTo>
                        <a:pt x="138" y="24"/>
                      </a:lnTo>
                      <a:lnTo>
                        <a:pt x="148" y="42"/>
                      </a:lnTo>
                      <a:lnTo>
                        <a:pt x="154" y="62"/>
                      </a:lnTo>
                      <a:lnTo>
                        <a:pt x="158" y="84"/>
                      </a:lnTo>
                      <a:lnTo>
                        <a:pt x="158" y="106"/>
                      </a:lnTo>
                      <a:lnTo>
                        <a:pt x="158" y="122"/>
                      </a:lnTo>
                      <a:lnTo>
                        <a:pt x="158" y="138"/>
                      </a:lnTo>
                      <a:lnTo>
                        <a:pt x="154" y="154"/>
                      </a:lnTo>
                      <a:lnTo>
                        <a:pt x="148" y="168"/>
                      </a:lnTo>
                      <a:lnTo>
                        <a:pt x="140" y="180"/>
                      </a:lnTo>
                      <a:lnTo>
                        <a:pt x="132" y="188"/>
                      </a:lnTo>
                      <a:lnTo>
                        <a:pt x="126" y="190"/>
                      </a:lnTo>
                      <a:lnTo>
                        <a:pt x="120" y="192"/>
                      </a:lnTo>
                      <a:lnTo>
                        <a:pt x="114" y="192"/>
                      </a:lnTo>
                      <a:lnTo>
                        <a:pt x="108" y="190"/>
                      </a:lnTo>
                      <a:lnTo>
                        <a:pt x="104" y="190"/>
                      </a:lnTo>
                      <a:lnTo>
                        <a:pt x="100" y="192"/>
                      </a:lnTo>
                      <a:lnTo>
                        <a:pt x="94" y="200"/>
                      </a:lnTo>
                      <a:lnTo>
                        <a:pt x="88" y="204"/>
                      </a:lnTo>
                      <a:lnTo>
                        <a:pt x="80" y="206"/>
                      </a:lnTo>
                      <a:lnTo>
                        <a:pt x="70" y="208"/>
                      </a:lnTo>
                      <a:lnTo>
                        <a:pt x="58" y="208"/>
                      </a:lnTo>
                      <a:lnTo>
                        <a:pt x="50" y="206"/>
                      </a:lnTo>
                      <a:lnTo>
                        <a:pt x="42" y="204"/>
                      </a:lnTo>
                      <a:lnTo>
                        <a:pt x="38" y="198"/>
                      </a:lnTo>
                      <a:lnTo>
                        <a:pt x="34" y="190"/>
                      </a:lnTo>
                      <a:lnTo>
                        <a:pt x="26" y="168"/>
                      </a:lnTo>
                      <a:lnTo>
                        <a:pt x="22" y="164"/>
                      </a:lnTo>
                      <a:lnTo>
                        <a:pt x="20" y="164"/>
                      </a:lnTo>
                      <a:lnTo>
                        <a:pt x="18" y="166"/>
                      </a:lnTo>
                      <a:lnTo>
                        <a:pt x="8" y="156"/>
                      </a:lnTo>
                      <a:lnTo>
                        <a:pt x="2" y="142"/>
                      </a:lnTo>
                      <a:lnTo>
                        <a:pt x="0" y="130"/>
                      </a:lnTo>
                      <a:lnTo>
                        <a:pt x="0" y="116"/>
                      </a:lnTo>
                      <a:lnTo>
                        <a:pt x="4" y="90"/>
                      </a:lnTo>
                      <a:lnTo>
                        <a:pt x="6" y="76"/>
                      </a:lnTo>
                      <a:lnTo>
                        <a:pt x="6" y="64"/>
                      </a:lnTo>
                      <a:lnTo>
                        <a:pt x="6" y="54"/>
                      </a:lnTo>
                      <a:lnTo>
                        <a:pt x="8" y="48"/>
                      </a:lnTo>
                      <a:lnTo>
                        <a:pt x="12" y="40"/>
                      </a:lnTo>
                      <a:lnTo>
                        <a:pt x="16" y="32"/>
                      </a:lnTo>
                      <a:lnTo>
                        <a:pt x="28" y="20"/>
                      </a:lnTo>
                      <a:lnTo>
                        <a:pt x="44" y="12"/>
                      </a:lnTo>
                      <a:lnTo>
                        <a:pt x="54" y="6"/>
                      </a:lnTo>
                      <a:lnTo>
                        <a:pt x="68" y="4"/>
                      </a:lnTo>
                      <a:lnTo>
                        <a:pt x="80" y="2"/>
                      </a:lnTo>
                      <a:lnTo>
                        <a:pt x="94" y="0"/>
                      </a:lnTo>
                      <a:lnTo>
                        <a:pt x="108" y="2"/>
                      </a:lnTo>
                      <a:lnTo>
                        <a:pt x="120" y="6"/>
                      </a:lnTo>
                      <a:lnTo>
                        <a:pt x="130" y="12"/>
                      </a:lnTo>
                      <a:lnTo>
                        <a:pt x="138" y="24"/>
                      </a:lnTo>
                      <a:close/>
                    </a:path>
                  </a:pathLst>
                </a:custGeom>
                <a:solidFill>
                  <a:srgbClr val="E3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460" name="Freeform 112"/>
                <p:cNvSpPr>
                  <a:spLocks/>
                </p:cNvSpPr>
                <p:nvPr/>
              </p:nvSpPr>
              <p:spPr bwMode="auto">
                <a:xfrm>
                  <a:off x="5440392" y="2807816"/>
                  <a:ext cx="287517" cy="343423"/>
                </a:xfrm>
                <a:custGeom>
                  <a:avLst/>
                  <a:gdLst/>
                  <a:ahLst/>
                  <a:cxnLst>
                    <a:cxn ang="0">
                      <a:pos x="84" y="14"/>
                    </a:cxn>
                    <a:cxn ang="0">
                      <a:pos x="92" y="14"/>
                    </a:cxn>
                    <a:cxn ang="0">
                      <a:pos x="98" y="8"/>
                    </a:cxn>
                    <a:cxn ang="0">
                      <a:pos x="100" y="14"/>
                    </a:cxn>
                    <a:cxn ang="0">
                      <a:pos x="106" y="18"/>
                    </a:cxn>
                    <a:cxn ang="0">
                      <a:pos x="118" y="16"/>
                    </a:cxn>
                    <a:cxn ang="0">
                      <a:pos x="120" y="12"/>
                    </a:cxn>
                    <a:cxn ang="0">
                      <a:pos x="126" y="24"/>
                    </a:cxn>
                    <a:cxn ang="0">
                      <a:pos x="138" y="30"/>
                    </a:cxn>
                    <a:cxn ang="0">
                      <a:pos x="146" y="30"/>
                    </a:cxn>
                    <a:cxn ang="0">
                      <a:pos x="154" y="36"/>
                    </a:cxn>
                    <a:cxn ang="0">
                      <a:pos x="160" y="38"/>
                    </a:cxn>
                    <a:cxn ang="0">
                      <a:pos x="164" y="60"/>
                    </a:cxn>
                    <a:cxn ang="0">
                      <a:pos x="168" y="84"/>
                    </a:cxn>
                    <a:cxn ang="0">
                      <a:pos x="174" y="90"/>
                    </a:cxn>
                    <a:cxn ang="0">
                      <a:pos x="176" y="104"/>
                    </a:cxn>
                    <a:cxn ang="0">
                      <a:pos x="172" y="126"/>
                    </a:cxn>
                    <a:cxn ang="0">
                      <a:pos x="172" y="138"/>
                    </a:cxn>
                    <a:cxn ang="0">
                      <a:pos x="160" y="162"/>
                    </a:cxn>
                    <a:cxn ang="0">
                      <a:pos x="146" y="184"/>
                    </a:cxn>
                    <a:cxn ang="0">
                      <a:pos x="124" y="202"/>
                    </a:cxn>
                    <a:cxn ang="0">
                      <a:pos x="96" y="206"/>
                    </a:cxn>
                    <a:cxn ang="0">
                      <a:pos x="94" y="202"/>
                    </a:cxn>
                    <a:cxn ang="0">
                      <a:pos x="94" y="198"/>
                    </a:cxn>
                    <a:cxn ang="0">
                      <a:pos x="70" y="214"/>
                    </a:cxn>
                    <a:cxn ang="0">
                      <a:pos x="52" y="212"/>
                    </a:cxn>
                    <a:cxn ang="0">
                      <a:pos x="44" y="206"/>
                    </a:cxn>
                    <a:cxn ang="0">
                      <a:pos x="34" y="194"/>
                    </a:cxn>
                    <a:cxn ang="0">
                      <a:pos x="32" y="178"/>
                    </a:cxn>
                    <a:cxn ang="0">
                      <a:pos x="32" y="174"/>
                    </a:cxn>
                    <a:cxn ang="0">
                      <a:pos x="24" y="184"/>
                    </a:cxn>
                    <a:cxn ang="0">
                      <a:pos x="10" y="172"/>
                    </a:cxn>
                    <a:cxn ang="0">
                      <a:pos x="2" y="152"/>
                    </a:cxn>
                    <a:cxn ang="0">
                      <a:pos x="0" y="108"/>
                    </a:cxn>
                    <a:cxn ang="0">
                      <a:pos x="4" y="96"/>
                    </a:cxn>
                    <a:cxn ang="0">
                      <a:pos x="20" y="58"/>
                    </a:cxn>
                    <a:cxn ang="0">
                      <a:pos x="24" y="44"/>
                    </a:cxn>
                    <a:cxn ang="0">
                      <a:pos x="38" y="18"/>
                    </a:cxn>
                    <a:cxn ang="0">
                      <a:pos x="48" y="6"/>
                    </a:cxn>
                    <a:cxn ang="0">
                      <a:pos x="60" y="12"/>
                    </a:cxn>
                    <a:cxn ang="0">
                      <a:pos x="72" y="0"/>
                    </a:cxn>
                    <a:cxn ang="0">
                      <a:pos x="76" y="8"/>
                    </a:cxn>
                    <a:cxn ang="0">
                      <a:pos x="84" y="14"/>
                    </a:cxn>
                  </a:cxnLst>
                  <a:rect l="0" t="0" r="r" b="b"/>
                  <a:pathLst>
                    <a:path w="176" h="216">
                      <a:moveTo>
                        <a:pt x="84" y="14"/>
                      </a:moveTo>
                      <a:lnTo>
                        <a:pt x="84" y="14"/>
                      </a:lnTo>
                      <a:lnTo>
                        <a:pt x="88" y="14"/>
                      </a:lnTo>
                      <a:lnTo>
                        <a:pt x="92" y="14"/>
                      </a:lnTo>
                      <a:lnTo>
                        <a:pt x="98" y="8"/>
                      </a:lnTo>
                      <a:lnTo>
                        <a:pt x="98" y="8"/>
                      </a:lnTo>
                      <a:lnTo>
                        <a:pt x="98" y="12"/>
                      </a:lnTo>
                      <a:lnTo>
                        <a:pt x="100" y="14"/>
                      </a:lnTo>
                      <a:lnTo>
                        <a:pt x="106" y="18"/>
                      </a:lnTo>
                      <a:lnTo>
                        <a:pt x="106" y="18"/>
                      </a:lnTo>
                      <a:lnTo>
                        <a:pt x="114" y="18"/>
                      </a:lnTo>
                      <a:lnTo>
                        <a:pt x="118" y="16"/>
                      </a:lnTo>
                      <a:lnTo>
                        <a:pt x="120" y="12"/>
                      </a:lnTo>
                      <a:lnTo>
                        <a:pt x="120" y="12"/>
                      </a:lnTo>
                      <a:lnTo>
                        <a:pt x="124" y="20"/>
                      </a:lnTo>
                      <a:lnTo>
                        <a:pt x="126" y="24"/>
                      </a:lnTo>
                      <a:lnTo>
                        <a:pt x="132" y="28"/>
                      </a:lnTo>
                      <a:lnTo>
                        <a:pt x="138" y="30"/>
                      </a:lnTo>
                      <a:lnTo>
                        <a:pt x="138" y="30"/>
                      </a:lnTo>
                      <a:lnTo>
                        <a:pt x="146" y="30"/>
                      </a:lnTo>
                      <a:lnTo>
                        <a:pt x="150" y="32"/>
                      </a:lnTo>
                      <a:lnTo>
                        <a:pt x="154" y="36"/>
                      </a:lnTo>
                      <a:lnTo>
                        <a:pt x="160" y="38"/>
                      </a:lnTo>
                      <a:lnTo>
                        <a:pt x="160" y="38"/>
                      </a:lnTo>
                      <a:lnTo>
                        <a:pt x="162" y="50"/>
                      </a:lnTo>
                      <a:lnTo>
                        <a:pt x="164" y="60"/>
                      </a:lnTo>
                      <a:lnTo>
                        <a:pt x="166" y="70"/>
                      </a:lnTo>
                      <a:lnTo>
                        <a:pt x="168" y="84"/>
                      </a:lnTo>
                      <a:lnTo>
                        <a:pt x="168" y="84"/>
                      </a:lnTo>
                      <a:lnTo>
                        <a:pt x="174" y="90"/>
                      </a:lnTo>
                      <a:lnTo>
                        <a:pt x="176" y="96"/>
                      </a:lnTo>
                      <a:lnTo>
                        <a:pt x="176" y="104"/>
                      </a:lnTo>
                      <a:lnTo>
                        <a:pt x="176" y="110"/>
                      </a:lnTo>
                      <a:lnTo>
                        <a:pt x="172" y="126"/>
                      </a:lnTo>
                      <a:lnTo>
                        <a:pt x="172" y="132"/>
                      </a:lnTo>
                      <a:lnTo>
                        <a:pt x="172" y="138"/>
                      </a:lnTo>
                      <a:lnTo>
                        <a:pt x="172" y="138"/>
                      </a:lnTo>
                      <a:lnTo>
                        <a:pt x="160" y="162"/>
                      </a:lnTo>
                      <a:lnTo>
                        <a:pt x="154" y="174"/>
                      </a:lnTo>
                      <a:lnTo>
                        <a:pt x="146" y="184"/>
                      </a:lnTo>
                      <a:lnTo>
                        <a:pt x="136" y="194"/>
                      </a:lnTo>
                      <a:lnTo>
                        <a:pt x="124" y="202"/>
                      </a:lnTo>
                      <a:lnTo>
                        <a:pt x="112" y="206"/>
                      </a:lnTo>
                      <a:lnTo>
                        <a:pt x="96" y="206"/>
                      </a:lnTo>
                      <a:lnTo>
                        <a:pt x="96" y="206"/>
                      </a:lnTo>
                      <a:lnTo>
                        <a:pt x="94" y="202"/>
                      </a:lnTo>
                      <a:lnTo>
                        <a:pt x="94" y="198"/>
                      </a:lnTo>
                      <a:lnTo>
                        <a:pt x="94" y="198"/>
                      </a:lnTo>
                      <a:lnTo>
                        <a:pt x="80" y="210"/>
                      </a:lnTo>
                      <a:lnTo>
                        <a:pt x="70" y="214"/>
                      </a:lnTo>
                      <a:lnTo>
                        <a:pt x="60" y="216"/>
                      </a:lnTo>
                      <a:lnTo>
                        <a:pt x="52" y="212"/>
                      </a:lnTo>
                      <a:lnTo>
                        <a:pt x="52" y="212"/>
                      </a:lnTo>
                      <a:lnTo>
                        <a:pt x="44" y="206"/>
                      </a:lnTo>
                      <a:lnTo>
                        <a:pt x="38" y="200"/>
                      </a:lnTo>
                      <a:lnTo>
                        <a:pt x="34" y="194"/>
                      </a:lnTo>
                      <a:lnTo>
                        <a:pt x="32" y="188"/>
                      </a:lnTo>
                      <a:lnTo>
                        <a:pt x="32" y="178"/>
                      </a:lnTo>
                      <a:lnTo>
                        <a:pt x="32" y="174"/>
                      </a:lnTo>
                      <a:lnTo>
                        <a:pt x="32" y="174"/>
                      </a:lnTo>
                      <a:lnTo>
                        <a:pt x="24" y="184"/>
                      </a:lnTo>
                      <a:lnTo>
                        <a:pt x="24" y="184"/>
                      </a:lnTo>
                      <a:lnTo>
                        <a:pt x="16" y="178"/>
                      </a:lnTo>
                      <a:lnTo>
                        <a:pt x="10" y="172"/>
                      </a:lnTo>
                      <a:lnTo>
                        <a:pt x="4" y="162"/>
                      </a:lnTo>
                      <a:lnTo>
                        <a:pt x="2" y="152"/>
                      </a:lnTo>
                      <a:lnTo>
                        <a:pt x="0" y="130"/>
                      </a:lnTo>
                      <a:lnTo>
                        <a:pt x="0" y="108"/>
                      </a:lnTo>
                      <a:lnTo>
                        <a:pt x="0" y="108"/>
                      </a:lnTo>
                      <a:lnTo>
                        <a:pt x="4" y="96"/>
                      </a:lnTo>
                      <a:lnTo>
                        <a:pt x="8" y="82"/>
                      </a:lnTo>
                      <a:lnTo>
                        <a:pt x="20" y="58"/>
                      </a:lnTo>
                      <a:lnTo>
                        <a:pt x="20" y="58"/>
                      </a:lnTo>
                      <a:lnTo>
                        <a:pt x="24" y="44"/>
                      </a:lnTo>
                      <a:lnTo>
                        <a:pt x="30" y="30"/>
                      </a:lnTo>
                      <a:lnTo>
                        <a:pt x="38" y="18"/>
                      </a:lnTo>
                      <a:lnTo>
                        <a:pt x="48" y="6"/>
                      </a:lnTo>
                      <a:lnTo>
                        <a:pt x="48" y="6"/>
                      </a:lnTo>
                      <a:lnTo>
                        <a:pt x="56" y="10"/>
                      </a:lnTo>
                      <a:lnTo>
                        <a:pt x="60" y="12"/>
                      </a:lnTo>
                      <a:lnTo>
                        <a:pt x="64" y="10"/>
                      </a:lnTo>
                      <a:lnTo>
                        <a:pt x="72" y="0"/>
                      </a:lnTo>
                      <a:lnTo>
                        <a:pt x="72" y="0"/>
                      </a:lnTo>
                      <a:lnTo>
                        <a:pt x="76" y="8"/>
                      </a:lnTo>
                      <a:lnTo>
                        <a:pt x="84" y="14"/>
                      </a:lnTo>
                      <a:lnTo>
                        <a:pt x="84" y="14"/>
                      </a:lnTo>
                      <a:close/>
                    </a:path>
                  </a:pathLst>
                </a:custGeom>
                <a:solidFill>
                  <a:schemeClr val="accent6">
                    <a:lumMod val="40000"/>
                    <a:lumOff val="60000"/>
                  </a:schemeClr>
                </a:solidFill>
                <a:ln w="9525">
                  <a:noFill/>
                  <a:round/>
                  <a:headEnd/>
                  <a:tailEnd/>
                </a:ln>
              </p:spPr>
              <p:txBody>
                <a:bodyPr/>
                <a:lstStyle/>
                <a:p>
                  <a:pPr defTabSz="1007943">
                    <a:defRPr/>
                  </a:pPr>
                  <a:endParaRPr lang="ja-JP" altLang="en-US" sz="1984">
                    <a:solidFill>
                      <a:prstClr val="black"/>
                    </a:solidFill>
                    <a:latin typeface="Calibri"/>
                    <a:ea typeface="ＭＳ Ｐゴシック" panose="020B0600070205080204" pitchFamily="50" charset="-128"/>
                    <a:cs typeface="メイリオ" pitchFamily="50" charset="-128"/>
                  </a:endParaRPr>
                </a:p>
              </p:txBody>
            </p:sp>
            <p:sp>
              <p:nvSpPr>
                <p:cNvPr id="2264" name="Freeform 113"/>
                <p:cNvSpPr>
                  <a:spLocks/>
                </p:cNvSpPr>
                <p:nvPr/>
              </p:nvSpPr>
              <p:spPr bwMode="auto">
                <a:xfrm>
                  <a:off x="6030915" y="2790816"/>
                  <a:ext cx="66675" cy="98425"/>
                </a:xfrm>
                <a:custGeom>
                  <a:avLst/>
                  <a:gdLst>
                    <a:gd name="T0" fmla="*/ 2147483646 w 42"/>
                    <a:gd name="T1" fmla="*/ 0 h 62"/>
                    <a:gd name="T2" fmla="*/ 2147483646 w 42"/>
                    <a:gd name="T3" fmla="*/ 0 h 62"/>
                    <a:gd name="T4" fmla="*/ 2147483646 w 42"/>
                    <a:gd name="T5" fmla="*/ 2147483646 h 62"/>
                    <a:gd name="T6" fmla="*/ 2147483646 w 42"/>
                    <a:gd name="T7" fmla="*/ 2147483646 h 62"/>
                    <a:gd name="T8" fmla="*/ 2147483646 w 42"/>
                    <a:gd name="T9" fmla="*/ 2147483646 h 62"/>
                    <a:gd name="T10" fmla="*/ 2147483646 w 42"/>
                    <a:gd name="T11" fmla="*/ 2147483646 h 62"/>
                    <a:gd name="T12" fmla="*/ 2147483646 w 42"/>
                    <a:gd name="T13" fmla="*/ 2147483646 h 62"/>
                    <a:gd name="T14" fmla="*/ 2147483646 w 42"/>
                    <a:gd name="T15" fmla="*/ 2147483646 h 62"/>
                    <a:gd name="T16" fmla="*/ 2147483646 w 42"/>
                    <a:gd name="T17" fmla="*/ 2147483646 h 62"/>
                    <a:gd name="T18" fmla="*/ 2147483646 w 42"/>
                    <a:gd name="T19" fmla="*/ 2147483646 h 62"/>
                    <a:gd name="T20" fmla="*/ 2147483646 w 42"/>
                    <a:gd name="T21" fmla="*/ 2147483646 h 62"/>
                    <a:gd name="T22" fmla="*/ 2147483646 w 42"/>
                    <a:gd name="T23" fmla="*/ 2147483646 h 62"/>
                    <a:gd name="T24" fmla="*/ 2147483646 w 42"/>
                    <a:gd name="T25" fmla="*/ 2147483646 h 62"/>
                    <a:gd name="T26" fmla="*/ 2147483646 w 42"/>
                    <a:gd name="T27" fmla="*/ 2147483646 h 62"/>
                    <a:gd name="T28" fmla="*/ 2147483646 w 42"/>
                    <a:gd name="T29" fmla="*/ 2147483646 h 62"/>
                    <a:gd name="T30" fmla="*/ 2147483646 w 42"/>
                    <a:gd name="T31" fmla="*/ 2147483646 h 62"/>
                    <a:gd name="T32" fmla="*/ 2147483646 w 42"/>
                    <a:gd name="T33" fmla="*/ 2147483646 h 62"/>
                    <a:gd name="T34" fmla="*/ 0 w 42"/>
                    <a:gd name="T35" fmla="*/ 2147483646 h 62"/>
                    <a:gd name="T36" fmla="*/ 0 w 42"/>
                    <a:gd name="T37" fmla="*/ 2147483646 h 62"/>
                    <a:gd name="T38" fmla="*/ 2147483646 w 42"/>
                    <a:gd name="T39" fmla="*/ 2147483646 h 62"/>
                    <a:gd name="T40" fmla="*/ 2147483646 w 42"/>
                    <a:gd name="T41" fmla="*/ 2147483646 h 62"/>
                    <a:gd name="T42" fmla="*/ 2147483646 w 42"/>
                    <a:gd name="T43" fmla="*/ 2147483646 h 62"/>
                    <a:gd name="T44" fmla="*/ 2147483646 w 42"/>
                    <a:gd name="T45" fmla="*/ 0 h 62"/>
                    <a:gd name="T46" fmla="*/ 2147483646 w 42"/>
                    <a:gd name="T47" fmla="*/ 0 h 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
                    <a:gd name="T73" fmla="*/ 0 h 62"/>
                    <a:gd name="T74" fmla="*/ 42 w 42"/>
                    <a:gd name="T75" fmla="*/ 62 h 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 h="62">
                      <a:moveTo>
                        <a:pt x="20" y="0"/>
                      </a:moveTo>
                      <a:lnTo>
                        <a:pt x="20" y="0"/>
                      </a:lnTo>
                      <a:lnTo>
                        <a:pt x="14" y="22"/>
                      </a:lnTo>
                      <a:lnTo>
                        <a:pt x="10" y="34"/>
                      </a:lnTo>
                      <a:lnTo>
                        <a:pt x="10" y="44"/>
                      </a:lnTo>
                      <a:lnTo>
                        <a:pt x="12" y="48"/>
                      </a:lnTo>
                      <a:lnTo>
                        <a:pt x="16" y="50"/>
                      </a:lnTo>
                      <a:lnTo>
                        <a:pt x="28" y="54"/>
                      </a:lnTo>
                      <a:lnTo>
                        <a:pt x="38" y="54"/>
                      </a:lnTo>
                      <a:lnTo>
                        <a:pt x="42" y="56"/>
                      </a:lnTo>
                      <a:lnTo>
                        <a:pt x="34" y="60"/>
                      </a:lnTo>
                      <a:lnTo>
                        <a:pt x="24" y="62"/>
                      </a:lnTo>
                      <a:lnTo>
                        <a:pt x="18" y="60"/>
                      </a:lnTo>
                      <a:lnTo>
                        <a:pt x="10" y="58"/>
                      </a:lnTo>
                      <a:lnTo>
                        <a:pt x="6" y="56"/>
                      </a:lnTo>
                      <a:lnTo>
                        <a:pt x="0" y="52"/>
                      </a:lnTo>
                      <a:lnTo>
                        <a:pt x="4" y="30"/>
                      </a:lnTo>
                      <a:lnTo>
                        <a:pt x="12" y="12"/>
                      </a:lnTo>
                      <a:lnTo>
                        <a:pt x="18" y="4"/>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65" name="Freeform 114"/>
                <p:cNvSpPr>
                  <a:spLocks/>
                </p:cNvSpPr>
                <p:nvPr/>
              </p:nvSpPr>
              <p:spPr bwMode="auto">
                <a:xfrm>
                  <a:off x="6011865" y="2905116"/>
                  <a:ext cx="82550" cy="41275"/>
                </a:xfrm>
                <a:custGeom>
                  <a:avLst/>
                  <a:gdLst>
                    <a:gd name="T0" fmla="*/ 2147483646 w 52"/>
                    <a:gd name="T1" fmla="*/ 2147483646 h 26"/>
                    <a:gd name="T2" fmla="*/ 2147483646 w 52"/>
                    <a:gd name="T3" fmla="*/ 2147483646 h 26"/>
                    <a:gd name="T4" fmla="*/ 2147483646 w 52"/>
                    <a:gd name="T5" fmla="*/ 2147483646 h 26"/>
                    <a:gd name="T6" fmla="*/ 2147483646 w 52"/>
                    <a:gd name="T7" fmla="*/ 2147483646 h 26"/>
                    <a:gd name="T8" fmla="*/ 2147483646 w 52"/>
                    <a:gd name="T9" fmla="*/ 2147483646 h 26"/>
                    <a:gd name="T10" fmla="*/ 2147483646 w 52"/>
                    <a:gd name="T11" fmla="*/ 2147483646 h 26"/>
                    <a:gd name="T12" fmla="*/ 2147483646 w 52"/>
                    <a:gd name="T13" fmla="*/ 2147483646 h 26"/>
                    <a:gd name="T14" fmla="*/ 2147483646 w 52"/>
                    <a:gd name="T15" fmla="*/ 2147483646 h 26"/>
                    <a:gd name="T16" fmla="*/ 2147483646 w 52"/>
                    <a:gd name="T17" fmla="*/ 2147483646 h 26"/>
                    <a:gd name="T18" fmla="*/ 2147483646 w 52"/>
                    <a:gd name="T19" fmla="*/ 2147483646 h 26"/>
                    <a:gd name="T20" fmla="*/ 0 w 52"/>
                    <a:gd name="T21" fmla="*/ 2147483646 h 26"/>
                    <a:gd name="T22" fmla="*/ 0 w 52"/>
                    <a:gd name="T23" fmla="*/ 0 h 26"/>
                    <a:gd name="T24" fmla="*/ 0 w 52"/>
                    <a:gd name="T25" fmla="*/ 0 h 26"/>
                    <a:gd name="T26" fmla="*/ 2147483646 w 52"/>
                    <a:gd name="T27" fmla="*/ 2147483646 h 26"/>
                    <a:gd name="T28" fmla="*/ 2147483646 w 52"/>
                    <a:gd name="T29" fmla="*/ 2147483646 h 26"/>
                    <a:gd name="T30" fmla="*/ 2147483646 w 52"/>
                    <a:gd name="T31" fmla="*/ 2147483646 h 26"/>
                    <a:gd name="T32" fmla="*/ 2147483646 w 52"/>
                    <a:gd name="T33" fmla="*/ 2147483646 h 26"/>
                    <a:gd name="T34" fmla="*/ 2147483646 w 52"/>
                    <a:gd name="T35" fmla="*/ 2147483646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2"/>
                    <a:gd name="T55" fmla="*/ 0 h 26"/>
                    <a:gd name="T56" fmla="*/ 52 w 5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2" h="26">
                      <a:moveTo>
                        <a:pt x="52" y="12"/>
                      </a:moveTo>
                      <a:lnTo>
                        <a:pt x="52" y="12"/>
                      </a:lnTo>
                      <a:lnTo>
                        <a:pt x="50" y="18"/>
                      </a:lnTo>
                      <a:lnTo>
                        <a:pt x="46" y="22"/>
                      </a:lnTo>
                      <a:lnTo>
                        <a:pt x="32" y="26"/>
                      </a:lnTo>
                      <a:lnTo>
                        <a:pt x="22" y="24"/>
                      </a:lnTo>
                      <a:lnTo>
                        <a:pt x="14" y="22"/>
                      </a:lnTo>
                      <a:lnTo>
                        <a:pt x="8" y="18"/>
                      </a:lnTo>
                      <a:lnTo>
                        <a:pt x="4" y="14"/>
                      </a:lnTo>
                      <a:lnTo>
                        <a:pt x="0" y="6"/>
                      </a:lnTo>
                      <a:lnTo>
                        <a:pt x="0" y="0"/>
                      </a:lnTo>
                      <a:lnTo>
                        <a:pt x="10" y="8"/>
                      </a:lnTo>
                      <a:lnTo>
                        <a:pt x="22" y="12"/>
                      </a:lnTo>
                      <a:lnTo>
                        <a:pt x="36" y="14"/>
                      </a:lnTo>
                      <a:lnTo>
                        <a:pt x="5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66" name="Freeform 115"/>
                <p:cNvSpPr>
                  <a:spLocks/>
                </p:cNvSpPr>
                <p:nvPr/>
              </p:nvSpPr>
              <p:spPr bwMode="auto">
                <a:xfrm>
                  <a:off x="5500690" y="2886066"/>
                  <a:ext cx="60325" cy="41275"/>
                </a:xfrm>
                <a:custGeom>
                  <a:avLst/>
                  <a:gdLst>
                    <a:gd name="T0" fmla="*/ 2147483646 w 38"/>
                    <a:gd name="T1" fmla="*/ 2147483646 h 26"/>
                    <a:gd name="T2" fmla="*/ 2147483646 w 38"/>
                    <a:gd name="T3" fmla="*/ 2147483646 h 26"/>
                    <a:gd name="T4" fmla="*/ 2147483646 w 38"/>
                    <a:gd name="T5" fmla="*/ 2147483646 h 26"/>
                    <a:gd name="T6" fmla="*/ 2147483646 w 38"/>
                    <a:gd name="T7" fmla="*/ 2147483646 h 26"/>
                    <a:gd name="T8" fmla="*/ 2147483646 w 38"/>
                    <a:gd name="T9" fmla="*/ 2147483646 h 26"/>
                    <a:gd name="T10" fmla="*/ 2147483646 w 38"/>
                    <a:gd name="T11" fmla="*/ 2147483646 h 26"/>
                    <a:gd name="T12" fmla="*/ 2147483646 w 38"/>
                    <a:gd name="T13" fmla="*/ 2147483646 h 26"/>
                    <a:gd name="T14" fmla="*/ 2147483646 w 38"/>
                    <a:gd name="T15" fmla="*/ 2147483646 h 26"/>
                    <a:gd name="T16" fmla="*/ 2147483646 w 38"/>
                    <a:gd name="T17" fmla="*/ 2147483646 h 26"/>
                    <a:gd name="T18" fmla="*/ 0 w 38"/>
                    <a:gd name="T19" fmla="*/ 2147483646 h 26"/>
                    <a:gd name="T20" fmla="*/ 0 w 38"/>
                    <a:gd name="T21" fmla="*/ 0 h 26"/>
                    <a:gd name="T22" fmla="*/ 0 w 38"/>
                    <a:gd name="T23" fmla="*/ 0 h 26"/>
                    <a:gd name="T24" fmla="*/ 2147483646 w 38"/>
                    <a:gd name="T25" fmla="*/ 2147483646 h 26"/>
                    <a:gd name="T26" fmla="*/ 2147483646 w 38"/>
                    <a:gd name="T27" fmla="*/ 2147483646 h 26"/>
                    <a:gd name="T28" fmla="*/ 2147483646 w 38"/>
                    <a:gd name="T29" fmla="*/ 2147483646 h 26"/>
                    <a:gd name="T30" fmla="*/ 2147483646 w 38"/>
                    <a:gd name="T31" fmla="*/ 2147483646 h 26"/>
                    <a:gd name="T32" fmla="*/ 2147483646 w 38"/>
                    <a:gd name="T33" fmla="*/ 2147483646 h 26"/>
                    <a:gd name="T34" fmla="*/ 2147483646 w 38"/>
                    <a:gd name="T35" fmla="*/ 2147483646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26"/>
                    <a:gd name="T56" fmla="*/ 38 w 38"/>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26">
                      <a:moveTo>
                        <a:pt x="38" y="20"/>
                      </a:moveTo>
                      <a:lnTo>
                        <a:pt x="38" y="20"/>
                      </a:lnTo>
                      <a:lnTo>
                        <a:pt x="32" y="24"/>
                      </a:lnTo>
                      <a:lnTo>
                        <a:pt x="28" y="26"/>
                      </a:lnTo>
                      <a:lnTo>
                        <a:pt x="20" y="26"/>
                      </a:lnTo>
                      <a:lnTo>
                        <a:pt x="12" y="24"/>
                      </a:lnTo>
                      <a:lnTo>
                        <a:pt x="6" y="18"/>
                      </a:lnTo>
                      <a:lnTo>
                        <a:pt x="2" y="12"/>
                      </a:lnTo>
                      <a:lnTo>
                        <a:pt x="0" y="6"/>
                      </a:lnTo>
                      <a:lnTo>
                        <a:pt x="0" y="0"/>
                      </a:lnTo>
                      <a:lnTo>
                        <a:pt x="4" y="6"/>
                      </a:lnTo>
                      <a:lnTo>
                        <a:pt x="10" y="10"/>
                      </a:lnTo>
                      <a:lnTo>
                        <a:pt x="22" y="14"/>
                      </a:lnTo>
                      <a:lnTo>
                        <a:pt x="32" y="16"/>
                      </a:lnTo>
                      <a:lnTo>
                        <a:pt x="3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67" name="Freeform 116"/>
                <p:cNvSpPr>
                  <a:spLocks/>
                </p:cNvSpPr>
                <p:nvPr/>
              </p:nvSpPr>
              <p:spPr bwMode="auto">
                <a:xfrm>
                  <a:off x="5621340" y="2927341"/>
                  <a:ext cx="57150" cy="38100"/>
                </a:xfrm>
                <a:custGeom>
                  <a:avLst/>
                  <a:gdLst>
                    <a:gd name="T0" fmla="*/ 2147483646 w 36"/>
                    <a:gd name="T1" fmla="*/ 2147483646 h 24"/>
                    <a:gd name="T2" fmla="*/ 2147483646 w 36"/>
                    <a:gd name="T3" fmla="*/ 2147483646 h 24"/>
                    <a:gd name="T4" fmla="*/ 2147483646 w 36"/>
                    <a:gd name="T5" fmla="*/ 2147483646 h 24"/>
                    <a:gd name="T6" fmla="*/ 2147483646 w 36"/>
                    <a:gd name="T7" fmla="*/ 2147483646 h 24"/>
                    <a:gd name="T8" fmla="*/ 2147483646 w 36"/>
                    <a:gd name="T9" fmla="*/ 2147483646 h 24"/>
                    <a:gd name="T10" fmla="*/ 2147483646 w 36"/>
                    <a:gd name="T11" fmla="*/ 2147483646 h 24"/>
                    <a:gd name="T12" fmla="*/ 2147483646 w 36"/>
                    <a:gd name="T13" fmla="*/ 2147483646 h 24"/>
                    <a:gd name="T14" fmla="*/ 2147483646 w 36"/>
                    <a:gd name="T15" fmla="*/ 2147483646 h 24"/>
                    <a:gd name="T16" fmla="*/ 2147483646 w 36"/>
                    <a:gd name="T17" fmla="*/ 2147483646 h 24"/>
                    <a:gd name="T18" fmla="*/ 0 w 36"/>
                    <a:gd name="T19" fmla="*/ 2147483646 h 24"/>
                    <a:gd name="T20" fmla="*/ 0 w 36"/>
                    <a:gd name="T21" fmla="*/ 0 h 24"/>
                    <a:gd name="T22" fmla="*/ 0 w 36"/>
                    <a:gd name="T23" fmla="*/ 0 h 24"/>
                    <a:gd name="T24" fmla="*/ 2147483646 w 36"/>
                    <a:gd name="T25" fmla="*/ 2147483646 h 24"/>
                    <a:gd name="T26" fmla="*/ 2147483646 w 36"/>
                    <a:gd name="T27" fmla="*/ 2147483646 h 24"/>
                    <a:gd name="T28" fmla="*/ 2147483646 w 36"/>
                    <a:gd name="T29" fmla="*/ 2147483646 h 24"/>
                    <a:gd name="T30" fmla="*/ 2147483646 w 36"/>
                    <a:gd name="T31" fmla="*/ 2147483646 h 24"/>
                    <a:gd name="T32" fmla="*/ 2147483646 w 36"/>
                    <a:gd name="T33" fmla="*/ 2147483646 h 24"/>
                    <a:gd name="T34" fmla="*/ 2147483646 w 36"/>
                    <a:gd name="T35" fmla="*/ 2147483646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24"/>
                    <a:gd name="T56" fmla="*/ 36 w 36"/>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24">
                      <a:moveTo>
                        <a:pt x="36" y="20"/>
                      </a:moveTo>
                      <a:lnTo>
                        <a:pt x="36" y="20"/>
                      </a:lnTo>
                      <a:lnTo>
                        <a:pt x="34" y="22"/>
                      </a:lnTo>
                      <a:lnTo>
                        <a:pt x="28" y="24"/>
                      </a:lnTo>
                      <a:lnTo>
                        <a:pt x="22" y="24"/>
                      </a:lnTo>
                      <a:lnTo>
                        <a:pt x="12" y="24"/>
                      </a:lnTo>
                      <a:lnTo>
                        <a:pt x="6" y="18"/>
                      </a:lnTo>
                      <a:lnTo>
                        <a:pt x="2" y="12"/>
                      </a:lnTo>
                      <a:lnTo>
                        <a:pt x="0" y="6"/>
                      </a:lnTo>
                      <a:lnTo>
                        <a:pt x="0" y="0"/>
                      </a:lnTo>
                      <a:lnTo>
                        <a:pt x="4" y="6"/>
                      </a:lnTo>
                      <a:lnTo>
                        <a:pt x="10" y="10"/>
                      </a:lnTo>
                      <a:lnTo>
                        <a:pt x="20" y="14"/>
                      </a:lnTo>
                      <a:lnTo>
                        <a:pt x="30" y="16"/>
                      </a:lnTo>
                      <a:lnTo>
                        <a:pt x="3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68" name="Freeform 117"/>
                <p:cNvSpPr>
                  <a:spLocks/>
                </p:cNvSpPr>
                <p:nvPr/>
              </p:nvSpPr>
              <p:spPr bwMode="auto">
                <a:xfrm>
                  <a:off x="6103940" y="2784466"/>
                  <a:ext cx="66675" cy="25400"/>
                </a:xfrm>
                <a:custGeom>
                  <a:avLst/>
                  <a:gdLst>
                    <a:gd name="T0" fmla="*/ 2147483646 w 42"/>
                    <a:gd name="T1" fmla="*/ 2147483646 h 16"/>
                    <a:gd name="T2" fmla="*/ 2147483646 w 42"/>
                    <a:gd name="T3" fmla="*/ 2147483646 h 16"/>
                    <a:gd name="T4" fmla="*/ 2147483646 w 42"/>
                    <a:gd name="T5" fmla="*/ 2147483646 h 16"/>
                    <a:gd name="T6" fmla="*/ 2147483646 w 42"/>
                    <a:gd name="T7" fmla="*/ 2147483646 h 16"/>
                    <a:gd name="T8" fmla="*/ 2147483646 w 42"/>
                    <a:gd name="T9" fmla="*/ 2147483646 h 16"/>
                    <a:gd name="T10" fmla="*/ 2147483646 w 42"/>
                    <a:gd name="T11" fmla="*/ 2147483646 h 16"/>
                    <a:gd name="T12" fmla="*/ 2147483646 w 42"/>
                    <a:gd name="T13" fmla="*/ 2147483646 h 16"/>
                    <a:gd name="T14" fmla="*/ 2147483646 w 42"/>
                    <a:gd name="T15" fmla="*/ 2147483646 h 16"/>
                    <a:gd name="T16" fmla="*/ 2147483646 w 42"/>
                    <a:gd name="T17" fmla="*/ 2147483646 h 16"/>
                    <a:gd name="T18" fmla="*/ 2147483646 w 42"/>
                    <a:gd name="T19" fmla="*/ 2147483646 h 16"/>
                    <a:gd name="T20" fmla="*/ 0 w 42"/>
                    <a:gd name="T21" fmla="*/ 0 h 16"/>
                    <a:gd name="T22" fmla="*/ 0 w 42"/>
                    <a:gd name="T23" fmla="*/ 0 h 16"/>
                    <a:gd name="T24" fmla="*/ 2147483646 w 42"/>
                    <a:gd name="T25" fmla="*/ 2147483646 h 16"/>
                    <a:gd name="T26" fmla="*/ 2147483646 w 42"/>
                    <a:gd name="T27" fmla="*/ 2147483646 h 16"/>
                    <a:gd name="T28" fmla="*/ 2147483646 w 42"/>
                    <a:gd name="T29" fmla="*/ 2147483646 h 16"/>
                    <a:gd name="T30" fmla="*/ 2147483646 w 42"/>
                    <a:gd name="T31" fmla="*/ 2147483646 h 16"/>
                    <a:gd name="T32" fmla="*/ 2147483646 w 42"/>
                    <a:gd name="T33" fmla="*/ 2147483646 h 16"/>
                    <a:gd name="T34" fmla="*/ 2147483646 w 42"/>
                    <a:gd name="T35" fmla="*/ 2147483646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2"/>
                    <a:gd name="T55" fmla="*/ 0 h 16"/>
                    <a:gd name="T56" fmla="*/ 42 w 42"/>
                    <a:gd name="T57" fmla="*/ 16 h 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2" h="16">
                      <a:moveTo>
                        <a:pt x="42" y="4"/>
                      </a:moveTo>
                      <a:lnTo>
                        <a:pt x="42" y="4"/>
                      </a:lnTo>
                      <a:lnTo>
                        <a:pt x="40" y="8"/>
                      </a:lnTo>
                      <a:lnTo>
                        <a:pt x="36" y="12"/>
                      </a:lnTo>
                      <a:lnTo>
                        <a:pt x="28" y="16"/>
                      </a:lnTo>
                      <a:lnTo>
                        <a:pt x="20" y="16"/>
                      </a:lnTo>
                      <a:lnTo>
                        <a:pt x="12" y="14"/>
                      </a:lnTo>
                      <a:lnTo>
                        <a:pt x="6" y="10"/>
                      </a:lnTo>
                      <a:lnTo>
                        <a:pt x="2" y="4"/>
                      </a:lnTo>
                      <a:lnTo>
                        <a:pt x="0" y="0"/>
                      </a:lnTo>
                      <a:lnTo>
                        <a:pt x="6" y="2"/>
                      </a:lnTo>
                      <a:lnTo>
                        <a:pt x="12" y="4"/>
                      </a:lnTo>
                      <a:lnTo>
                        <a:pt x="24" y="6"/>
                      </a:lnTo>
                      <a:lnTo>
                        <a:pt x="34" y="4"/>
                      </a:lnTo>
                      <a:lnTo>
                        <a:pt x="4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69" name="Freeform 118"/>
                <p:cNvSpPr>
                  <a:spLocks/>
                </p:cNvSpPr>
                <p:nvPr/>
              </p:nvSpPr>
              <p:spPr bwMode="auto">
                <a:xfrm>
                  <a:off x="5980115" y="2755891"/>
                  <a:ext cx="63500" cy="38100"/>
                </a:xfrm>
                <a:custGeom>
                  <a:avLst/>
                  <a:gdLst>
                    <a:gd name="T0" fmla="*/ 2147483646 w 40"/>
                    <a:gd name="T1" fmla="*/ 2147483646 h 24"/>
                    <a:gd name="T2" fmla="*/ 2147483646 w 40"/>
                    <a:gd name="T3" fmla="*/ 2147483646 h 24"/>
                    <a:gd name="T4" fmla="*/ 2147483646 w 40"/>
                    <a:gd name="T5" fmla="*/ 2147483646 h 24"/>
                    <a:gd name="T6" fmla="*/ 2147483646 w 40"/>
                    <a:gd name="T7" fmla="*/ 2147483646 h 24"/>
                    <a:gd name="T8" fmla="*/ 2147483646 w 40"/>
                    <a:gd name="T9" fmla="*/ 2147483646 h 24"/>
                    <a:gd name="T10" fmla="*/ 2147483646 w 40"/>
                    <a:gd name="T11" fmla="*/ 2147483646 h 24"/>
                    <a:gd name="T12" fmla="*/ 2147483646 w 40"/>
                    <a:gd name="T13" fmla="*/ 2147483646 h 24"/>
                    <a:gd name="T14" fmla="*/ 2147483646 w 40"/>
                    <a:gd name="T15" fmla="*/ 2147483646 h 24"/>
                    <a:gd name="T16" fmla="*/ 2147483646 w 40"/>
                    <a:gd name="T17" fmla="*/ 2147483646 h 24"/>
                    <a:gd name="T18" fmla="*/ 2147483646 w 40"/>
                    <a:gd name="T19" fmla="*/ 2147483646 h 24"/>
                    <a:gd name="T20" fmla="*/ 0 w 40"/>
                    <a:gd name="T21" fmla="*/ 0 h 24"/>
                    <a:gd name="T22" fmla="*/ 0 w 40"/>
                    <a:gd name="T23" fmla="*/ 0 h 24"/>
                    <a:gd name="T24" fmla="*/ 2147483646 w 40"/>
                    <a:gd name="T25" fmla="*/ 2147483646 h 24"/>
                    <a:gd name="T26" fmla="*/ 2147483646 w 40"/>
                    <a:gd name="T27" fmla="*/ 2147483646 h 24"/>
                    <a:gd name="T28" fmla="*/ 2147483646 w 40"/>
                    <a:gd name="T29" fmla="*/ 2147483646 h 24"/>
                    <a:gd name="T30" fmla="*/ 2147483646 w 40"/>
                    <a:gd name="T31" fmla="*/ 2147483646 h 24"/>
                    <a:gd name="T32" fmla="*/ 2147483646 w 40"/>
                    <a:gd name="T33" fmla="*/ 2147483646 h 24"/>
                    <a:gd name="T34" fmla="*/ 2147483646 w 40"/>
                    <a:gd name="T35" fmla="*/ 2147483646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
                    <a:gd name="T55" fmla="*/ 0 h 24"/>
                    <a:gd name="T56" fmla="*/ 40 w 4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 h="24">
                      <a:moveTo>
                        <a:pt x="40" y="16"/>
                      </a:moveTo>
                      <a:lnTo>
                        <a:pt x="40" y="16"/>
                      </a:lnTo>
                      <a:lnTo>
                        <a:pt x="36" y="20"/>
                      </a:lnTo>
                      <a:lnTo>
                        <a:pt x="32" y="22"/>
                      </a:lnTo>
                      <a:lnTo>
                        <a:pt x="24" y="24"/>
                      </a:lnTo>
                      <a:lnTo>
                        <a:pt x="16" y="22"/>
                      </a:lnTo>
                      <a:lnTo>
                        <a:pt x="8" y="18"/>
                      </a:lnTo>
                      <a:lnTo>
                        <a:pt x="4" y="12"/>
                      </a:lnTo>
                      <a:lnTo>
                        <a:pt x="2" y="6"/>
                      </a:lnTo>
                      <a:lnTo>
                        <a:pt x="0" y="0"/>
                      </a:lnTo>
                      <a:lnTo>
                        <a:pt x="6" y="6"/>
                      </a:lnTo>
                      <a:lnTo>
                        <a:pt x="12" y="8"/>
                      </a:lnTo>
                      <a:lnTo>
                        <a:pt x="24" y="12"/>
                      </a:lnTo>
                      <a:lnTo>
                        <a:pt x="34" y="14"/>
                      </a:lnTo>
                      <a:lnTo>
                        <a:pt x="4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70" name="Freeform 119"/>
                <p:cNvSpPr>
                  <a:spLocks/>
                </p:cNvSpPr>
                <p:nvPr/>
              </p:nvSpPr>
              <p:spPr bwMode="auto">
                <a:xfrm>
                  <a:off x="5535615" y="2959091"/>
                  <a:ext cx="63500" cy="73025"/>
                </a:xfrm>
                <a:custGeom>
                  <a:avLst/>
                  <a:gdLst>
                    <a:gd name="T0" fmla="*/ 2147483646 w 40"/>
                    <a:gd name="T1" fmla="*/ 2147483646 h 46"/>
                    <a:gd name="T2" fmla="*/ 2147483646 w 40"/>
                    <a:gd name="T3" fmla="*/ 2147483646 h 46"/>
                    <a:gd name="T4" fmla="*/ 2147483646 w 40"/>
                    <a:gd name="T5" fmla="*/ 2147483646 h 46"/>
                    <a:gd name="T6" fmla="*/ 2147483646 w 40"/>
                    <a:gd name="T7" fmla="*/ 2147483646 h 46"/>
                    <a:gd name="T8" fmla="*/ 2147483646 w 40"/>
                    <a:gd name="T9" fmla="*/ 2147483646 h 46"/>
                    <a:gd name="T10" fmla="*/ 2147483646 w 40"/>
                    <a:gd name="T11" fmla="*/ 2147483646 h 46"/>
                    <a:gd name="T12" fmla="*/ 2147483646 w 40"/>
                    <a:gd name="T13" fmla="*/ 2147483646 h 46"/>
                    <a:gd name="T14" fmla="*/ 2147483646 w 40"/>
                    <a:gd name="T15" fmla="*/ 2147483646 h 46"/>
                    <a:gd name="T16" fmla="*/ 2147483646 w 40"/>
                    <a:gd name="T17" fmla="*/ 2147483646 h 46"/>
                    <a:gd name="T18" fmla="*/ 2147483646 w 40"/>
                    <a:gd name="T19" fmla="*/ 2147483646 h 46"/>
                    <a:gd name="T20" fmla="*/ 2147483646 w 40"/>
                    <a:gd name="T21" fmla="*/ 2147483646 h 46"/>
                    <a:gd name="T22" fmla="*/ 2147483646 w 40"/>
                    <a:gd name="T23" fmla="*/ 2147483646 h 46"/>
                    <a:gd name="T24" fmla="*/ 2147483646 w 40"/>
                    <a:gd name="T25" fmla="*/ 2147483646 h 46"/>
                    <a:gd name="T26" fmla="*/ 2147483646 w 40"/>
                    <a:gd name="T27" fmla="*/ 2147483646 h 46"/>
                    <a:gd name="T28" fmla="*/ 2147483646 w 40"/>
                    <a:gd name="T29" fmla="*/ 2147483646 h 46"/>
                    <a:gd name="T30" fmla="*/ 0 w 40"/>
                    <a:gd name="T31" fmla="*/ 2147483646 h 46"/>
                    <a:gd name="T32" fmla="*/ 2147483646 w 40"/>
                    <a:gd name="T33" fmla="*/ 2147483646 h 46"/>
                    <a:gd name="T34" fmla="*/ 2147483646 w 40"/>
                    <a:gd name="T35" fmla="*/ 2147483646 h 46"/>
                    <a:gd name="T36" fmla="*/ 2147483646 w 40"/>
                    <a:gd name="T37" fmla="*/ 2147483646 h 46"/>
                    <a:gd name="T38" fmla="*/ 2147483646 w 40"/>
                    <a:gd name="T39" fmla="*/ 2147483646 h 46"/>
                    <a:gd name="T40" fmla="*/ 2147483646 w 40"/>
                    <a:gd name="T41" fmla="*/ 0 h 46"/>
                    <a:gd name="T42" fmla="*/ 2147483646 w 40"/>
                    <a:gd name="T43" fmla="*/ 0 h 46"/>
                    <a:gd name="T44" fmla="*/ 2147483646 w 40"/>
                    <a:gd name="T45" fmla="*/ 0 h 46"/>
                    <a:gd name="T46" fmla="*/ 2147483646 w 40"/>
                    <a:gd name="T47" fmla="*/ 2147483646 h 46"/>
                    <a:gd name="T48" fmla="*/ 2147483646 w 40"/>
                    <a:gd name="T49" fmla="*/ 2147483646 h 46"/>
                    <a:gd name="T50" fmla="*/ 2147483646 w 40"/>
                    <a:gd name="T51" fmla="*/ 2147483646 h 46"/>
                    <a:gd name="T52" fmla="*/ 2147483646 w 40"/>
                    <a:gd name="T53" fmla="*/ 2147483646 h 46"/>
                    <a:gd name="T54" fmla="*/ 2147483646 w 40"/>
                    <a:gd name="T55" fmla="*/ 2147483646 h 46"/>
                    <a:gd name="T56" fmla="*/ 2147483646 w 40"/>
                    <a:gd name="T57" fmla="*/ 2147483646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0"/>
                    <a:gd name="T88" fmla="*/ 0 h 46"/>
                    <a:gd name="T89" fmla="*/ 40 w 40"/>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0" h="46">
                      <a:moveTo>
                        <a:pt x="12" y="28"/>
                      </a:moveTo>
                      <a:lnTo>
                        <a:pt x="12" y="28"/>
                      </a:lnTo>
                      <a:lnTo>
                        <a:pt x="14" y="32"/>
                      </a:lnTo>
                      <a:lnTo>
                        <a:pt x="20" y="34"/>
                      </a:lnTo>
                      <a:lnTo>
                        <a:pt x="30" y="38"/>
                      </a:lnTo>
                      <a:lnTo>
                        <a:pt x="38" y="40"/>
                      </a:lnTo>
                      <a:lnTo>
                        <a:pt x="40" y="42"/>
                      </a:lnTo>
                      <a:lnTo>
                        <a:pt x="36" y="44"/>
                      </a:lnTo>
                      <a:lnTo>
                        <a:pt x="32" y="46"/>
                      </a:lnTo>
                      <a:lnTo>
                        <a:pt x="20" y="44"/>
                      </a:lnTo>
                      <a:lnTo>
                        <a:pt x="12" y="42"/>
                      </a:lnTo>
                      <a:lnTo>
                        <a:pt x="6" y="40"/>
                      </a:lnTo>
                      <a:lnTo>
                        <a:pt x="2" y="34"/>
                      </a:lnTo>
                      <a:lnTo>
                        <a:pt x="0" y="30"/>
                      </a:lnTo>
                      <a:lnTo>
                        <a:pt x="2" y="26"/>
                      </a:lnTo>
                      <a:lnTo>
                        <a:pt x="4" y="18"/>
                      </a:lnTo>
                      <a:lnTo>
                        <a:pt x="10" y="12"/>
                      </a:lnTo>
                      <a:lnTo>
                        <a:pt x="20" y="0"/>
                      </a:lnTo>
                      <a:lnTo>
                        <a:pt x="20" y="2"/>
                      </a:lnTo>
                      <a:lnTo>
                        <a:pt x="16" y="12"/>
                      </a:lnTo>
                      <a:lnTo>
                        <a:pt x="12" y="22"/>
                      </a:lnTo>
                      <a:lnTo>
                        <a:pt x="12" y="26"/>
                      </a:lnTo>
                      <a:lnTo>
                        <a:pt x="12"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71" name="Freeform 121"/>
                <p:cNvSpPr>
                  <a:spLocks/>
                </p:cNvSpPr>
                <p:nvPr/>
              </p:nvSpPr>
              <p:spPr bwMode="auto">
                <a:xfrm>
                  <a:off x="5513390" y="3038466"/>
                  <a:ext cx="85725" cy="50800"/>
                </a:xfrm>
                <a:custGeom>
                  <a:avLst/>
                  <a:gdLst>
                    <a:gd name="T0" fmla="*/ 2147483646 w 54"/>
                    <a:gd name="T1" fmla="*/ 2147483646 h 32"/>
                    <a:gd name="T2" fmla="*/ 2147483646 w 54"/>
                    <a:gd name="T3" fmla="*/ 2147483646 h 32"/>
                    <a:gd name="T4" fmla="*/ 2147483646 w 54"/>
                    <a:gd name="T5" fmla="*/ 2147483646 h 32"/>
                    <a:gd name="T6" fmla="*/ 2147483646 w 54"/>
                    <a:gd name="T7" fmla="*/ 2147483646 h 32"/>
                    <a:gd name="T8" fmla="*/ 2147483646 w 54"/>
                    <a:gd name="T9" fmla="*/ 2147483646 h 32"/>
                    <a:gd name="T10" fmla="*/ 2147483646 w 54"/>
                    <a:gd name="T11" fmla="*/ 2147483646 h 32"/>
                    <a:gd name="T12" fmla="*/ 2147483646 w 54"/>
                    <a:gd name="T13" fmla="*/ 2147483646 h 32"/>
                    <a:gd name="T14" fmla="*/ 2147483646 w 54"/>
                    <a:gd name="T15" fmla="*/ 2147483646 h 32"/>
                    <a:gd name="T16" fmla="*/ 2147483646 w 54"/>
                    <a:gd name="T17" fmla="*/ 2147483646 h 32"/>
                    <a:gd name="T18" fmla="*/ 2147483646 w 54"/>
                    <a:gd name="T19" fmla="*/ 2147483646 h 32"/>
                    <a:gd name="T20" fmla="*/ 2147483646 w 54"/>
                    <a:gd name="T21" fmla="*/ 2147483646 h 32"/>
                    <a:gd name="T22" fmla="*/ 2147483646 w 54"/>
                    <a:gd name="T23" fmla="*/ 2147483646 h 32"/>
                    <a:gd name="T24" fmla="*/ 2147483646 w 54"/>
                    <a:gd name="T25" fmla="*/ 2147483646 h 32"/>
                    <a:gd name="T26" fmla="*/ 2147483646 w 54"/>
                    <a:gd name="T27" fmla="*/ 2147483646 h 32"/>
                    <a:gd name="T28" fmla="*/ 2147483646 w 54"/>
                    <a:gd name="T29" fmla="*/ 2147483646 h 32"/>
                    <a:gd name="T30" fmla="*/ 0 w 54"/>
                    <a:gd name="T31" fmla="*/ 2147483646 h 32"/>
                    <a:gd name="T32" fmla="*/ 0 w 54"/>
                    <a:gd name="T33" fmla="*/ 0 h 32"/>
                    <a:gd name="T34" fmla="*/ 0 w 54"/>
                    <a:gd name="T35" fmla="*/ 0 h 32"/>
                    <a:gd name="T36" fmla="*/ 2147483646 w 54"/>
                    <a:gd name="T37" fmla="*/ 2147483646 h 32"/>
                    <a:gd name="T38" fmla="*/ 2147483646 w 54"/>
                    <a:gd name="T39" fmla="*/ 2147483646 h 32"/>
                    <a:gd name="T40" fmla="*/ 2147483646 w 54"/>
                    <a:gd name="T41" fmla="*/ 2147483646 h 32"/>
                    <a:gd name="T42" fmla="*/ 2147483646 w 54"/>
                    <a:gd name="T43" fmla="*/ 2147483646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32"/>
                    <a:gd name="T68" fmla="*/ 54 w 54"/>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32">
                      <a:moveTo>
                        <a:pt x="24" y="18"/>
                      </a:moveTo>
                      <a:lnTo>
                        <a:pt x="24" y="18"/>
                      </a:lnTo>
                      <a:lnTo>
                        <a:pt x="32" y="20"/>
                      </a:lnTo>
                      <a:lnTo>
                        <a:pt x="40" y="20"/>
                      </a:lnTo>
                      <a:lnTo>
                        <a:pt x="54" y="18"/>
                      </a:lnTo>
                      <a:lnTo>
                        <a:pt x="50" y="24"/>
                      </a:lnTo>
                      <a:lnTo>
                        <a:pt x="42" y="30"/>
                      </a:lnTo>
                      <a:lnTo>
                        <a:pt x="34" y="32"/>
                      </a:lnTo>
                      <a:lnTo>
                        <a:pt x="24" y="32"/>
                      </a:lnTo>
                      <a:lnTo>
                        <a:pt x="16" y="28"/>
                      </a:lnTo>
                      <a:lnTo>
                        <a:pt x="8" y="24"/>
                      </a:lnTo>
                      <a:lnTo>
                        <a:pt x="4" y="18"/>
                      </a:lnTo>
                      <a:lnTo>
                        <a:pt x="2" y="14"/>
                      </a:lnTo>
                      <a:lnTo>
                        <a:pt x="0" y="4"/>
                      </a:lnTo>
                      <a:lnTo>
                        <a:pt x="0" y="0"/>
                      </a:lnTo>
                      <a:lnTo>
                        <a:pt x="10" y="10"/>
                      </a:lnTo>
                      <a:lnTo>
                        <a:pt x="16" y="16"/>
                      </a:lnTo>
                      <a:lnTo>
                        <a:pt x="2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72" name="Freeform 122"/>
                <p:cNvSpPr>
                  <a:spLocks/>
                </p:cNvSpPr>
                <p:nvPr/>
              </p:nvSpPr>
              <p:spPr bwMode="auto">
                <a:xfrm>
                  <a:off x="5834065" y="3070216"/>
                  <a:ext cx="31750" cy="107950"/>
                </a:xfrm>
                <a:custGeom>
                  <a:avLst/>
                  <a:gdLst>
                    <a:gd name="T0" fmla="*/ 2147483646 w 20"/>
                    <a:gd name="T1" fmla="*/ 2147483646 h 68"/>
                    <a:gd name="T2" fmla="*/ 2147483646 w 20"/>
                    <a:gd name="T3" fmla="*/ 2147483646 h 68"/>
                    <a:gd name="T4" fmla="*/ 2147483646 w 20"/>
                    <a:gd name="T5" fmla="*/ 2147483646 h 68"/>
                    <a:gd name="T6" fmla="*/ 2147483646 w 20"/>
                    <a:gd name="T7" fmla="*/ 2147483646 h 68"/>
                    <a:gd name="T8" fmla="*/ 2147483646 w 20"/>
                    <a:gd name="T9" fmla="*/ 2147483646 h 68"/>
                    <a:gd name="T10" fmla="*/ 2147483646 w 20"/>
                    <a:gd name="T11" fmla="*/ 2147483646 h 68"/>
                    <a:gd name="T12" fmla="*/ 2147483646 w 20"/>
                    <a:gd name="T13" fmla="*/ 2147483646 h 68"/>
                    <a:gd name="T14" fmla="*/ 2147483646 w 20"/>
                    <a:gd name="T15" fmla="*/ 2147483646 h 68"/>
                    <a:gd name="T16" fmla="*/ 2147483646 w 20"/>
                    <a:gd name="T17" fmla="*/ 2147483646 h 68"/>
                    <a:gd name="T18" fmla="*/ 2147483646 w 20"/>
                    <a:gd name="T19" fmla="*/ 2147483646 h 68"/>
                    <a:gd name="T20" fmla="*/ 0 w 20"/>
                    <a:gd name="T21" fmla="*/ 2147483646 h 68"/>
                    <a:gd name="T22" fmla="*/ 0 w 20"/>
                    <a:gd name="T23" fmla="*/ 2147483646 h 68"/>
                    <a:gd name="T24" fmla="*/ 0 w 20"/>
                    <a:gd name="T25" fmla="*/ 2147483646 h 68"/>
                    <a:gd name="T26" fmla="*/ 2147483646 w 20"/>
                    <a:gd name="T27" fmla="*/ 0 h 68"/>
                    <a:gd name="T28" fmla="*/ 2147483646 w 20"/>
                    <a:gd name="T29" fmla="*/ 2147483646 h 68"/>
                    <a:gd name="T30" fmla="*/ 2147483646 w 20"/>
                    <a:gd name="T31" fmla="*/ 2147483646 h 68"/>
                    <a:gd name="T32" fmla="*/ 2147483646 w 20"/>
                    <a:gd name="T33" fmla="*/ 2147483646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68"/>
                    <a:gd name="T53" fmla="*/ 20 w 20"/>
                    <a:gd name="T54" fmla="*/ 68 h 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68">
                      <a:moveTo>
                        <a:pt x="12" y="12"/>
                      </a:moveTo>
                      <a:lnTo>
                        <a:pt x="12" y="12"/>
                      </a:lnTo>
                      <a:lnTo>
                        <a:pt x="18" y="24"/>
                      </a:lnTo>
                      <a:lnTo>
                        <a:pt x="20" y="38"/>
                      </a:lnTo>
                      <a:lnTo>
                        <a:pt x="20" y="52"/>
                      </a:lnTo>
                      <a:lnTo>
                        <a:pt x="18" y="60"/>
                      </a:lnTo>
                      <a:lnTo>
                        <a:pt x="16" y="68"/>
                      </a:lnTo>
                      <a:lnTo>
                        <a:pt x="10" y="42"/>
                      </a:lnTo>
                      <a:lnTo>
                        <a:pt x="4" y="20"/>
                      </a:lnTo>
                      <a:lnTo>
                        <a:pt x="0" y="4"/>
                      </a:lnTo>
                      <a:lnTo>
                        <a:pt x="0" y="2"/>
                      </a:lnTo>
                      <a:lnTo>
                        <a:pt x="2" y="0"/>
                      </a:lnTo>
                      <a:lnTo>
                        <a:pt x="6" y="2"/>
                      </a:lnTo>
                      <a:lnTo>
                        <a:pt x="1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73" name="Freeform 123"/>
                <p:cNvSpPr>
                  <a:spLocks/>
                </p:cNvSpPr>
                <p:nvPr/>
              </p:nvSpPr>
              <p:spPr bwMode="auto">
                <a:xfrm>
                  <a:off x="5970590" y="3013066"/>
                  <a:ext cx="104775" cy="63500"/>
                </a:xfrm>
                <a:custGeom>
                  <a:avLst/>
                  <a:gdLst>
                    <a:gd name="T0" fmla="*/ 2147483646 w 66"/>
                    <a:gd name="T1" fmla="*/ 2147483646 h 40"/>
                    <a:gd name="T2" fmla="*/ 2147483646 w 66"/>
                    <a:gd name="T3" fmla="*/ 2147483646 h 40"/>
                    <a:gd name="T4" fmla="*/ 2147483646 w 66"/>
                    <a:gd name="T5" fmla="*/ 2147483646 h 40"/>
                    <a:gd name="T6" fmla="*/ 2147483646 w 66"/>
                    <a:gd name="T7" fmla="*/ 2147483646 h 40"/>
                    <a:gd name="T8" fmla="*/ 2147483646 w 66"/>
                    <a:gd name="T9" fmla="*/ 2147483646 h 40"/>
                    <a:gd name="T10" fmla="*/ 2147483646 w 66"/>
                    <a:gd name="T11" fmla="*/ 2147483646 h 40"/>
                    <a:gd name="T12" fmla="*/ 2147483646 w 66"/>
                    <a:gd name="T13" fmla="*/ 2147483646 h 40"/>
                    <a:gd name="T14" fmla="*/ 0 w 66"/>
                    <a:gd name="T15" fmla="*/ 0 h 40"/>
                    <a:gd name="T16" fmla="*/ 0 w 66"/>
                    <a:gd name="T17" fmla="*/ 0 h 40"/>
                    <a:gd name="T18" fmla="*/ 2147483646 w 66"/>
                    <a:gd name="T19" fmla="*/ 2147483646 h 40"/>
                    <a:gd name="T20" fmla="*/ 2147483646 w 66"/>
                    <a:gd name="T21" fmla="*/ 2147483646 h 40"/>
                    <a:gd name="T22" fmla="*/ 2147483646 w 66"/>
                    <a:gd name="T23" fmla="*/ 2147483646 h 40"/>
                    <a:gd name="T24" fmla="*/ 2147483646 w 66"/>
                    <a:gd name="T25" fmla="*/ 2147483646 h 40"/>
                    <a:gd name="T26" fmla="*/ 2147483646 w 66"/>
                    <a:gd name="T27" fmla="*/ 2147483646 h 40"/>
                    <a:gd name="T28" fmla="*/ 2147483646 w 66"/>
                    <a:gd name="T29" fmla="*/ 2147483646 h 40"/>
                    <a:gd name="T30" fmla="*/ 2147483646 w 66"/>
                    <a:gd name="T31" fmla="*/ 2147483646 h 40"/>
                    <a:gd name="T32" fmla="*/ 2147483646 w 66"/>
                    <a:gd name="T33" fmla="*/ 2147483646 h 40"/>
                    <a:gd name="T34" fmla="*/ 2147483646 w 66"/>
                    <a:gd name="T35" fmla="*/ 2147483646 h 40"/>
                    <a:gd name="T36" fmla="*/ 2147483646 w 66"/>
                    <a:gd name="T37" fmla="*/ 2147483646 h 40"/>
                    <a:gd name="T38" fmla="*/ 2147483646 w 66"/>
                    <a:gd name="T39" fmla="*/ 2147483646 h 40"/>
                    <a:gd name="T40" fmla="*/ 2147483646 w 66"/>
                    <a:gd name="T41" fmla="*/ 2147483646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6"/>
                    <a:gd name="T64" fmla="*/ 0 h 40"/>
                    <a:gd name="T65" fmla="*/ 66 w 66"/>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6" h="40">
                      <a:moveTo>
                        <a:pt x="52" y="40"/>
                      </a:moveTo>
                      <a:lnTo>
                        <a:pt x="52" y="40"/>
                      </a:lnTo>
                      <a:lnTo>
                        <a:pt x="36" y="38"/>
                      </a:lnTo>
                      <a:lnTo>
                        <a:pt x="20" y="30"/>
                      </a:lnTo>
                      <a:lnTo>
                        <a:pt x="12" y="24"/>
                      </a:lnTo>
                      <a:lnTo>
                        <a:pt x="6" y="18"/>
                      </a:lnTo>
                      <a:lnTo>
                        <a:pt x="2" y="10"/>
                      </a:lnTo>
                      <a:lnTo>
                        <a:pt x="0" y="0"/>
                      </a:lnTo>
                      <a:lnTo>
                        <a:pt x="6" y="10"/>
                      </a:lnTo>
                      <a:lnTo>
                        <a:pt x="12" y="14"/>
                      </a:lnTo>
                      <a:lnTo>
                        <a:pt x="18" y="20"/>
                      </a:lnTo>
                      <a:lnTo>
                        <a:pt x="26" y="26"/>
                      </a:lnTo>
                      <a:lnTo>
                        <a:pt x="36" y="28"/>
                      </a:lnTo>
                      <a:lnTo>
                        <a:pt x="50" y="32"/>
                      </a:lnTo>
                      <a:lnTo>
                        <a:pt x="66" y="32"/>
                      </a:lnTo>
                      <a:lnTo>
                        <a:pt x="66" y="36"/>
                      </a:lnTo>
                      <a:lnTo>
                        <a:pt x="62" y="38"/>
                      </a:lnTo>
                      <a:lnTo>
                        <a:pt x="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471" name="Freeform 124"/>
                <p:cNvSpPr>
                  <a:spLocks/>
                </p:cNvSpPr>
                <p:nvPr/>
              </p:nvSpPr>
              <p:spPr bwMode="auto">
                <a:xfrm>
                  <a:off x="5432175" y="3119040"/>
                  <a:ext cx="197156" cy="375623"/>
                </a:xfrm>
                <a:custGeom>
                  <a:avLst/>
                  <a:gdLst/>
                  <a:ahLst/>
                  <a:cxnLst>
                    <a:cxn ang="0">
                      <a:pos x="68" y="22"/>
                    </a:cxn>
                    <a:cxn ang="0">
                      <a:pos x="86" y="20"/>
                    </a:cxn>
                    <a:cxn ang="0">
                      <a:pos x="102" y="10"/>
                    </a:cxn>
                    <a:cxn ang="0">
                      <a:pos x="124" y="14"/>
                    </a:cxn>
                    <a:cxn ang="0">
                      <a:pos x="124" y="52"/>
                    </a:cxn>
                    <a:cxn ang="0">
                      <a:pos x="126" y="68"/>
                    </a:cxn>
                    <a:cxn ang="0">
                      <a:pos x="126" y="106"/>
                    </a:cxn>
                    <a:cxn ang="0">
                      <a:pos x="120" y="144"/>
                    </a:cxn>
                    <a:cxn ang="0">
                      <a:pos x="116" y="160"/>
                    </a:cxn>
                    <a:cxn ang="0">
                      <a:pos x="98" y="184"/>
                    </a:cxn>
                    <a:cxn ang="0">
                      <a:pos x="62" y="210"/>
                    </a:cxn>
                    <a:cxn ang="0">
                      <a:pos x="40" y="232"/>
                    </a:cxn>
                    <a:cxn ang="0">
                      <a:pos x="34" y="210"/>
                    </a:cxn>
                    <a:cxn ang="0">
                      <a:pos x="24" y="194"/>
                    </a:cxn>
                    <a:cxn ang="0">
                      <a:pos x="18" y="186"/>
                    </a:cxn>
                    <a:cxn ang="0">
                      <a:pos x="6" y="170"/>
                    </a:cxn>
                    <a:cxn ang="0">
                      <a:pos x="2" y="150"/>
                    </a:cxn>
                    <a:cxn ang="0">
                      <a:pos x="0" y="106"/>
                    </a:cxn>
                    <a:cxn ang="0">
                      <a:pos x="2" y="96"/>
                    </a:cxn>
                    <a:cxn ang="0">
                      <a:pos x="10" y="70"/>
                    </a:cxn>
                    <a:cxn ang="0">
                      <a:pos x="12" y="80"/>
                    </a:cxn>
                    <a:cxn ang="0">
                      <a:pos x="20" y="96"/>
                    </a:cxn>
                    <a:cxn ang="0">
                      <a:pos x="34" y="108"/>
                    </a:cxn>
                    <a:cxn ang="0">
                      <a:pos x="40" y="110"/>
                    </a:cxn>
                    <a:cxn ang="0">
                      <a:pos x="34" y="94"/>
                    </a:cxn>
                    <a:cxn ang="0">
                      <a:pos x="22" y="64"/>
                    </a:cxn>
                    <a:cxn ang="0">
                      <a:pos x="22" y="44"/>
                    </a:cxn>
                    <a:cxn ang="0">
                      <a:pos x="28" y="36"/>
                    </a:cxn>
                    <a:cxn ang="0">
                      <a:pos x="34" y="42"/>
                    </a:cxn>
                    <a:cxn ang="0">
                      <a:pos x="34" y="34"/>
                    </a:cxn>
                    <a:cxn ang="0">
                      <a:pos x="34" y="24"/>
                    </a:cxn>
                    <a:cxn ang="0">
                      <a:pos x="34" y="12"/>
                    </a:cxn>
                    <a:cxn ang="0">
                      <a:pos x="38" y="0"/>
                    </a:cxn>
                    <a:cxn ang="0">
                      <a:pos x="50" y="16"/>
                    </a:cxn>
                    <a:cxn ang="0">
                      <a:pos x="68" y="22"/>
                    </a:cxn>
                  </a:cxnLst>
                  <a:rect l="0" t="0" r="r" b="b"/>
                  <a:pathLst>
                    <a:path w="128" h="232">
                      <a:moveTo>
                        <a:pt x="68" y="22"/>
                      </a:moveTo>
                      <a:lnTo>
                        <a:pt x="68" y="22"/>
                      </a:lnTo>
                      <a:lnTo>
                        <a:pt x="78" y="22"/>
                      </a:lnTo>
                      <a:lnTo>
                        <a:pt x="86" y="20"/>
                      </a:lnTo>
                      <a:lnTo>
                        <a:pt x="94" y="16"/>
                      </a:lnTo>
                      <a:lnTo>
                        <a:pt x="102" y="10"/>
                      </a:lnTo>
                      <a:lnTo>
                        <a:pt x="124" y="14"/>
                      </a:lnTo>
                      <a:lnTo>
                        <a:pt x="124" y="14"/>
                      </a:lnTo>
                      <a:lnTo>
                        <a:pt x="122" y="36"/>
                      </a:lnTo>
                      <a:lnTo>
                        <a:pt x="124" y="52"/>
                      </a:lnTo>
                      <a:lnTo>
                        <a:pt x="126" y="68"/>
                      </a:lnTo>
                      <a:lnTo>
                        <a:pt x="126" y="68"/>
                      </a:lnTo>
                      <a:lnTo>
                        <a:pt x="128" y="90"/>
                      </a:lnTo>
                      <a:lnTo>
                        <a:pt x="126" y="106"/>
                      </a:lnTo>
                      <a:lnTo>
                        <a:pt x="120" y="144"/>
                      </a:lnTo>
                      <a:lnTo>
                        <a:pt x="120" y="144"/>
                      </a:lnTo>
                      <a:lnTo>
                        <a:pt x="118" y="152"/>
                      </a:lnTo>
                      <a:lnTo>
                        <a:pt x="116" y="160"/>
                      </a:lnTo>
                      <a:lnTo>
                        <a:pt x="108" y="174"/>
                      </a:lnTo>
                      <a:lnTo>
                        <a:pt x="98" y="184"/>
                      </a:lnTo>
                      <a:lnTo>
                        <a:pt x="88" y="192"/>
                      </a:lnTo>
                      <a:lnTo>
                        <a:pt x="62" y="210"/>
                      </a:lnTo>
                      <a:lnTo>
                        <a:pt x="50" y="220"/>
                      </a:lnTo>
                      <a:lnTo>
                        <a:pt x="40" y="232"/>
                      </a:lnTo>
                      <a:lnTo>
                        <a:pt x="40" y="232"/>
                      </a:lnTo>
                      <a:lnTo>
                        <a:pt x="34" y="210"/>
                      </a:lnTo>
                      <a:lnTo>
                        <a:pt x="32" y="202"/>
                      </a:lnTo>
                      <a:lnTo>
                        <a:pt x="24" y="194"/>
                      </a:lnTo>
                      <a:lnTo>
                        <a:pt x="24" y="194"/>
                      </a:lnTo>
                      <a:lnTo>
                        <a:pt x="18" y="186"/>
                      </a:lnTo>
                      <a:lnTo>
                        <a:pt x="12" y="178"/>
                      </a:lnTo>
                      <a:lnTo>
                        <a:pt x="6" y="170"/>
                      </a:lnTo>
                      <a:lnTo>
                        <a:pt x="4" y="160"/>
                      </a:lnTo>
                      <a:lnTo>
                        <a:pt x="2" y="150"/>
                      </a:lnTo>
                      <a:lnTo>
                        <a:pt x="0" y="138"/>
                      </a:lnTo>
                      <a:lnTo>
                        <a:pt x="0" y="106"/>
                      </a:lnTo>
                      <a:lnTo>
                        <a:pt x="0" y="106"/>
                      </a:lnTo>
                      <a:lnTo>
                        <a:pt x="2" y="96"/>
                      </a:lnTo>
                      <a:lnTo>
                        <a:pt x="4" y="88"/>
                      </a:lnTo>
                      <a:lnTo>
                        <a:pt x="10" y="70"/>
                      </a:lnTo>
                      <a:lnTo>
                        <a:pt x="10" y="70"/>
                      </a:lnTo>
                      <a:lnTo>
                        <a:pt x="12" y="80"/>
                      </a:lnTo>
                      <a:lnTo>
                        <a:pt x="16" y="88"/>
                      </a:lnTo>
                      <a:lnTo>
                        <a:pt x="20" y="96"/>
                      </a:lnTo>
                      <a:lnTo>
                        <a:pt x="26" y="102"/>
                      </a:lnTo>
                      <a:lnTo>
                        <a:pt x="34" y="108"/>
                      </a:lnTo>
                      <a:lnTo>
                        <a:pt x="40" y="110"/>
                      </a:lnTo>
                      <a:lnTo>
                        <a:pt x="40" y="110"/>
                      </a:lnTo>
                      <a:lnTo>
                        <a:pt x="38" y="104"/>
                      </a:lnTo>
                      <a:lnTo>
                        <a:pt x="34" y="94"/>
                      </a:lnTo>
                      <a:lnTo>
                        <a:pt x="26" y="74"/>
                      </a:lnTo>
                      <a:lnTo>
                        <a:pt x="22" y="64"/>
                      </a:lnTo>
                      <a:lnTo>
                        <a:pt x="22" y="54"/>
                      </a:lnTo>
                      <a:lnTo>
                        <a:pt x="22" y="44"/>
                      </a:lnTo>
                      <a:lnTo>
                        <a:pt x="28" y="36"/>
                      </a:lnTo>
                      <a:lnTo>
                        <a:pt x="28" y="36"/>
                      </a:lnTo>
                      <a:lnTo>
                        <a:pt x="32" y="42"/>
                      </a:lnTo>
                      <a:lnTo>
                        <a:pt x="34" y="42"/>
                      </a:lnTo>
                      <a:lnTo>
                        <a:pt x="34" y="40"/>
                      </a:lnTo>
                      <a:lnTo>
                        <a:pt x="34" y="34"/>
                      </a:lnTo>
                      <a:lnTo>
                        <a:pt x="34" y="24"/>
                      </a:lnTo>
                      <a:lnTo>
                        <a:pt x="34" y="24"/>
                      </a:lnTo>
                      <a:lnTo>
                        <a:pt x="32" y="18"/>
                      </a:lnTo>
                      <a:lnTo>
                        <a:pt x="34" y="12"/>
                      </a:lnTo>
                      <a:lnTo>
                        <a:pt x="38" y="0"/>
                      </a:lnTo>
                      <a:lnTo>
                        <a:pt x="38" y="0"/>
                      </a:lnTo>
                      <a:lnTo>
                        <a:pt x="42" y="8"/>
                      </a:lnTo>
                      <a:lnTo>
                        <a:pt x="50" y="16"/>
                      </a:lnTo>
                      <a:lnTo>
                        <a:pt x="58" y="20"/>
                      </a:lnTo>
                      <a:lnTo>
                        <a:pt x="68" y="22"/>
                      </a:lnTo>
                      <a:lnTo>
                        <a:pt x="68" y="22"/>
                      </a:lnTo>
                      <a:close/>
                    </a:path>
                  </a:pathLst>
                </a:custGeom>
                <a:solidFill>
                  <a:schemeClr val="accent6">
                    <a:lumMod val="40000"/>
                    <a:lumOff val="60000"/>
                  </a:schemeClr>
                </a:solidFill>
                <a:ln w="9525">
                  <a:noFill/>
                  <a:round/>
                  <a:headEnd/>
                  <a:tailEnd/>
                </a:ln>
              </p:spPr>
              <p:txBody>
                <a:bodyPr/>
                <a:lstStyle/>
                <a:p>
                  <a:pPr defTabSz="1007943">
                    <a:defRPr/>
                  </a:pPr>
                  <a:endParaRPr lang="ja-JP" altLang="en-US" sz="1984">
                    <a:solidFill>
                      <a:prstClr val="black"/>
                    </a:solidFill>
                    <a:latin typeface="Calibri"/>
                    <a:ea typeface="ＭＳ Ｐゴシック" panose="020B0600070205080204" pitchFamily="50" charset="-128"/>
                    <a:cs typeface="メイリオ" pitchFamily="50" charset="-128"/>
                  </a:endParaRPr>
                </a:p>
              </p:txBody>
            </p:sp>
            <p:sp>
              <p:nvSpPr>
                <p:cNvPr id="2275" name="Freeform 125"/>
                <p:cNvSpPr>
                  <a:spLocks/>
                </p:cNvSpPr>
                <p:nvPr/>
              </p:nvSpPr>
              <p:spPr bwMode="auto">
                <a:xfrm>
                  <a:off x="6059490" y="3152766"/>
                  <a:ext cx="190500" cy="41275"/>
                </a:xfrm>
                <a:custGeom>
                  <a:avLst/>
                  <a:gdLst>
                    <a:gd name="T0" fmla="*/ 2147483646 w 120"/>
                    <a:gd name="T1" fmla="*/ 2147483646 h 26"/>
                    <a:gd name="T2" fmla="*/ 2147483646 w 120"/>
                    <a:gd name="T3" fmla="*/ 2147483646 h 26"/>
                    <a:gd name="T4" fmla="*/ 2147483646 w 120"/>
                    <a:gd name="T5" fmla="*/ 2147483646 h 26"/>
                    <a:gd name="T6" fmla="*/ 2147483646 w 120"/>
                    <a:gd name="T7" fmla="*/ 2147483646 h 26"/>
                    <a:gd name="T8" fmla="*/ 2147483646 w 120"/>
                    <a:gd name="T9" fmla="*/ 2147483646 h 26"/>
                    <a:gd name="T10" fmla="*/ 2147483646 w 120"/>
                    <a:gd name="T11" fmla="*/ 2147483646 h 26"/>
                    <a:gd name="T12" fmla="*/ 2147483646 w 120"/>
                    <a:gd name="T13" fmla="*/ 2147483646 h 26"/>
                    <a:gd name="T14" fmla="*/ 2147483646 w 120"/>
                    <a:gd name="T15" fmla="*/ 2147483646 h 26"/>
                    <a:gd name="T16" fmla="*/ 2147483646 w 120"/>
                    <a:gd name="T17" fmla="*/ 2147483646 h 26"/>
                    <a:gd name="T18" fmla="*/ 2147483646 w 120"/>
                    <a:gd name="T19" fmla="*/ 2147483646 h 26"/>
                    <a:gd name="T20" fmla="*/ 2147483646 w 120"/>
                    <a:gd name="T21" fmla="*/ 2147483646 h 26"/>
                    <a:gd name="T22" fmla="*/ 2147483646 w 120"/>
                    <a:gd name="T23" fmla="*/ 2147483646 h 26"/>
                    <a:gd name="T24" fmla="*/ 2147483646 w 120"/>
                    <a:gd name="T25" fmla="*/ 2147483646 h 26"/>
                    <a:gd name="T26" fmla="*/ 2147483646 w 120"/>
                    <a:gd name="T27" fmla="*/ 2147483646 h 26"/>
                    <a:gd name="T28" fmla="*/ 2147483646 w 120"/>
                    <a:gd name="T29" fmla="*/ 2147483646 h 26"/>
                    <a:gd name="T30" fmla="*/ 2147483646 w 120"/>
                    <a:gd name="T31" fmla="*/ 2147483646 h 26"/>
                    <a:gd name="T32" fmla="*/ 2147483646 w 120"/>
                    <a:gd name="T33" fmla="*/ 2147483646 h 26"/>
                    <a:gd name="T34" fmla="*/ 2147483646 w 120"/>
                    <a:gd name="T35" fmla="*/ 2147483646 h 26"/>
                    <a:gd name="T36" fmla="*/ 2147483646 w 120"/>
                    <a:gd name="T37" fmla="*/ 2147483646 h 26"/>
                    <a:gd name="T38" fmla="*/ 0 w 120"/>
                    <a:gd name="T39" fmla="*/ 2147483646 h 26"/>
                    <a:gd name="T40" fmla="*/ 0 w 120"/>
                    <a:gd name="T41" fmla="*/ 2147483646 h 26"/>
                    <a:gd name="T42" fmla="*/ 2147483646 w 120"/>
                    <a:gd name="T43" fmla="*/ 2147483646 h 26"/>
                    <a:gd name="T44" fmla="*/ 2147483646 w 120"/>
                    <a:gd name="T45" fmla="*/ 2147483646 h 26"/>
                    <a:gd name="T46" fmla="*/ 2147483646 w 120"/>
                    <a:gd name="T47" fmla="*/ 2147483646 h 26"/>
                    <a:gd name="T48" fmla="*/ 2147483646 w 120"/>
                    <a:gd name="T49" fmla="*/ 2147483646 h 26"/>
                    <a:gd name="T50" fmla="*/ 2147483646 w 120"/>
                    <a:gd name="T51" fmla="*/ 2147483646 h 26"/>
                    <a:gd name="T52" fmla="*/ 2147483646 w 120"/>
                    <a:gd name="T53" fmla="*/ 0 h 26"/>
                    <a:gd name="T54" fmla="*/ 2147483646 w 120"/>
                    <a:gd name="T55" fmla="*/ 2147483646 h 26"/>
                    <a:gd name="T56" fmla="*/ 2147483646 w 120"/>
                    <a:gd name="T57" fmla="*/ 2147483646 h 26"/>
                    <a:gd name="T58" fmla="*/ 2147483646 w 120"/>
                    <a:gd name="T59" fmla="*/ 2147483646 h 26"/>
                    <a:gd name="T60" fmla="*/ 2147483646 w 120"/>
                    <a:gd name="T61" fmla="*/ 2147483646 h 26"/>
                    <a:gd name="T62" fmla="*/ 2147483646 w 120"/>
                    <a:gd name="T63" fmla="*/ 2147483646 h 26"/>
                    <a:gd name="T64" fmla="*/ 2147483646 w 120"/>
                    <a:gd name="T65" fmla="*/ 2147483646 h 26"/>
                    <a:gd name="T66" fmla="*/ 2147483646 w 120"/>
                    <a:gd name="T67" fmla="*/ 2147483646 h 26"/>
                    <a:gd name="T68" fmla="*/ 2147483646 w 120"/>
                    <a:gd name="T69" fmla="*/ 2147483646 h 26"/>
                    <a:gd name="T70" fmla="*/ 2147483646 w 120"/>
                    <a:gd name="T71" fmla="*/ 2147483646 h 2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0"/>
                    <a:gd name="T109" fmla="*/ 0 h 26"/>
                    <a:gd name="T110" fmla="*/ 120 w 120"/>
                    <a:gd name="T111" fmla="*/ 26 h 2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0" h="26">
                      <a:moveTo>
                        <a:pt x="120" y="6"/>
                      </a:moveTo>
                      <a:lnTo>
                        <a:pt x="120" y="6"/>
                      </a:lnTo>
                      <a:lnTo>
                        <a:pt x="116" y="12"/>
                      </a:lnTo>
                      <a:lnTo>
                        <a:pt x="112" y="16"/>
                      </a:lnTo>
                      <a:lnTo>
                        <a:pt x="106" y="20"/>
                      </a:lnTo>
                      <a:lnTo>
                        <a:pt x="94" y="22"/>
                      </a:lnTo>
                      <a:lnTo>
                        <a:pt x="84" y="22"/>
                      </a:lnTo>
                      <a:lnTo>
                        <a:pt x="72" y="20"/>
                      </a:lnTo>
                      <a:lnTo>
                        <a:pt x="46" y="14"/>
                      </a:lnTo>
                      <a:lnTo>
                        <a:pt x="34" y="12"/>
                      </a:lnTo>
                      <a:lnTo>
                        <a:pt x="22" y="10"/>
                      </a:lnTo>
                      <a:lnTo>
                        <a:pt x="14" y="12"/>
                      </a:lnTo>
                      <a:lnTo>
                        <a:pt x="8" y="14"/>
                      </a:lnTo>
                      <a:lnTo>
                        <a:pt x="6" y="18"/>
                      </a:lnTo>
                      <a:lnTo>
                        <a:pt x="4" y="22"/>
                      </a:lnTo>
                      <a:lnTo>
                        <a:pt x="4" y="26"/>
                      </a:lnTo>
                      <a:lnTo>
                        <a:pt x="0" y="20"/>
                      </a:lnTo>
                      <a:lnTo>
                        <a:pt x="0" y="16"/>
                      </a:lnTo>
                      <a:lnTo>
                        <a:pt x="2" y="12"/>
                      </a:lnTo>
                      <a:lnTo>
                        <a:pt x="4" y="6"/>
                      </a:lnTo>
                      <a:lnTo>
                        <a:pt x="12" y="4"/>
                      </a:lnTo>
                      <a:lnTo>
                        <a:pt x="20" y="2"/>
                      </a:lnTo>
                      <a:lnTo>
                        <a:pt x="36" y="0"/>
                      </a:lnTo>
                      <a:lnTo>
                        <a:pt x="50" y="4"/>
                      </a:lnTo>
                      <a:lnTo>
                        <a:pt x="66" y="8"/>
                      </a:lnTo>
                      <a:lnTo>
                        <a:pt x="78" y="10"/>
                      </a:lnTo>
                      <a:lnTo>
                        <a:pt x="88" y="12"/>
                      </a:lnTo>
                      <a:lnTo>
                        <a:pt x="106" y="10"/>
                      </a:lnTo>
                      <a:lnTo>
                        <a:pt x="116" y="6"/>
                      </a:lnTo>
                      <a:lnTo>
                        <a:pt x="12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473" name="Freeform 126"/>
                <p:cNvSpPr>
                  <a:spLocks/>
                </p:cNvSpPr>
                <p:nvPr/>
              </p:nvSpPr>
              <p:spPr bwMode="auto">
                <a:xfrm>
                  <a:off x="5645761" y="3269287"/>
                  <a:ext cx="279304" cy="300495"/>
                </a:xfrm>
                <a:custGeom>
                  <a:avLst/>
                  <a:gdLst/>
                  <a:ahLst/>
                  <a:cxnLst>
                    <a:cxn ang="0">
                      <a:pos x="90" y="46"/>
                    </a:cxn>
                    <a:cxn ang="0">
                      <a:pos x="90" y="46"/>
                    </a:cxn>
                    <a:cxn ang="0">
                      <a:pos x="104" y="58"/>
                    </a:cxn>
                    <a:cxn ang="0">
                      <a:pos x="118" y="70"/>
                    </a:cxn>
                    <a:cxn ang="0">
                      <a:pos x="130" y="88"/>
                    </a:cxn>
                    <a:cxn ang="0">
                      <a:pos x="142" y="106"/>
                    </a:cxn>
                    <a:cxn ang="0">
                      <a:pos x="152" y="126"/>
                    </a:cxn>
                    <a:cxn ang="0">
                      <a:pos x="160" y="146"/>
                    </a:cxn>
                    <a:cxn ang="0">
                      <a:pos x="174" y="182"/>
                    </a:cxn>
                    <a:cxn ang="0">
                      <a:pos x="174" y="182"/>
                    </a:cxn>
                    <a:cxn ang="0">
                      <a:pos x="152" y="188"/>
                    </a:cxn>
                    <a:cxn ang="0">
                      <a:pos x="130" y="190"/>
                    </a:cxn>
                    <a:cxn ang="0">
                      <a:pos x="90" y="190"/>
                    </a:cxn>
                    <a:cxn ang="0">
                      <a:pos x="90" y="190"/>
                    </a:cxn>
                    <a:cxn ang="0">
                      <a:pos x="74" y="166"/>
                    </a:cxn>
                    <a:cxn ang="0">
                      <a:pos x="64" y="156"/>
                    </a:cxn>
                    <a:cxn ang="0">
                      <a:pos x="60" y="152"/>
                    </a:cxn>
                    <a:cxn ang="0">
                      <a:pos x="54" y="150"/>
                    </a:cxn>
                    <a:cxn ang="0">
                      <a:pos x="54" y="150"/>
                    </a:cxn>
                    <a:cxn ang="0">
                      <a:pos x="54" y="154"/>
                    </a:cxn>
                    <a:cxn ang="0">
                      <a:pos x="54" y="158"/>
                    </a:cxn>
                    <a:cxn ang="0">
                      <a:pos x="60" y="170"/>
                    </a:cxn>
                    <a:cxn ang="0">
                      <a:pos x="68" y="188"/>
                    </a:cxn>
                    <a:cxn ang="0">
                      <a:pos x="50" y="188"/>
                    </a:cxn>
                    <a:cxn ang="0">
                      <a:pos x="50" y="188"/>
                    </a:cxn>
                    <a:cxn ang="0">
                      <a:pos x="46" y="160"/>
                    </a:cxn>
                    <a:cxn ang="0">
                      <a:pos x="38" y="132"/>
                    </a:cxn>
                    <a:cxn ang="0">
                      <a:pos x="32" y="118"/>
                    </a:cxn>
                    <a:cxn ang="0">
                      <a:pos x="26" y="106"/>
                    </a:cxn>
                    <a:cxn ang="0">
                      <a:pos x="20" y="94"/>
                    </a:cxn>
                    <a:cxn ang="0">
                      <a:pos x="12" y="86"/>
                    </a:cxn>
                    <a:cxn ang="0">
                      <a:pos x="12" y="86"/>
                    </a:cxn>
                    <a:cxn ang="0">
                      <a:pos x="6" y="76"/>
                    </a:cxn>
                    <a:cxn ang="0">
                      <a:pos x="2" y="68"/>
                    </a:cxn>
                    <a:cxn ang="0">
                      <a:pos x="0" y="56"/>
                    </a:cxn>
                    <a:cxn ang="0">
                      <a:pos x="0" y="46"/>
                    </a:cxn>
                    <a:cxn ang="0">
                      <a:pos x="2" y="24"/>
                    </a:cxn>
                    <a:cxn ang="0">
                      <a:pos x="4" y="12"/>
                    </a:cxn>
                    <a:cxn ang="0">
                      <a:pos x="2" y="0"/>
                    </a:cxn>
                    <a:cxn ang="0">
                      <a:pos x="2" y="0"/>
                    </a:cxn>
                    <a:cxn ang="0">
                      <a:pos x="10" y="6"/>
                    </a:cxn>
                    <a:cxn ang="0">
                      <a:pos x="30" y="14"/>
                    </a:cxn>
                    <a:cxn ang="0">
                      <a:pos x="56" y="28"/>
                    </a:cxn>
                    <a:cxn ang="0">
                      <a:pos x="90" y="46"/>
                    </a:cxn>
                    <a:cxn ang="0">
                      <a:pos x="90" y="46"/>
                    </a:cxn>
                  </a:cxnLst>
                  <a:rect l="0" t="0" r="r" b="b"/>
                  <a:pathLst>
                    <a:path w="174" h="190">
                      <a:moveTo>
                        <a:pt x="90" y="46"/>
                      </a:moveTo>
                      <a:lnTo>
                        <a:pt x="90" y="46"/>
                      </a:lnTo>
                      <a:lnTo>
                        <a:pt x="104" y="58"/>
                      </a:lnTo>
                      <a:lnTo>
                        <a:pt x="118" y="70"/>
                      </a:lnTo>
                      <a:lnTo>
                        <a:pt x="130" y="88"/>
                      </a:lnTo>
                      <a:lnTo>
                        <a:pt x="142" y="106"/>
                      </a:lnTo>
                      <a:lnTo>
                        <a:pt x="152" y="126"/>
                      </a:lnTo>
                      <a:lnTo>
                        <a:pt x="160" y="146"/>
                      </a:lnTo>
                      <a:lnTo>
                        <a:pt x="174" y="182"/>
                      </a:lnTo>
                      <a:lnTo>
                        <a:pt x="174" y="182"/>
                      </a:lnTo>
                      <a:lnTo>
                        <a:pt x="152" y="188"/>
                      </a:lnTo>
                      <a:lnTo>
                        <a:pt x="130" y="190"/>
                      </a:lnTo>
                      <a:lnTo>
                        <a:pt x="90" y="190"/>
                      </a:lnTo>
                      <a:lnTo>
                        <a:pt x="90" y="190"/>
                      </a:lnTo>
                      <a:lnTo>
                        <a:pt x="74" y="166"/>
                      </a:lnTo>
                      <a:lnTo>
                        <a:pt x="64" y="156"/>
                      </a:lnTo>
                      <a:lnTo>
                        <a:pt x="60" y="152"/>
                      </a:lnTo>
                      <a:lnTo>
                        <a:pt x="54" y="150"/>
                      </a:lnTo>
                      <a:lnTo>
                        <a:pt x="54" y="150"/>
                      </a:lnTo>
                      <a:lnTo>
                        <a:pt x="54" y="154"/>
                      </a:lnTo>
                      <a:lnTo>
                        <a:pt x="54" y="158"/>
                      </a:lnTo>
                      <a:lnTo>
                        <a:pt x="60" y="170"/>
                      </a:lnTo>
                      <a:lnTo>
                        <a:pt x="68" y="188"/>
                      </a:lnTo>
                      <a:lnTo>
                        <a:pt x="50" y="188"/>
                      </a:lnTo>
                      <a:lnTo>
                        <a:pt x="50" y="188"/>
                      </a:lnTo>
                      <a:lnTo>
                        <a:pt x="46" y="160"/>
                      </a:lnTo>
                      <a:lnTo>
                        <a:pt x="38" y="132"/>
                      </a:lnTo>
                      <a:lnTo>
                        <a:pt x="32" y="118"/>
                      </a:lnTo>
                      <a:lnTo>
                        <a:pt x="26" y="106"/>
                      </a:lnTo>
                      <a:lnTo>
                        <a:pt x="20" y="94"/>
                      </a:lnTo>
                      <a:lnTo>
                        <a:pt x="12" y="86"/>
                      </a:lnTo>
                      <a:lnTo>
                        <a:pt x="12" y="86"/>
                      </a:lnTo>
                      <a:lnTo>
                        <a:pt x="6" y="76"/>
                      </a:lnTo>
                      <a:lnTo>
                        <a:pt x="2" y="68"/>
                      </a:lnTo>
                      <a:lnTo>
                        <a:pt x="0" y="56"/>
                      </a:lnTo>
                      <a:lnTo>
                        <a:pt x="0" y="46"/>
                      </a:lnTo>
                      <a:lnTo>
                        <a:pt x="2" y="24"/>
                      </a:lnTo>
                      <a:lnTo>
                        <a:pt x="4" y="12"/>
                      </a:lnTo>
                      <a:lnTo>
                        <a:pt x="2" y="0"/>
                      </a:lnTo>
                      <a:lnTo>
                        <a:pt x="2" y="0"/>
                      </a:lnTo>
                      <a:lnTo>
                        <a:pt x="10" y="6"/>
                      </a:lnTo>
                      <a:lnTo>
                        <a:pt x="30" y="14"/>
                      </a:lnTo>
                      <a:lnTo>
                        <a:pt x="56" y="28"/>
                      </a:lnTo>
                      <a:lnTo>
                        <a:pt x="90" y="46"/>
                      </a:lnTo>
                      <a:lnTo>
                        <a:pt x="90" y="46"/>
                      </a:lnTo>
                      <a:close/>
                    </a:path>
                  </a:pathLst>
                </a:custGeom>
                <a:solidFill>
                  <a:schemeClr val="accent6">
                    <a:lumMod val="40000"/>
                    <a:lumOff val="60000"/>
                  </a:schemeClr>
                </a:solidFill>
                <a:ln w="9525">
                  <a:noFill/>
                  <a:round/>
                  <a:headEnd/>
                  <a:tailEnd/>
                </a:ln>
              </p:spPr>
              <p:txBody>
                <a:bodyPr/>
                <a:lstStyle/>
                <a:p>
                  <a:pPr defTabSz="1007943">
                    <a:defRPr/>
                  </a:pPr>
                  <a:endParaRPr lang="ja-JP" altLang="en-US" sz="1984">
                    <a:solidFill>
                      <a:prstClr val="black"/>
                    </a:solidFill>
                    <a:latin typeface="Calibri"/>
                    <a:ea typeface="ＭＳ Ｐゴシック" panose="020B0600070205080204" pitchFamily="50" charset="-128"/>
                    <a:cs typeface="メイリオ" pitchFamily="50" charset="-128"/>
                  </a:endParaRPr>
                </a:p>
              </p:txBody>
            </p:sp>
            <p:sp>
              <p:nvSpPr>
                <p:cNvPr id="2277" name="Freeform 127"/>
                <p:cNvSpPr>
                  <a:spLocks/>
                </p:cNvSpPr>
                <p:nvPr/>
              </p:nvSpPr>
              <p:spPr bwMode="auto">
                <a:xfrm>
                  <a:off x="5278440" y="3311516"/>
                  <a:ext cx="415925" cy="257175"/>
                </a:xfrm>
                <a:custGeom>
                  <a:avLst/>
                  <a:gdLst>
                    <a:gd name="T0" fmla="*/ 2147483646 w 262"/>
                    <a:gd name="T1" fmla="*/ 2147483646 h 162"/>
                    <a:gd name="T2" fmla="*/ 2147483646 w 262"/>
                    <a:gd name="T3" fmla="*/ 2147483646 h 162"/>
                    <a:gd name="T4" fmla="*/ 2147483646 w 262"/>
                    <a:gd name="T5" fmla="*/ 2147483646 h 162"/>
                    <a:gd name="T6" fmla="*/ 2147483646 w 262"/>
                    <a:gd name="T7" fmla="*/ 2147483646 h 162"/>
                    <a:gd name="T8" fmla="*/ 2147483646 w 262"/>
                    <a:gd name="T9" fmla="*/ 2147483646 h 162"/>
                    <a:gd name="T10" fmla="*/ 2147483646 w 262"/>
                    <a:gd name="T11" fmla="*/ 2147483646 h 162"/>
                    <a:gd name="T12" fmla="*/ 2147483646 w 262"/>
                    <a:gd name="T13" fmla="*/ 2147483646 h 162"/>
                    <a:gd name="T14" fmla="*/ 2147483646 w 262"/>
                    <a:gd name="T15" fmla="*/ 2147483646 h 162"/>
                    <a:gd name="T16" fmla="*/ 2147483646 w 262"/>
                    <a:gd name="T17" fmla="*/ 2147483646 h 162"/>
                    <a:gd name="T18" fmla="*/ 2147483646 w 262"/>
                    <a:gd name="T19" fmla="*/ 2147483646 h 162"/>
                    <a:gd name="T20" fmla="*/ 2147483646 w 262"/>
                    <a:gd name="T21" fmla="*/ 2147483646 h 162"/>
                    <a:gd name="T22" fmla="*/ 2147483646 w 262"/>
                    <a:gd name="T23" fmla="*/ 2147483646 h 162"/>
                    <a:gd name="T24" fmla="*/ 2147483646 w 262"/>
                    <a:gd name="T25" fmla="*/ 2147483646 h 162"/>
                    <a:gd name="T26" fmla="*/ 2147483646 w 262"/>
                    <a:gd name="T27" fmla="*/ 2147483646 h 162"/>
                    <a:gd name="T28" fmla="*/ 2147483646 w 262"/>
                    <a:gd name="T29" fmla="*/ 2147483646 h 162"/>
                    <a:gd name="T30" fmla="*/ 2147483646 w 262"/>
                    <a:gd name="T31" fmla="*/ 2147483646 h 162"/>
                    <a:gd name="T32" fmla="*/ 2147483646 w 262"/>
                    <a:gd name="T33" fmla="*/ 2147483646 h 162"/>
                    <a:gd name="T34" fmla="*/ 2147483646 w 262"/>
                    <a:gd name="T35" fmla="*/ 2147483646 h 162"/>
                    <a:gd name="T36" fmla="*/ 2147483646 w 262"/>
                    <a:gd name="T37" fmla="*/ 2147483646 h 162"/>
                    <a:gd name="T38" fmla="*/ 2147483646 w 262"/>
                    <a:gd name="T39" fmla="*/ 2147483646 h 162"/>
                    <a:gd name="T40" fmla="*/ 2147483646 w 262"/>
                    <a:gd name="T41" fmla="*/ 2147483646 h 162"/>
                    <a:gd name="T42" fmla="*/ 2147483646 w 262"/>
                    <a:gd name="T43" fmla="*/ 2147483646 h 162"/>
                    <a:gd name="T44" fmla="*/ 2147483646 w 262"/>
                    <a:gd name="T45" fmla="*/ 2147483646 h 162"/>
                    <a:gd name="T46" fmla="*/ 2147483646 w 262"/>
                    <a:gd name="T47" fmla="*/ 2147483646 h 162"/>
                    <a:gd name="T48" fmla="*/ 2147483646 w 262"/>
                    <a:gd name="T49" fmla="*/ 2147483646 h 162"/>
                    <a:gd name="T50" fmla="*/ 2147483646 w 262"/>
                    <a:gd name="T51" fmla="*/ 2147483646 h 162"/>
                    <a:gd name="T52" fmla="*/ 2147483646 w 262"/>
                    <a:gd name="T53" fmla="*/ 2147483646 h 162"/>
                    <a:gd name="T54" fmla="*/ 2147483646 w 262"/>
                    <a:gd name="T55" fmla="*/ 2147483646 h 162"/>
                    <a:gd name="T56" fmla="*/ 2147483646 w 262"/>
                    <a:gd name="T57" fmla="*/ 2147483646 h 162"/>
                    <a:gd name="T58" fmla="*/ 2147483646 w 262"/>
                    <a:gd name="T59" fmla="*/ 2147483646 h 162"/>
                    <a:gd name="T60" fmla="*/ 2147483646 w 262"/>
                    <a:gd name="T61" fmla="*/ 2147483646 h 162"/>
                    <a:gd name="T62" fmla="*/ 2147483646 w 262"/>
                    <a:gd name="T63" fmla="*/ 2147483646 h 162"/>
                    <a:gd name="T64" fmla="*/ 2147483646 w 262"/>
                    <a:gd name="T65" fmla="*/ 2147483646 h 162"/>
                    <a:gd name="T66" fmla="*/ 2147483646 w 262"/>
                    <a:gd name="T67" fmla="*/ 2147483646 h 162"/>
                    <a:gd name="T68" fmla="*/ 2147483646 w 262"/>
                    <a:gd name="T69" fmla="*/ 2147483646 h 162"/>
                    <a:gd name="T70" fmla="*/ 2147483646 w 262"/>
                    <a:gd name="T71" fmla="*/ 2147483646 h 162"/>
                    <a:gd name="T72" fmla="*/ 2147483646 w 262"/>
                    <a:gd name="T73" fmla="*/ 2147483646 h 162"/>
                    <a:gd name="T74" fmla="*/ 0 w 262"/>
                    <a:gd name="T75" fmla="*/ 2147483646 h 162"/>
                    <a:gd name="T76" fmla="*/ 2147483646 w 262"/>
                    <a:gd name="T77" fmla="*/ 2147483646 h 162"/>
                    <a:gd name="T78" fmla="*/ 2147483646 w 262"/>
                    <a:gd name="T79" fmla="*/ 2147483646 h 162"/>
                    <a:gd name="T80" fmla="*/ 2147483646 w 262"/>
                    <a:gd name="T81" fmla="*/ 2147483646 h 162"/>
                    <a:gd name="T82" fmla="*/ 2147483646 w 262"/>
                    <a:gd name="T83" fmla="*/ 2147483646 h 162"/>
                    <a:gd name="T84" fmla="*/ 2147483646 w 262"/>
                    <a:gd name="T85" fmla="*/ 2147483646 h 162"/>
                    <a:gd name="T86" fmla="*/ 2147483646 w 262"/>
                    <a:gd name="T87" fmla="*/ 2147483646 h 162"/>
                    <a:gd name="T88" fmla="*/ 2147483646 w 262"/>
                    <a:gd name="T89" fmla="*/ 2147483646 h 162"/>
                    <a:gd name="T90" fmla="*/ 2147483646 w 262"/>
                    <a:gd name="T91" fmla="*/ 2147483646 h 162"/>
                    <a:gd name="T92" fmla="*/ 2147483646 w 262"/>
                    <a:gd name="T93" fmla="*/ 2147483646 h 162"/>
                    <a:gd name="T94" fmla="*/ 2147483646 w 262"/>
                    <a:gd name="T95" fmla="*/ 2147483646 h 162"/>
                    <a:gd name="T96" fmla="*/ 2147483646 w 262"/>
                    <a:gd name="T97" fmla="*/ 2147483646 h 162"/>
                    <a:gd name="T98" fmla="*/ 2147483646 w 262"/>
                    <a:gd name="T99" fmla="*/ 0 h 162"/>
                    <a:gd name="T100" fmla="*/ 2147483646 w 262"/>
                    <a:gd name="T101" fmla="*/ 0 h 162"/>
                    <a:gd name="T102" fmla="*/ 2147483646 w 262"/>
                    <a:gd name="T103" fmla="*/ 2147483646 h 162"/>
                    <a:gd name="T104" fmla="*/ 2147483646 w 262"/>
                    <a:gd name="T105" fmla="*/ 2147483646 h 162"/>
                    <a:gd name="T106" fmla="*/ 2147483646 w 262"/>
                    <a:gd name="T107" fmla="*/ 2147483646 h 162"/>
                    <a:gd name="T108" fmla="*/ 2147483646 w 262"/>
                    <a:gd name="T109" fmla="*/ 2147483646 h 162"/>
                    <a:gd name="T110" fmla="*/ 2147483646 w 262"/>
                    <a:gd name="T111" fmla="*/ 2147483646 h 162"/>
                    <a:gd name="T112" fmla="*/ 2147483646 w 262"/>
                    <a:gd name="T113" fmla="*/ 2147483646 h 162"/>
                    <a:gd name="T114" fmla="*/ 2147483646 w 262"/>
                    <a:gd name="T115" fmla="*/ 2147483646 h 162"/>
                    <a:gd name="T116" fmla="*/ 2147483646 w 262"/>
                    <a:gd name="T117" fmla="*/ 2147483646 h 162"/>
                    <a:gd name="T118" fmla="*/ 2147483646 w 262"/>
                    <a:gd name="T119" fmla="*/ 2147483646 h 16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2"/>
                    <a:gd name="T181" fmla="*/ 0 h 162"/>
                    <a:gd name="T182" fmla="*/ 262 w 262"/>
                    <a:gd name="T183" fmla="*/ 162 h 16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2" h="162">
                      <a:moveTo>
                        <a:pt x="116" y="94"/>
                      </a:moveTo>
                      <a:lnTo>
                        <a:pt x="116" y="94"/>
                      </a:lnTo>
                      <a:lnTo>
                        <a:pt x="120" y="100"/>
                      </a:lnTo>
                      <a:lnTo>
                        <a:pt x="124" y="108"/>
                      </a:lnTo>
                      <a:lnTo>
                        <a:pt x="130" y="128"/>
                      </a:lnTo>
                      <a:lnTo>
                        <a:pt x="134" y="146"/>
                      </a:lnTo>
                      <a:lnTo>
                        <a:pt x="136" y="154"/>
                      </a:lnTo>
                      <a:lnTo>
                        <a:pt x="138" y="144"/>
                      </a:lnTo>
                      <a:lnTo>
                        <a:pt x="142" y="132"/>
                      </a:lnTo>
                      <a:lnTo>
                        <a:pt x="150" y="120"/>
                      </a:lnTo>
                      <a:lnTo>
                        <a:pt x="162" y="110"/>
                      </a:lnTo>
                      <a:lnTo>
                        <a:pt x="186" y="94"/>
                      </a:lnTo>
                      <a:lnTo>
                        <a:pt x="206" y="84"/>
                      </a:lnTo>
                      <a:lnTo>
                        <a:pt x="216" y="76"/>
                      </a:lnTo>
                      <a:lnTo>
                        <a:pt x="222" y="70"/>
                      </a:lnTo>
                      <a:lnTo>
                        <a:pt x="226" y="62"/>
                      </a:lnTo>
                      <a:lnTo>
                        <a:pt x="228" y="52"/>
                      </a:lnTo>
                      <a:lnTo>
                        <a:pt x="238" y="68"/>
                      </a:lnTo>
                      <a:lnTo>
                        <a:pt x="248" y="86"/>
                      </a:lnTo>
                      <a:lnTo>
                        <a:pt x="254" y="104"/>
                      </a:lnTo>
                      <a:lnTo>
                        <a:pt x="258" y="120"/>
                      </a:lnTo>
                      <a:lnTo>
                        <a:pt x="262" y="136"/>
                      </a:lnTo>
                      <a:lnTo>
                        <a:pt x="262" y="148"/>
                      </a:lnTo>
                      <a:lnTo>
                        <a:pt x="262" y="158"/>
                      </a:lnTo>
                      <a:lnTo>
                        <a:pt x="260" y="160"/>
                      </a:lnTo>
                      <a:lnTo>
                        <a:pt x="196" y="162"/>
                      </a:lnTo>
                      <a:lnTo>
                        <a:pt x="116" y="162"/>
                      </a:lnTo>
                      <a:lnTo>
                        <a:pt x="48" y="158"/>
                      </a:lnTo>
                      <a:lnTo>
                        <a:pt x="24" y="156"/>
                      </a:lnTo>
                      <a:lnTo>
                        <a:pt x="12" y="154"/>
                      </a:lnTo>
                      <a:lnTo>
                        <a:pt x="6" y="136"/>
                      </a:lnTo>
                      <a:lnTo>
                        <a:pt x="2" y="120"/>
                      </a:lnTo>
                      <a:lnTo>
                        <a:pt x="0" y="112"/>
                      </a:lnTo>
                      <a:lnTo>
                        <a:pt x="2" y="104"/>
                      </a:lnTo>
                      <a:lnTo>
                        <a:pt x="4" y="92"/>
                      </a:lnTo>
                      <a:lnTo>
                        <a:pt x="8" y="80"/>
                      </a:lnTo>
                      <a:lnTo>
                        <a:pt x="14" y="70"/>
                      </a:lnTo>
                      <a:lnTo>
                        <a:pt x="22" y="60"/>
                      </a:lnTo>
                      <a:lnTo>
                        <a:pt x="36" y="44"/>
                      </a:lnTo>
                      <a:lnTo>
                        <a:pt x="48" y="34"/>
                      </a:lnTo>
                      <a:lnTo>
                        <a:pt x="60" y="26"/>
                      </a:lnTo>
                      <a:lnTo>
                        <a:pt x="70" y="14"/>
                      </a:lnTo>
                      <a:lnTo>
                        <a:pt x="82" y="0"/>
                      </a:lnTo>
                      <a:lnTo>
                        <a:pt x="84" y="12"/>
                      </a:lnTo>
                      <a:lnTo>
                        <a:pt x="82" y="24"/>
                      </a:lnTo>
                      <a:lnTo>
                        <a:pt x="82" y="34"/>
                      </a:lnTo>
                      <a:lnTo>
                        <a:pt x="82" y="46"/>
                      </a:lnTo>
                      <a:lnTo>
                        <a:pt x="84" y="56"/>
                      </a:lnTo>
                      <a:lnTo>
                        <a:pt x="90" y="68"/>
                      </a:lnTo>
                      <a:lnTo>
                        <a:pt x="100" y="80"/>
                      </a:lnTo>
                      <a:lnTo>
                        <a:pt x="116" y="94"/>
                      </a:lnTo>
                      <a:close/>
                    </a:path>
                  </a:pathLst>
                </a:custGeom>
                <a:solidFill>
                  <a:srgbClr val="F36B2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78" name="Freeform 128"/>
                <p:cNvSpPr>
                  <a:spLocks/>
                </p:cNvSpPr>
                <p:nvPr/>
              </p:nvSpPr>
              <p:spPr bwMode="auto">
                <a:xfrm>
                  <a:off x="5926140" y="3432166"/>
                  <a:ext cx="469900" cy="107950"/>
                </a:xfrm>
                <a:custGeom>
                  <a:avLst/>
                  <a:gdLst>
                    <a:gd name="T0" fmla="*/ 2147483646 w 296"/>
                    <a:gd name="T1" fmla="*/ 0 h 68"/>
                    <a:gd name="T2" fmla="*/ 2147483646 w 296"/>
                    <a:gd name="T3" fmla="*/ 0 h 68"/>
                    <a:gd name="T4" fmla="*/ 2147483646 w 296"/>
                    <a:gd name="T5" fmla="*/ 2147483646 h 68"/>
                    <a:gd name="T6" fmla="*/ 2147483646 w 296"/>
                    <a:gd name="T7" fmla="*/ 2147483646 h 68"/>
                    <a:gd name="T8" fmla="*/ 2147483646 w 296"/>
                    <a:gd name="T9" fmla="*/ 2147483646 h 68"/>
                    <a:gd name="T10" fmla="*/ 2147483646 w 296"/>
                    <a:gd name="T11" fmla="*/ 2147483646 h 68"/>
                    <a:gd name="T12" fmla="*/ 2147483646 w 296"/>
                    <a:gd name="T13" fmla="*/ 2147483646 h 68"/>
                    <a:gd name="T14" fmla="*/ 2147483646 w 296"/>
                    <a:gd name="T15" fmla="*/ 2147483646 h 68"/>
                    <a:gd name="T16" fmla="*/ 2147483646 w 296"/>
                    <a:gd name="T17" fmla="*/ 2147483646 h 68"/>
                    <a:gd name="T18" fmla="*/ 2147483646 w 296"/>
                    <a:gd name="T19" fmla="*/ 2147483646 h 68"/>
                    <a:gd name="T20" fmla="*/ 2147483646 w 296"/>
                    <a:gd name="T21" fmla="*/ 2147483646 h 68"/>
                    <a:gd name="T22" fmla="*/ 2147483646 w 296"/>
                    <a:gd name="T23" fmla="*/ 2147483646 h 68"/>
                    <a:gd name="T24" fmla="*/ 2147483646 w 296"/>
                    <a:gd name="T25" fmla="*/ 2147483646 h 68"/>
                    <a:gd name="T26" fmla="*/ 2147483646 w 296"/>
                    <a:gd name="T27" fmla="*/ 2147483646 h 68"/>
                    <a:gd name="T28" fmla="*/ 2147483646 w 296"/>
                    <a:gd name="T29" fmla="*/ 2147483646 h 68"/>
                    <a:gd name="T30" fmla="*/ 2147483646 w 296"/>
                    <a:gd name="T31" fmla="*/ 2147483646 h 68"/>
                    <a:gd name="T32" fmla="*/ 2147483646 w 296"/>
                    <a:gd name="T33" fmla="*/ 2147483646 h 68"/>
                    <a:gd name="T34" fmla="*/ 2147483646 w 296"/>
                    <a:gd name="T35" fmla="*/ 2147483646 h 68"/>
                    <a:gd name="T36" fmla="*/ 2147483646 w 296"/>
                    <a:gd name="T37" fmla="*/ 2147483646 h 68"/>
                    <a:gd name="T38" fmla="*/ 2147483646 w 296"/>
                    <a:gd name="T39" fmla="*/ 2147483646 h 68"/>
                    <a:gd name="T40" fmla="*/ 2147483646 w 296"/>
                    <a:gd name="T41" fmla="*/ 2147483646 h 68"/>
                    <a:gd name="T42" fmla="*/ 2147483646 w 296"/>
                    <a:gd name="T43" fmla="*/ 2147483646 h 68"/>
                    <a:gd name="T44" fmla="*/ 2147483646 w 296"/>
                    <a:gd name="T45" fmla="*/ 2147483646 h 68"/>
                    <a:gd name="T46" fmla="*/ 2147483646 w 296"/>
                    <a:gd name="T47" fmla="*/ 2147483646 h 68"/>
                    <a:gd name="T48" fmla="*/ 2147483646 w 296"/>
                    <a:gd name="T49" fmla="*/ 2147483646 h 68"/>
                    <a:gd name="T50" fmla="*/ 2147483646 w 296"/>
                    <a:gd name="T51" fmla="*/ 2147483646 h 68"/>
                    <a:gd name="T52" fmla="*/ 0 w 296"/>
                    <a:gd name="T53" fmla="*/ 2147483646 h 68"/>
                    <a:gd name="T54" fmla="*/ 0 w 296"/>
                    <a:gd name="T55" fmla="*/ 2147483646 h 68"/>
                    <a:gd name="T56" fmla="*/ 2147483646 w 296"/>
                    <a:gd name="T57" fmla="*/ 2147483646 h 68"/>
                    <a:gd name="T58" fmla="*/ 2147483646 w 296"/>
                    <a:gd name="T59" fmla="*/ 2147483646 h 68"/>
                    <a:gd name="T60" fmla="*/ 2147483646 w 296"/>
                    <a:gd name="T61" fmla="*/ 2147483646 h 68"/>
                    <a:gd name="T62" fmla="*/ 2147483646 w 296"/>
                    <a:gd name="T63" fmla="*/ 2147483646 h 68"/>
                    <a:gd name="T64" fmla="*/ 2147483646 w 296"/>
                    <a:gd name="T65" fmla="*/ 2147483646 h 68"/>
                    <a:gd name="T66" fmla="*/ 2147483646 w 296"/>
                    <a:gd name="T67" fmla="*/ 2147483646 h 68"/>
                    <a:gd name="T68" fmla="*/ 2147483646 w 296"/>
                    <a:gd name="T69" fmla="*/ 0 h 68"/>
                    <a:gd name="T70" fmla="*/ 2147483646 w 296"/>
                    <a:gd name="T71" fmla="*/ 0 h 68"/>
                    <a:gd name="T72" fmla="*/ 2147483646 w 296"/>
                    <a:gd name="T73" fmla="*/ 0 h 6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6"/>
                    <a:gd name="T112" fmla="*/ 0 h 68"/>
                    <a:gd name="T113" fmla="*/ 296 w 296"/>
                    <a:gd name="T114" fmla="*/ 68 h 6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6" h="68">
                      <a:moveTo>
                        <a:pt x="296" y="0"/>
                      </a:moveTo>
                      <a:lnTo>
                        <a:pt x="296" y="0"/>
                      </a:lnTo>
                      <a:lnTo>
                        <a:pt x="288" y="8"/>
                      </a:lnTo>
                      <a:lnTo>
                        <a:pt x="278" y="16"/>
                      </a:lnTo>
                      <a:lnTo>
                        <a:pt x="266" y="24"/>
                      </a:lnTo>
                      <a:lnTo>
                        <a:pt x="250" y="32"/>
                      </a:lnTo>
                      <a:lnTo>
                        <a:pt x="218" y="44"/>
                      </a:lnTo>
                      <a:lnTo>
                        <a:pt x="184" y="52"/>
                      </a:lnTo>
                      <a:lnTo>
                        <a:pt x="152" y="60"/>
                      </a:lnTo>
                      <a:lnTo>
                        <a:pt x="124" y="64"/>
                      </a:lnTo>
                      <a:lnTo>
                        <a:pt x="104" y="68"/>
                      </a:lnTo>
                      <a:lnTo>
                        <a:pt x="94" y="66"/>
                      </a:lnTo>
                      <a:lnTo>
                        <a:pt x="100" y="64"/>
                      </a:lnTo>
                      <a:lnTo>
                        <a:pt x="112" y="62"/>
                      </a:lnTo>
                      <a:lnTo>
                        <a:pt x="156" y="50"/>
                      </a:lnTo>
                      <a:lnTo>
                        <a:pt x="208" y="36"/>
                      </a:lnTo>
                      <a:lnTo>
                        <a:pt x="232" y="26"/>
                      </a:lnTo>
                      <a:lnTo>
                        <a:pt x="252" y="18"/>
                      </a:lnTo>
                      <a:lnTo>
                        <a:pt x="224" y="20"/>
                      </a:lnTo>
                      <a:lnTo>
                        <a:pt x="154" y="24"/>
                      </a:lnTo>
                      <a:lnTo>
                        <a:pt x="114" y="24"/>
                      </a:lnTo>
                      <a:lnTo>
                        <a:pt x="72" y="22"/>
                      </a:lnTo>
                      <a:lnTo>
                        <a:pt x="34" y="18"/>
                      </a:lnTo>
                      <a:lnTo>
                        <a:pt x="16" y="14"/>
                      </a:lnTo>
                      <a:lnTo>
                        <a:pt x="0" y="10"/>
                      </a:lnTo>
                      <a:lnTo>
                        <a:pt x="74" y="14"/>
                      </a:lnTo>
                      <a:lnTo>
                        <a:pt x="132" y="16"/>
                      </a:lnTo>
                      <a:lnTo>
                        <a:pt x="180" y="14"/>
                      </a:lnTo>
                      <a:lnTo>
                        <a:pt x="218" y="10"/>
                      </a:lnTo>
                      <a:lnTo>
                        <a:pt x="248" y="8"/>
                      </a:lnTo>
                      <a:lnTo>
                        <a:pt x="270" y="4"/>
                      </a:lnTo>
                      <a:lnTo>
                        <a:pt x="284" y="0"/>
                      </a:lnTo>
                      <a:lnTo>
                        <a:pt x="29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79" name="Freeform 129"/>
                <p:cNvSpPr>
                  <a:spLocks/>
                </p:cNvSpPr>
                <p:nvPr/>
              </p:nvSpPr>
              <p:spPr bwMode="auto">
                <a:xfrm>
                  <a:off x="5221290" y="3603616"/>
                  <a:ext cx="384175" cy="212725"/>
                </a:xfrm>
                <a:custGeom>
                  <a:avLst/>
                  <a:gdLst>
                    <a:gd name="T0" fmla="*/ 2147483646 w 242"/>
                    <a:gd name="T1" fmla="*/ 2147483646 h 134"/>
                    <a:gd name="T2" fmla="*/ 2147483646 w 242"/>
                    <a:gd name="T3" fmla="*/ 2147483646 h 134"/>
                    <a:gd name="T4" fmla="*/ 2147483646 w 242"/>
                    <a:gd name="T5" fmla="*/ 2147483646 h 134"/>
                    <a:gd name="T6" fmla="*/ 2147483646 w 242"/>
                    <a:gd name="T7" fmla="*/ 2147483646 h 134"/>
                    <a:gd name="T8" fmla="*/ 2147483646 w 242"/>
                    <a:gd name="T9" fmla="*/ 2147483646 h 134"/>
                    <a:gd name="T10" fmla="*/ 2147483646 w 242"/>
                    <a:gd name="T11" fmla="*/ 2147483646 h 134"/>
                    <a:gd name="T12" fmla="*/ 2147483646 w 242"/>
                    <a:gd name="T13" fmla="*/ 2147483646 h 134"/>
                    <a:gd name="T14" fmla="*/ 2147483646 w 242"/>
                    <a:gd name="T15" fmla="*/ 2147483646 h 134"/>
                    <a:gd name="T16" fmla="*/ 2147483646 w 242"/>
                    <a:gd name="T17" fmla="*/ 2147483646 h 134"/>
                    <a:gd name="T18" fmla="*/ 2147483646 w 242"/>
                    <a:gd name="T19" fmla="*/ 2147483646 h 134"/>
                    <a:gd name="T20" fmla="*/ 2147483646 w 242"/>
                    <a:gd name="T21" fmla="*/ 2147483646 h 134"/>
                    <a:gd name="T22" fmla="*/ 2147483646 w 242"/>
                    <a:gd name="T23" fmla="*/ 2147483646 h 134"/>
                    <a:gd name="T24" fmla="*/ 2147483646 w 242"/>
                    <a:gd name="T25" fmla="*/ 2147483646 h 134"/>
                    <a:gd name="T26" fmla="*/ 2147483646 w 242"/>
                    <a:gd name="T27" fmla="*/ 2147483646 h 134"/>
                    <a:gd name="T28" fmla="*/ 2147483646 w 242"/>
                    <a:gd name="T29" fmla="*/ 2147483646 h 134"/>
                    <a:gd name="T30" fmla="*/ 2147483646 w 242"/>
                    <a:gd name="T31" fmla="*/ 2147483646 h 134"/>
                    <a:gd name="T32" fmla="*/ 2147483646 w 242"/>
                    <a:gd name="T33" fmla="*/ 2147483646 h 134"/>
                    <a:gd name="T34" fmla="*/ 2147483646 w 242"/>
                    <a:gd name="T35" fmla="*/ 2147483646 h 134"/>
                    <a:gd name="T36" fmla="*/ 2147483646 w 242"/>
                    <a:gd name="T37" fmla="*/ 2147483646 h 134"/>
                    <a:gd name="T38" fmla="*/ 2147483646 w 242"/>
                    <a:gd name="T39" fmla="*/ 2147483646 h 134"/>
                    <a:gd name="T40" fmla="*/ 2147483646 w 242"/>
                    <a:gd name="T41" fmla="*/ 2147483646 h 134"/>
                    <a:gd name="T42" fmla="*/ 2147483646 w 242"/>
                    <a:gd name="T43" fmla="*/ 2147483646 h 134"/>
                    <a:gd name="T44" fmla="*/ 2147483646 w 242"/>
                    <a:gd name="T45" fmla="*/ 2147483646 h 134"/>
                    <a:gd name="T46" fmla="*/ 2147483646 w 242"/>
                    <a:gd name="T47" fmla="*/ 2147483646 h 134"/>
                    <a:gd name="T48" fmla="*/ 2147483646 w 242"/>
                    <a:gd name="T49" fmla="*/ 2147483646 h 134"/>
                    <a:gd name="T50" fmla="*/ 2147483646 w 242"/>
                    <a:gd name="T51" fmla="*/ 2147483646 h 134"/>
                    <a:gd name="T52" fmla="*/ 2147483646 w 242"/>
                    <a:gd name="T53" fmla="*/ 2147483646 h 134"/>
                    <a:gd name="T54" fmla="*/ 2147483646 w 242"/>
                    <a:gd name="T55" fmla="*/ 2147483646 h 134"/>
                    <a:gd name="T56" fmla="*/ 2147483646 w 242"/>
                    <a:gd name="T57" fmla="*/ 2147483646 h 134"/>
                    <a:gd name="T58" fmla="*/ 0 w 242"/>
                    <a:gd name="T59" fmla="*/ 0 h 134"/>
                    <a:gd name="T60" fmla="*/ 2147483646 w 242"/>
                    <a:gd name="T61" fmla="*/ 2147483646 h 134"/>
                    <a:gd name="T62" fmla="*/ 2147483646 w 242"/>
                    <a:gd name="T63" fmla="*/ 2147483646 h 1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2"/>
                    <a:gd name="T97" fmla="*/ 0 h 134"/>
                    <a:gd name="T98" fmla="*/ 242 w 242"/>
                    <a:gd name="T99" fmla="*/ 134 h 1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2" h="134">
                      <a:moveTo>
                        <a:pt x="242" y="10"/>
                      </a:moveTo>
                      <a:lnTo>
                        <a:pt x="242" y="10"/>
                      </a:lnTo>
                      <a:lnTo>
                        <a:pt x="222" y="20"/>
                      </a:lnTo>
                      <a:lnTo>
                        <a:pt x="198" y="30"/>
                      </a:lnTo>
                      <a:lnTo>
                        <a:pt x="142" y="46"/>
                      </a:lnTo>
                      <a:lnTo>
                        <a:pt x="74" y="62"/>
                      </a:lnTo>
                      <a:lnTo>
                        <a:pt x="90" y="68"/>
                      </a:lnTo>
                      <a:lnTo>
                        <a:pt x="108" y="72"/>
                      </a:lnTo>
                      <a:lnTo>
                        <a:pt x="128" y="74"/>
                      </a:lnTo>
                      <a:lnTo>
                        <a:pt x="150" y="76"/>
                      </a:lnTo>
                      <a:lnTo>
                        <a:pt x="188" y="76"/>
                      </a:lnTo>
                      <a:lnTo>
                        <a:pt x="216" y="76"/>
                      </a:lnTo>
                      <a:lnTo>
                        <a:pt x="208" y="80"/>
                      </a:lnTo>
                      <a:lnTo>
                        <a:pt x="196" y="86"/>
                      </a:lnTo>
                      <a:lnTo>
                        <a:pt x="160" y="100"/>
                      </a:lnTo>
                      <a:lnTo>
                        <a:pt x="120" y="114"/>
                      </a:lnTo>
                      <a:lnTo>
                        <a:pt x="102" y="118"/>
                      </a:lnTo>
                      <a:lnTo>
                        <a:pt x="88" y="120"/>
                      </a:lnTo>
                      <a:lnTo>
                        <a:pt x="102" y="124"/>
                      </a:lnTo>
                      <a:lnTo>
                        <a:pt x="118" y="128"/>
                      </a:lnTo>
                      <a:lnTo>
                        <a:pt x="156" y="130"/>
                      </a:lnTo>
                      <a:lnTo>
                        <a:pt x="188" y="130"/>
                      </a:lnTo>
                      <a:lnTo>
                        <a:pt x="202" y="130"/>
                      </a:lnTo>
                      <a:lnTo>
                        <a:pt x="166" y="134"/>
                      </a:lnTo>
                      <a:lnTo>
                        <a:pt x="146" y="134"/>
                      </a:lnTo>
                      <a:lnTo>
                        <a:pt x="124" y="134"/>
                      </a:lnTo>
                      <a:lnTo>
                        <a:pt x="104" y="134"/>
                      </a:lnTo>
                      <a:lnTo>
                        <a:pt x="84" y="130"/>
                      </a:lnTo>
                      <a:lnTo>
                        <a:pt x="68" y="124"/>
                      </a:lnTo>
                      <a:lnTo>
                        <a:pt x="60" y="120"/>
                      </a:lnTo>
                      <a:lnTo>
                        <a:pt x="54" y="114"/>
                      </a:lnTo>
                      <a:lnTo>
                        <a:pt x="68" y="114"/>
                      </a:lnTo>
                      <a:lnTo>
                        <a:pt x="86" y="112"/>
                      </a:lnTo>
                      <a:lnTo>
                        <a:pt x="124" y="104"/>
                      </a:lnTo>
                      <a:lnTo>
                        <a:pt x="160" y="94"/>
                      </a:lnTo>
                      <a:lnTo>
                        <a:pt x="190" y="84"/>
                      </a:lnTo>
                      <a:lnTo>
                        <a:pt x="150" y="86"/>
                      </a:lnTo>
                      <a:lnTo>
                        <a:pt x="130" y="86"/>
                      </a:lnTo>
                      <a:lnTo>
                        <a:pt x="112" y="84"/>
                      </a:lnTo>
                      <a:lnTo>
                        <a:pt x="94" y="80"/>
                      </a:lnTo>
                      <a:lnTo>
                        <a:pt x="76" y="74"/>
                      </a:lnTo>
                      <a:lnTo>
                        <a:pt x="60" y="66"/>
                      </a:lnTo>
                      <a:lnTo>
                        <a:pt x="44" y="54"/>
                      </a:lnTo>
                      <a:lnTo>
                        <a:pt x="114" y="40"/>
                      </a:lnTo>
                      <a:lnTo>
                        <a:pt x="170" y="28"/>
                      </a:lnTo>
                      <a:lnTo>
                        <a:pt x="210" y="16"/>
                      </a:lnTo>
                      <a:lnTo>
                        <a:pt x="154" y="16"/>
                      </a:lnTo>
                      <a:lnTo>
                        <a:pt x="86" y="12"/>
                      </a:lnTo>
                      <a:lnTo>
                        <a:pt x="30" y="8"/>
                      </a:lnTo>
                      <a:lnTo>
                        <a:pt x="10" y="4"/>
                      </a:lnTo>
                      <a:lnTo>
                        <a:pt x="0" y="0"/>
                      </a:lnTo>
                      <a:lnTo>
                        <a:pt x="38" y="0"/>
                      </a:lnTo>
                      <a:lnTo>
                        <a:pt x="120" y="2"/>
                      </a:lnTo>
                      <a:lnTo>
                        <a:pt x="204" y="8"/>
                      </a:lnTo>
                      <a:lnTo>
                        <a:pt x="242"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80" name="Freeform 130"/>
                <p:cNvSpPr>
                  <a:spLocks/>
                </p:cNvSpPr>
                <p:nvPr/>
              </p:nvSpPr>
              <p:spPr bwMode="auto">
                <a:xfrm>
                  <a:off x="6103940" y="3562341"/>
                  <a:ext cx="180975" cy="38100"/>
                </a:xfrm>
                <a:custGeom>
                  <a:avLst/>
                  <a:gdLst>
                    <a:gd name="T0" fmla="*/ 2147483646 w 114"/>
                    <a:gd name="T1" fmla="*/ 2147483646 h 24"/>
                    <a:gd name="T2" fmla="*/ 2147483646 w 114"/>
                    <a:gd name="T3" fmla="*/ 2147483646 h 24"/>
                    <a:gd name="T4" fmla="*/ 2147483646 w 114"/>
                    <a:gd name="T5" fmla="*/ 2147483646 h 24"/>
                    <a:gd name="T6" fmla="*/ 2147483646 w 114"/>
                    <a:gd name="T7" fmla="*/ 2147483646 h 24"/>
                    <a:gd name="T8" fmla="*/ 2147483646 w 114"/>
                    <a:gd name="T9" fmla="*/ 2147483646 h 24"/>
                    <a:gd name="T10" fmla="*/ 2147483646 w 114"/>
                    <a:gd name="T11" fmla="*/ 2147483646 h 24"/>
                    <a:gd name="T12" fmla="*/ 2147483646 w 114"/>
                    <a:gd name="T13" fmla="*/ 2147483646 h 24"/>
                    <a:gd name="T14" fmla="*/ 0 w 114"/>
                    <a:gd name="T15" fmla="*/ 2147483646 h 24"/>
                    <a:gd name="T16" fmla="*/ 0 w 114"/>
                    <a:gd name="T17" fmla="*/ 2147483646 h 24"/>
                    <a:gd name="T18" fmla="*/ 2147483646 w 114"/>
                    <a:gd name="T19" fmla="*/ 2147483646 h 24"/>
                    <a:gd name="T20" fmla="*/ 2147483646 w 114"/>
                    <a:gd name="T21" fmla="*/ 2147483646 h 24"/>
                    <a:gd name="T22" fmla="*/ 2147483646 w 114"/>
                    <a:gd name="T23" fmla="*/ 2147483646 h 24"/>
                    <a:gd name="T24" fmla="*/ 2147483646 w 114"/>
                    <a:gd name="T25" fmla="*/ 0 h 24"/>
                    <a:gd name="T26" fmla="*/ 2147483646 w 114"/>
                    <a:gd name="T27" fmla="*/ 0 h 24"/>
                    <a:gd name="T28" fmla="*/ 2147483646 w 114"/>
                    <a:gd name="T29" fmla="*/ 2147483646 h 24"/>
                    <a:gd name="T30" fmla="*/ 2147483646 w 114"/>
                    <a:gd name="T31" fmla="*/ 2147483646 h 24"/>
                    <a:gd name="T32" fmla="*/ 2147483646 w 114"/>
                    <a:gd name="T33" fmla="*/ 2147483646 h 24"/>
                    <a:gd name="T34" fmla="*/ 2147483646 w 114"/>
                    <a:gd name="T35" fmla="*/ 2147483646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4"/>
                    <a:gd name="T55" fmla="*/ 0 h 24"/>
                    <a:gd name="T56" fmla="*/ 114 w 114"/>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4" h="24">
                      <a:moveTo>
                        <a:pt x="114" y="10"/>
                      </a:moveTo>
                      <a:lnTo>
                        <a:pt x="114" y="10"/>
                      </a:lnTo>
                      <a:lnTo>
                        <a:pt x="90" y="16"/>
                      </a:lnTo>
                      <a:lnTo>
                        <a:pt x="60" y="22"/>
                      </a:lnTo>
                      <a:lnTo>
                        <a:pt x="44" y="24"/>
                      </a:lnTo>
                      <a:lnTo>
                        <a:pt x="30" y="24"/>
                      </a:lnTo>
                      <a:lnTo>
                        <a:pt x="14" y="22"/>
                      </a:lnTo>
                      <a:lnTo>
                        <a:pt x="0" y="20"/>
                      </a:lnTo>
                      <a:lnTo>
                        <a:pt x="12" y="18"/>
                      </a:lnTo>
                      <a:lnTo>
                        <a:pt x="42" y="12"/>
                      </a:lnTo>
                      <a:lnTo>
                        <a:pt x="80" y="6"/>
                      </a:lnTo>
                      <a:lnTo>
                        <a:pt x="112" y="0"/>
                      </a:lnTo>
                      <a:lnTo>
                        <a:pt x="112" y="2"/>
                      </a:lnTo>
                      <a:lnTo>
                        <a:pt x="114" y="6"/>
                      </a:lnTo>
                      <a:lnTo>
                        <a:pt x="11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81" name="Freeform 131"/>
                <p:cNvSpPr>
                  <a:spLocks/>
                </p:cNvSpPr>
                <p:nvPr/>
              </p:nvSpPr>
              <p:spPr bwMode="auto">
                <a:xfrm>
                  <a:off x="5659440" y="3629016"/>
                  <a:ext cx="355600" cy="82550"/>
                </a:xfrm>
                <a:custGeom>
                  <a:avLst/>
                  <a:gdLst>
                    <a:gd name="T0" fmla="*/ 2147483646 w 224"/>
                    <a:gd name="T1" fmla="*/ 0 h 52"/>
                    <a:gd name="T2" fmla="*/ 2147483646 w 224"/>
                    <a:gd name="T3" fmla="*/ 0 h 52"/>
                    <a:gd name="T4" fmla="*/ 2147483646 w 224"/>
                    <a:gd name="T5" fmla="*/ 2147483646 h 52"/>
                    <a:gd name="T6" fmla="*/ 2147483646 w 224"/>
                    <a:gd name="T7" fmla="*/ 2147483646 h 52"/>
                    <a:gd name="T8" fmla="*/ 2147483646 w 224"/>
                    <a:gd name="T9" fmla="*/ 2147483646 h 52"/>
                    <a:gd name="T10" fmla="*/ 2147483646 w 224"/>
                    <a:gd name="T11" fmla="*/ 2147483646 h 52"/>
                    <a:gd name="T12" fmla="*/ 2147483646 w 224"/>
                    <a:gd name="T13" fmla="*/ 2147483646 h 52"/>
                    <a:gd name="T14" fmla="*/ 2147483646 w 224"/>
                    <a:gd name="T15" fmla="*/ 2147483646 h 52"/>
                    <a:gd name="T16" fmla="*/ 2147483646 w 224"/>
                    <a:gd name="T17" fmla="*/ 2147483646 h 52"/>
                    <a:gd name="T18" fmla="*/ 2147483646 w 224"/>
                    <a:gd name="T19" fmla="*/ 2147483646 h 52"/>
                    <a:gd name="T20" fmla="*/ 2147483646 w 224"/>
                    <a:gd name="T21" fmla="*/ 2147483646 h 52"/>
                    <a:gd name="T22" fmla="*/ 2147483646 w 224"/>
                    <a:gd name="T23" fmla="*/ 2147483646 h 52"/>
                    <a:gd name="T24" fmla="*/ 2147483646 w 224"/>
                    <a:gd name="T25" fmla="*/ 2147483646 h 52"/>
                    <a:gd name="T26" fmla="*/ 2147483646 w 224"/>
                    <a:gd name="T27" fmla="*/ 2147483646 h 52"/>
                    <a:gd name="T28" fmla="*/ 2147483646 w 224"/>
                    <a:gd name="T29" fmla="*/ 2147483646 h 52"/>
                    <a:gd name="T30" fmla="*/ 2147483646 w 224"/>
                    <a:gd name="T31" fmla="*/ 2147483646 h 52"/>
                    <a:gd name="T32" fmla="*/ 2147483646 w 224"/>
                    <a:gd name="T33" fmla="*/ 2147483646 h 52"/>
                    <a:gd name="T34" fmla="*/ 2147483646 w 224"/>
                    <a:gd name="T35" fmla="*/ 2147483646 h 52"/>
                    <a:gd name="T36" fmla="*/ 2147483646 w 224"/>
                    <a:gd name="T37" fmla="*/ 2147483646 h 52"/>
                    <a:gd name="T38" fmla="*/ 2147483646 w 224"/>
                    <a:gd name="T39" fmla="*/ 2147483646 h 52"/>
                    <a:gd name="T40" fmla="*/ 2147483646 w 224"/>
                    <a:gd name="T41" fmla="*/ 2147483646 h 52"/>
                    <a:gd name="T42" fmla="*/ 2147483646 w 224"/>
                    <a:gd name="T43" fmla="*/ 2147483646 h 52"/>
                    <a:gd name="T44" fmla="*/ 2147483646 w 224"/>
                    <a:gd name="T45" fmla="*/ 2147483646 h 52"/>
                    <a:gd name="T46" fmla="*/ 0 w 224"/>
                    <a:gd name="T47" fmla="*/ 0 h 52"/>
                    <a:gd name="T48" fmla="*/ 0 w 224"/>
                    <a:gd name="T49" fmla="*/ 0 h 52"/>
                    <a:gd name="T50" fmla="*/ 2147483646 w 224"/>
                    <a:gd name="T51" fmla="*/ 2147483646 h 52"/>
                    <a:gd name="T52" fmla="*/ 2147483646 w 224"/>
                    <a:gd name="T53" fmla="*/ 2147483646 h 52"/>
                    <a:gd name="T54" fmla="*/ 2147483646 w 224"/>
                    <a:gd name="T55" fmla="*/ 2147483646 h 52"/>
                    <a:gd name="T56" fmla="*/ 2147483646 w 224"/>
                    <a:gd name="T57" fmla="*/ 2147483646 h 52"/>
                    <a:gd name="T58" fmla="*/ 2147483646 w 224"/>
                    <a:gd name="T59" fmla="*/ 0 h 52"/>
                    <a:gd name="T60" fmla="*/ 2147483646 w 224"/>
                    <a:gd name="T61" fmla="*/ 0 h 5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4"/>
                    <a:gd name="T94" fmla="*/ 0 h 52"/>
                    <a:gd name="T95" fmla="*/ 224 w 224"/>
                    <a:gd name="T96" fmla="*/ 52 h 5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4" h="52">
                      <a:moveTo>
                        <a:pt x="224" y="0"/>
                      </a:moveTo>
                      <a:lnTo>
                        <a:pt x="224" y="0"/>
                      </a:lnTo>
                      <a:lnTo>
                        <a:pt x="208" y="14"/>
                      </a:lnTo>
                      <a:lnTo>
                        <a:pt x="192" y="24"/>
                      </a:lnTo>
                      <a:lnTo>
                        <a:pt x="174" y="34"/>
                      </a:lnTo>
                      <a:lnTo>
                        <a:pt x="154" y="40"/>
                      </a:lnTo>
                      <a:lnTo>
                        <a:pt x="136" y="44"/>
                      </a:lnTo>
                      <a:lnTo>
                        <a:pt x="116" y="48"/>
                      </a:lnTo>
                      <a:lnTo>
                        <a:pt x="78" y="52"/>
                      </a:lnTo>
                      <a:lnTo>
                        <a:pt x="90" y="48"/>
                      </a:lnTo>
                      <a:lnTo>
                        <a:pt x="124" y="40"/>
                      </a:lnTo>
                      <a:lnTo>
                        <a:pt x="144" y="34"/>
                      </a:lnTo>
                      <a:lnTo>
                        <a:pt x="164" y="26"/>
                      </a:lnTo>
                      <a:lnTo>
                        <a:pt x="184" y="18"/>
                      </a:lnTo>
                      <a:lnTo>
                        <a:pt x="198" y="8"/>
                      </a:lnTo>
                      <a:lnTo>
                        <a:pt x="142" y="12"/>
                      </a:lnTo>
                      <a:lnTo>
                        <a:pt x="76" y="10"/>
                      </a:lnTo>
                      <a:lnTo>
                        <a:pt x="46" y="10"/>
                      </a:lnTo>
                      <a:lnTo>
                        <a:pt x="22" y="8"/>
                      </a:lnTo>
                      <a:lnTo>
                        <a:pt x="6" y="4"/>
                      </a:lnTo>
                      <a:lnTo>
                        <a:pt x="2" y="2"/>
                      </a:lnTo>
                      <a:lnTo>
                        <a:pt x="0" y="0"/>
                      </a:lnTo>
                      <a:lnTo>
                        <a:pt x="26" y="4"/>
                      </a:lnTo>
                      <a:lnTo>
                        <a:pt x="58" y="4"/>
                      </a:lnTo>
                      <a:lnTo>
                        <a:pt x="132" y="4"/>
                      </a:lnTo>
                      <a:lnTo>
                        <a:pt x="196" y="2"/>
                      </a:lnTo>
                      <a:lnTo>
                        <a:pt x="2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82" name="Freeform 132"/>
                <p:cNvSpPr>
                  <a:spLocks/>
                </p:cNvSpPr>
                <p:nvPr/>
              </p:nvSpPr>
              <p:spPr bwMode="auto">
                <a:xfrm>
                  <a:off x="6170615" y="3638541"/>
                  <a:ext cx="101600" cy="19050"/>
                </a:xfrm>
                <a:custGeom>
                  <a:avLst/>
                  <a:gdLst>
                    <a:gd name="T0" fmla="*/ 2147483646 w 64"/>
                    <a:gd name="T1" fmla="*/ 0 h 12"/>
                    <a:gd name="T2" fmla="*/ 2147483646 w 64"/>
                    <a:gd name="T3" fmla="*/ 0 h 12"/>
                    <a:gd name="T4" fmla="*/ 2147483646 w 64"/>
                    <a:gd name="T5" fmla="*/ 2147483646 h 12"/>
                    <a:gd name="T6" fmla="*/ 2147483646 w 64"/>
                    <a:gd name="T7" fmla="*/ 2147483646 h 12"/>
                    <a:gd name="T8" fmla="*/ 2147483646 w 64"/>
                    <a:gd name="T9" fmla="*/ 2147483646 h 12"/>
                    <a:gd name="T10" fmla="*/ 2147483646 w 64"/>
                    <a:gd name="T11" fmla="*/ 2147483646 h 12"/>
                    <a:gd name="T12" fmla="*/ 2147483646 w 64"/>
                    <a:gd name="T13" fmla="*/ 2147483646 h 12"/>
                    <a:gd name="T14" fmla="*/ 0 w 64"/>
                    <a:gd name="T15" fmla="*/ 2147483646 h 12"/>
                    <a:gd name="T16" fmla="*/ 0 w 64"/>
                    <a:gd name="T17" fmla="*/ 2147483646 h 12"/>
                    <a:gd name="T18" fmla="*/ 0 w 64"/>
                    <a:gd name="T19" fmla="*/ 2147483646 h 12"/>
                    <a:gd name="T20" fmla="*/ 2147483646 w 64"/>
                    <a:gd name="T21" fmla="*/ 2147483646 h 12"/>
                    <a:gd name="T22" fmla="*/ 2147483646 w 64"/>
                    <a:gd name="T23" fmla="*/ 0 h 12"/>
                    <a:gd name="T24" fmla="*/ 2147483646 w 64"/>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12"/>
                    <a:gd name="T41" fmla="*/ 64 w 64"/>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12">
                      <a:moveTo>
                        <a:pt x="64" y="0"/>
                      </a:moveTo>
                      <a:lnTo>
                        <a:pt x="64" y="0"/>
                      </a:lnTo>
                      <a:lnTo>
                        <a:pt x="44" y="6"/>
                      </a:lnTo>
                      <a:lnTo>
                        <a:pt x="24" y="10"/>
                      </a:lnTo>
                      <a:lnTo>
                        <a:pt x="14" y="12"/>
                      </a:lnTo>
                      <a:lnTo>
                        <a:pt x="2" y="12"/>
                      </a:lnTo>
                      <a:lnTo>
                        <a:pt x="0" y="8"/>
                      </a:lnTo>
                      <a:lnTo>
                        <a:pt x="0" y="4"/>
                      </a:lnTo>
                      <a:lnTo>
                        <a:pt x="32" y="4"/>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83" name="Freeform 133"/>
                <p:cNvSpPr>
                  <a:spLocks/>
                </p:cNvSpPr>
                <p:nvPr/>
              </p:nvSpPr>
              <p:spPr bwMode="auto">
                <a:xfrm>
                  <a:off x="5729290" y="3736966"/>
                  <a:ext cx="263525" cy="82550"/>
                </a:xfrm>
                <a:custGeom>
                  <a:avLst/>
                  <a:gdLst>
                    <a:gd name="T0" fmla="*/ 2147483646 w 166"/>
                    <a:gd name="T1" fmla="*/ 0 h 52"/>
                    <a:gd name="T2" fmla="*/ 2147483646 w 166"/>
                    <a:gd name="T3" fmla="*/ 0 h 52"/>
                    <a:gd name="T4" fmla="*/ 2147483646 w 166"/>
                    <a:gd name="T5" fmla="*/ 2147483646 h 52"/>
                    <a:gd name="T6" fmla="*/ 2147483646 w 166"/>
                    <a:gd name="T7" fmla="*/ 2147483646 h 52"/>
                    <a:gd name="T8" fmla="*/ 2147483646 w 166"/>
                    <a:gd name="T9" fmla="*/ 2147483646 h 52"/>
                    <a:gd name="T10" fmla="*/ 2147483646 w 166"/>
                    <a:gd name="T11" fmla="*/ 2147483646 h 52"/>
                    <a:gd name="T12" fmla="*/ 2147483646 w 166"/>
                    <a:gd name="T13" fmla="*/ 2147483646 h 52"/>
                    <a:gd name="T14" fmla="*/ 2147483646 w 166"/>
                    <a:gd name="T15" fmla="*/ 2147483646 h 52"/>
                    <a:gd name="T16" fmla="*/ 2147483646 w 166"/>
                    <a:gd name="T17" fmla="*/ 2147483646 h 52"/>
                    <a:gd name="T18" fmla="*/ 2147483646 w 166"/>
                    <a:gd name="T19" fmla="*/ 2147483646 h 52"/>
                    <a:gd name="T20" fmla="*/ 2147483646 w 166"/>
                    <a:gd name="T21" fmla="*/ 2147483646 h 52"/>
                    <a:gd name="T22" fmla="*/ 2147483646 w 166"/>
                    <a:gd name="T23" fmla="*/ 2147483646 h 52"/>
                    <a:gd name="T24" fmla="*/ 2147483646 w 166"/>
                    <a:gd name="T25" fmla="*/ 2147483646 h 52"/>
                    <a:gd name="T26" fmla="*/ 2147483646 w 166"/>
                    <a:gd name="T27" fmla="*/ 2147483646 h 52"/>
                    <a:gd name="T28" fmla="*/ 2147483646 w 166"/>
                    <a:gd name="T29" fmla="*/ 2147483646 h 52"/>
                    <a:gd name="T30" fmla="*/ 2147483646 w 166"/>
                    <a:gd name="T31" fmla="*/ 2147483646 h 52"/>
                    <a:gd name="T32" fmla="*/ 2147483646 w 166"/>
                    <a:gd name="T33" fmla="*/ 2147483646 h 52"/>
                    <a:gd name="T34" fmla="*/ 2147483646 w 166"/>
                    <a:gd name="T35" fmla="*/ 2147483646 h 52"/>
                    <a:gd name="T36" fmla="*/ 2147483646 w 166"/>
                    <a:gd name="T37" fmla="*/ 2147483646 h 52"/>
                    <a:gd name="T38" fmla="*/ 2147483646 w 166"/>
                    <a:gd name="T39" fmla="*/ 2147483646 h 52"/>
                    <a:gd name="T40" fmla="*/ 2147483646 w 166"/>
                    <a:gd name="T41" fmla="*/ 2147483646 h 52"/>
                    <a:gd name="T42" fmla="*/ 2147483646 w 166"/>
                    <a:gd name="T43" fmla="*/ 2147483646 h 52"/>
                    <a:gd name="T44" fmla="*/ 2147483646 w 166"/>
                    <a:gd name="T45" fmla="*/ 2147483646 h 52"/>
                    <a:gd name="T46" fmla="*/ 2147483646 w 166"/>
                    <a:gd name="T47" fmla="*/ 2147483646 h 52"/>
                    <a:gd name="T48" fmla="*/ 2147483646 w 166"/>
                    <a:gd name="T49" fmla="*/ 2147483646 h 52"/>
                    <a:gd name="T50" fmla="*/ 2147483646 w 166"/>
                    <a:gd name="T51" fmla="*/ 2147483646 h 52"/>
                    <a:gd name="T52" fmla="*/ 0 w 166"/>
                    <a:gd name="T53" fmla="*/ 2147483646 h 52"/>
                    <a:gd name="T54" fmla="*/ 0 w 166"/>
                    <a:gd name="T55" fmla="*/ 2147483646 h 52"/>
                    <a:gd name="T56" fmla="*/ 2147483646 w 166"/>
                    <a:gd name="T57" fmla="*/ 2147483646 h 52"/>
                    <a:gd name="T58" fmla="*/ 2147483646 w 166"/>
                    <a:gd name="T59" fmla="*/ 2147483646 h 52"/>
                    <a:gd name="T60" fmla="*/ 2147483646 w 166"/>
                    <a:gd name="T61" fmla="*/ 0 h 52"/>
                    <a:gd name="T62" fmla="*/ 2147483646 w 166"/>
                    <a:gd name="T63" fmla="*/ 0 h 52"/>
                    <a:gd name="T64" fmla="*/ 2147483646 w 166"/>
                    <a:gd name="T65" fmla="*/ 0 h 52"/>
                    <a:gd name="T66" fmla="*/ 2147483646 w 166"/>
                    <a:gd name="T67" fmla="*/ 0 h 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6"/>
                    <a:gd name="T103" fmla="*/ 0 h 52"/>
                    <a:gd name="T104" fmla="*/ 166 w 166"/>
                    <a:gd name="T105" fmla="*/ 52 h 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6" h="52">
                      <a:moveTo>
                        <a:pt x="148" y="0"/>
                      </a:moveTo>
                      <a:lnTo>
                        <a:pt x="148" y="0"/>
                      </a:lnTo>
                      <a:lnTo>
                        <a:pt x="146" y="4"/>
                      </a:lnTo>
                      <a:lnTo>
                        <a:pt x="138" y="10"/>
                      </a:lnTo>
                      <a:lnTo>
                        <a:pt x="112" y="22"/>
                      </a:lnTo>
                      <a:lnTo>
                        <a:pt x="80" y="36"/>
                      </a:lnTo>
                      <a:lnTo>
                        <a:pt x="52" y="42"/>
                      </a:lnTo>
                      <a:lnTo>
                        <a:pt x="84" y="44"/>
                      </a:lnTo>
                      <a:lnTo>
                        <a:pt x="122" y="44"/>
                      </a:lnTo>
                      <a:lnTo>
                        <a:pt x="152" y="42"/>
                      </a:lnTo>
                      <a:lnTo>
                        <a:pt x="166" y="44"/>
                      </a:lnTo>
                      <a:lnTo>
                        <a:pt x="144" y="48"/>
                      </a:lnTo>
                      <a:lnTo>
                        <a:pt x="102" y="50"/>
                      </a:lnTo>
                      <a:lnTo>
                        <a:pt x="56" y="52"/>
                      </a:lnTo>
                      <a:lnTo>
                        <a:pt x="36" y="50"/>
                      </a:lnTo>
                      <a:lnTo>
                        <a:pt x="22" y="46"/>
                      </a:lnTo>
                      <a:lnTo>
                        <a:pt x="32" y="42"/>
                      </a:lnTo>
                      <a:lnTo>
                        <a:pt x="60" y="34"/>
                      </a:lnTo>
                      <a:lnTo>
                        <a:pt x="92" y="24"/>
                      </a:lnTo>
                      <a:lnTo>
                        <a:pt x="118" y="14"/>
                      </a:lnTo>
                      <a:lnTo>
                        <a:pt x="60" y="16"/>
                      </a:lnTo>
                      <a:lnTo>
                        <a:pt x="28" y="16"/>
                      </a:lnTo>
                      <a:lnTo>
                        <a:pt x="0" y="14"/>
                      </a:lnTo>
                      <a:lnTo>
                        <a:pt x="20" y="10"/>
                      </a:lnTo>
                      <a:lnTo>
                        <a:pt x="68" y="4"/>
                      </a:lnTo>
                      <a:lnTo>
                        <a:pt x="120" y="0"/>
                      </a:lnTo>
                      <a:lnTo>
                        <a:pt x="138" y="0"/>
                      </a:lnTo>
                      <a:lnTo>
                        <a:pt x="1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84" name="Freeform 134"/>
                <p:cNvSpPr>
                  <a:spLocks/>
                </p:cNvSpPr>
                <p:nvPr/>
              </p:nvSpPr>
              <p:spPr bwMode="auto">
                <a:xfrm>
                  <a:off x="5291140" y="3841741"/>
                  <a:ext cx="314325" cy="25400"/>
                </a:xfrm>
                <a:custGeom>
                  <a:avLst/>
                  <a:gdLst>
                    <a:gd name="T0" fmla="*/ 2147483646 w 198"/>
                    <a:gd name="T1" fmla="*/ 2147483646 h 16"/>
                    <a:gd name="T2" fmla="*/ 2147483646 w 198"/>
                    <a:gd name="T3" fmla="*/ 2147483646 h 16"/>
                    <a:gd name="T4" fmla="*/ 2147483646 w 198"/>
                    <a:gd name="T5" fmla="*/ 2147483646 h 16"/>
                    <a:gd name="T6" fmla="*/ 2147483646 w 198"/>
                    <a:gd name="T7" fmla="*/ 2147483646 h 16"/>
                    <a:gd name="T8" fmla="*/ 2147483646 w 198"/>
                    <a:gd name="T9" fmla="*/ 2147483646 h 16"/>
                    <a:gd name="T10" fmla="*/ 2147483646 w 198"/>
                    <a:gd name="T11" fmla="*/ 2147483646 h 16"/>
                    <a:gd name="T12" fmla="*/ 2147483646 w 198"/>
                    <a:gd name="T13" fmla="*/ 2147483646 h 16"/>
                    <a:gd name="T14" fmla="*/ 2147483646 w 198"/>
                    <a:gd name="T15" fmla="*/ 2147483646 h 16"/>
                    <a:gd name="T16" fmla="*/ 2147483646 w 198"/>
                    <a:gd name="T17" fmla="*/ 2147483646 h 16"/>
                    <a:gd name="T18" fmla="*/ 2147483646 w 198"/>
                    <a:gd name="T19" fmla="*/ 2147483646 h 16"/>
                    <a:gd name="T20" fmla="*/ 2147483646 w 198"/>
                    <a:gd name="T21" fmla="*/ 2147483646 h 16"/>
                    <a:gd name="T22" fmla="*/ 2147483646 w 198"/>
                    <a:gd name="T23" fmla="*/ 2147483646 h 16"/>
                    <a:gd name="T24" fmla="*/ 2147483646 w 198"/>
                    <a:gd name="T25" fmla="*/ 2147483646 h 16"/>
                    <a:gd name="T26" fmla="*/ 0 w 198"/>
                    <a:gd name="T27" fmla="*/ 0 h 16"/>
                    <a:gd name="T28" fmla="*/ 0 w 198"/>
                    <a:gd name="T29" fmla="*/ 0 h 16"/>
                    <a:gd name="T30" fmla="*/ 2147483646 w 198"/>
                    <a:gd name="T31" fmla="*/ 2147483646 h 16"/>
                    <a:gd name="T32" fmla="*/ 2147483646 w 198"/>
                    <a:gd name="T33" fmla="*/ 2147483646 h 16"/>
                    <a:gd name="T34" fmla="*/ 2147483646 w 198"/>
                    <a:gd name="T35" fmla="*/ 2147483646 h 16"/>
                    <a:gd name="T36" fmla="*/ 2147483646 w 198"/>
                    <a:gd name="T37" fmla="*/ 2147483646 h 16"/>
                    <a:gd name="T38" fmla="*/ 2147483646 w 198"/>
                    <a:gd name="T39" fmla="*/ 2147483646 h 16"/>
                    <a:gd name="T40" fmla="*/ 2147483646 w 198"/>
                    <a:gd name="T41" fmla="*/ 2147483646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8"/>
                    <a:gd name="T64" fmla="*/ 0 h 16"/>
                    <a:gd name="T65" fmla="*/ 198 w 198"/>
                    <a:gd name="T66" fmla="*/ 16 h 1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8" h="16">
                      <a:moveTo>
                        <a:pt x="198" y="4"/>
                      </a:moveTo>
                      <a:lnTo>
                        <a:pt x="198" y="4"/>
                      </a:lnTo>
                      <a:lnTo>
                        <a:pt x="198" y="6"/>
                      </a:lnTo>
                      <a:lnTo>
                        <a:pt x="198" y="8"/>
                      </a:lnTo>
                      <a:lnTo>
                        <a:pt x="194" y="12"/>
                      </a:lnTo>
                      <a:lnTo>
                        <a:pt x="168" y="16"/>
                      </a:lnTo>
                      <a:lnTo>
                        <a:pt x="138" y="16"/>
                      </a:lnTo>
                      <a:lnTo>
                        <a:pt x="108" y="16"/>
                      </a:lnTo>
                      <a:lnTo>
                        <a:pt x="76" y="14"/>
                      </a:lnTo>
                      <a:lnTo>
                        <a:pt x="48" y="10"/>
                      </a:lnTo>
                      <a:lnTo>
                        <a:pt x="24" y="8"/>
                      </a:lnTo>
                      <a:lnTo>
                        <a:pt x="6" y="4"/>
                      </a:lnTo>
                      <a:lnTo>
                        <a:pt x="0" y="0"/>
                      </a:lnTo>
                      <a:lnTo>
                        <a:pt x="40" y="4"/>
                      </a:lnTo>
                      <a:lnTo>
                        <a:pt x="96" y="6"/>
                      </a:lnTo>
                      <a:lnTo>
                        <a:pt x="152" y="8"/>
                      </a:lnTo>
                      <a:lnTo>
                        <a:pt x="178" y="6"/>
                      </a:lnTo>
                      <a:lnTo>
                        <a:pt x="19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85" name="Freeform 135"/>
                <p:cNvSpPr>
                  <a:spLocks/>
                </p:cNvSpPr>
                <p:nvPr/>
              </p:nvSpPr>
              <p:spPr bwMode="auto">
                <a:xfrm>
                  <a:off x="5802315" y="3870316"/>
                  <a:ext cx="193675" cy="12700"/>
                </a:xfrm>
                <a:custGeom>
                  <a:avLst/>
                  <a:gdLst>
                    <a:gd name="T0" fmla="*/ 2147483646 w 122"/>
                    <a:gd name="T1" fmla="*/ 0 h 8"/>
                    <a:gd name="T2" fmla="*/ 2147483646 w 122"/>
                    <a:gd name="T3" fmla="*/ 0 h 8"/>
                    <a:gd name="T4" fmla="*/ 2147483646 w 122"/>
                    <a:gd name="T5" fmla="*/ 2147483646 h 8"/>
                    <a:gd name="T6" fmla="*/ 2147483646 w 122"/>
                    <a:gd name="T7" fmla="*/ 2147483646 h 8"/>
                    <a:gd name="T8" fmla="*/ 2147483646 w 122"/>
                    <a:gd name="T9" fmla="*/ 2147483646 h 8"/>
                    <a:gd name="T10" fmla="*/ 2147483646 w 122"/>
                    <a:gd name="T11" fmla="*/ 2147483646 h 8"/>
                    <a:gd name="T12" fmla="*/ 2147483646 w 122"/>
                    <a:gd name="T13" fmla="*/ 2147483646 h 8"/>
                    <a:gd name="T14" fmla="*/ 0 w 122"/>
                    <a:gd name="T15" fmla="*/ 2147483646 h 8"/>
                    <a:gd name="T16" fmla="*/ 2147483646 w 122"/>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2"/>
                    <a:gd name="T28" fmla="*/ 0 h 8"/>
                    <a:gd name="T29" fmla="*/ 122 w 122"/>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2" h="8">
                      <a:moveTo>
                        <a:pt x="122" y="0"/>
                      </a:moveTo>
                      <a:lnTo>
                        <a:pt x="122" y="0"/>
                      </a:lnTo>
                      <a:lnTo>
                        <a:pt x="110" y="4"/>
                      </a:lnTo>
                      <a:lnTo>
                        <a:pt x="96" y="6"/>
                      </a:lnTo>
                      <a:lnTo>
                        <a:pt x="56" y="8"/>
                      </a:lnTo>
                      <a:lnTo>
                        <a:pt x="20" y="8"/>
                      </a:lnTo>
                      <a:lnTo>
                        <a:pt x="8" y="6"/>
                      </a:lnTo>
                      <a:lnTo>
                        <a:pt x="0" y="2"/>
                      </a:lnTo>
                      <a:lnTo>
                        <a:pt x="12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sp>
              <p:nvSpPr>
                <p:cNvPr id="2286" name="Freeform 136"/>
                <p:cNvSpPr>
                  <a:spLocks/>
                </p:cNvSpPr>
                <p:nvPr/>
              </p:nvSpPr>
              <p:spPr bwMode="auto">
                <a:xfrm>
                  <a:off x="5437190" y="3911591"/>
                  <a:ext cx="142875" cy="12700"/>
                </a:xfrm>
                <a:custGeom>
                  <a:avLst/>
                  <a:gdLst>
                    <a:gd name="T0" fmla="*/ 2147483646 w 90"/>
                    <a:gd name="T1" fmla="*/ 0 h 8"/>
                    <a:gd name="T2" fmla="*/ 2147483646 w 90"/>
                    <a:gd name="T3" fmla="*/ 0 h 8"/>
                    <a:gd name="T4" fmla="*/ 2147483646 w 90"/>
                    <a:gd name="T5" fmla="*/ 2147483646 h 8"/>
                    <a:gd name="T6" fmla="*/ 2147483646 w 90"/>
                    <a:gd name="T7" fmla="*/ 2147483646 h 8"/>
                    <a:gd name="T8" fmla="*/ 2147483646 w 90"/>
                    <a:gd name="T9" fmla="*/ 2147483646 h 8"/>
                    <a:gd name="T10" fmla="*/ 2147483646 w 90"/>
                    <a:gd name="T11" fmla="*/ 2147483646 h 8"/>
                    <a:gd name="T12" fmla="*/ 0 w 90"/>
                    <a:gd name="T13" fmla="*/ 2147483646 h 8"/>
                    <a:gd name="T14" fmla="*/ 0 w 90"/>
                    <a:gd name="T15" fmla="*/ 2147483646 h 8"/>
                    <a:gd name="T16" fmla="*/ 0 w 90"/>
                    <a:gd name="T17" fmla="*/ 2147483646 h 8"/>
                    <a:gd name="T18" fmla="*/ 2147483646 w 90"/>
                    <a:gd name="T19" fmla="*/ 0 h 8"/>
                    <a:gd name="T20" fmla="*/ 2147483646 w 90"/>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0"/>
                    <a:gd name="T34" fmla="*/ 0 h 8"/>
                    <a:gd name="T35" fmla="*/ 90 w 90"/>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0" h="8">
                      <a:moveTo>
                        <a:pt x="90" y="0"/>
                      </a:moveTo>
                      <a:lnTo>
                        <a:pt x="90" y="0"/>
                      </a:lnTo>
                      <a:lnTo>
                        <a:pt x="84" y="2"/>
                      </a:lnTo>
                      <a:lnTo>
                        <a:pt x="72" y="4"/>
                      </a:lnTo>
                      <a:lnTo>
                        <a:pt x="48" y="8"/>
                      </a:lnTo>
                      <a:lnTo>
                        <a:pt x="20" y="8"/>
                      </a:lnTo>
                      <a:lnTo>
                        <a:pt x="0" y="8"/>
                      </a:lnTo>
                      <a:lnTo>
                        <a:pt x="0" y="2"/>
                      </a:lnTo>
                      <a:lnTo>
                        <a:pt x="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007943" eaLnBrk="0" fontAlgn="base" hangingPunct="0">
                    <a:spcBef>
                      <a:spcPct val="0"/>
                    </a:spcBef>
                    <a:spcAft>
                      <a:spcPct val="0"/>
                    </a:spcAft>
                  </a:pPr>
                  <a:endParaRPr lang="ja-JP" altLang="en-US" sz="1984">
                    <a:solidFill>
                      <a:prstClr val="black"/>
                    </a:solidFill>
                    <a:latin typeface="Calibri" panose="020F0502020204030204" pitchFamily="34" charset="0"/>
                    <a:ea typeface="ＭＳ Ｐゴシック" panose="020B0600070205080204" pitchFamily="50" charset="-128"/>
                  </a:endParaRPr>
                </a:p>
              </p:txBody>
            </p:sp>
          </p:grpSp>
        </p:grpSp>
      </p:grpSp>
      <p:sp>
        <p:nvSpPr>
          <p:cNvPr id="487" name="角丸四角形 486"/>
          <p:cNvSpPr/>
          <p:nvPr/>
        </p:nvSpPr>
        <p:spPr>
          <a:xfrm>
            <a:off x="8621766" y="1966916"/>
            <a:ext cx="1641429" cy="1921417"/>
          </a:xfrm>
          <a:prstGeom prst="roundRect">
            <a:avLst>
              <a:gd name="adj" fmla="val 236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bIns="0" anchor="b"/>
          <a:lstStyle/>
          <a:p>
            <a:pPr algn="ctr" defTabSz="1007943" eaLnBrk="0" hangingPunct="0">
              <a:defRPr/>
            </a:pPr>
            <a:r>
              <a:rPr lang="ja-JP" altLang="en-US" sz="772" dirty="0">
                <a:solidFill>
                  <a:prstClr val="black"/>
                </a:solidFill>
                <a:latin typeface="Calibri"/>
                <a:ea typeface="ＭＳ Ｐゴシック" panose="020B0600070205080204" pitchFamily="50" charset="-128"/>
              </a:rPr>
              <a:t>産業へのエネルギー供給</a:t>
            </a:r>
            <a:endParaRPr lang="en-US" altLang="ja-JP" sz="1323" dirty="0">
              <a:solidFill>
                <a:prstClr val="black"/>
              </a:solidFill>
              <a:latin typeface="Calibri"/>
              <a:ea typeface="ＭＳ Ｐゴシック" panose="020B0600070205080204" pitchFamily="50" charset="-128"/>
            </a:endParaRPr>
          </a:p>
        </p:txBody>
      </p:sp>
      <p:pic>
        <p:nvPicPr>
          <p:cNvPr id="2175" name="Picture 47" descr="ビニールハウスイラスト"/>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412731" y="2112160"/>
            <a:ext cx="698221" cy="519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76" name="Picture 45" descr="イラスト"/>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686513" y="2183906"/>
            <a:ext cx="414732" cy="386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77" name="テキスト ボックス 2"/>
          <p:cNvSpPr txBox="1">
            <a:spLocks noChangeArrowheads="1"/>
          </p:cNvSpPr>
          <p:nvPr/>
        </p:nvSpPr>
        <p:spPr bwMode="auto">
          <a:xfrm>
            <a:off x="8546520" y="1940667"/>
            <a:ext cx="799715" cy="32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fontAlgn="base">
              <a:spcBef>
                <a:spcPct val="0"/>
              </a:spcBef>
              <a:spcAft>
                <a:spcPct val="0"/>
              </a:spcAft>
              <a:buNone/>
            </a:pPr>
            <a:r>
              <a:rPr lang="ja-JP" altLang="en-US" sz="772">
                <a:solidFill>
                  <a:prstClr val="black"/>
                </a:solidFill>
                <a:latin typeface="Cambria" panose="02040503050406030204" pitchFamily="18" charset="0"/>
                <a:ea typeface="メイリオ" panose="020B0604030504040204" pitchFamily="50" charset="-128"/>
              </a:rPr>
              <a:t>製造、加工</a:t>
            </a:r>
            <a:endParaRPr lang="en-US" altLang="ja-JP" sz="772">
              <a:solidFill>
                <a:prstClr val="black"/>
              </a:solidFill>
              <a:latin typeface="Cambria" panose="02040503050406030204" pitchFamily="18" charset="0"/>
              <a:ea typeface="メイリオ" panose="020B0604030504040204" pitchFamily="50" charset="-128"/>
            </a:endParaRPr>
          </a:p>
          <a:p>
            <a:pPr defTabSz="1007943" fontAlgn="base">
              <a:spcBef>
                <a:spcPct val="0"/>
              </a:spcBef>
              <a:spcAft>
                <a:spcPct val="0"/>
              </a:spcAft>
              <a:buNone/>
            </a:pPr>
            <a:r>
              <a:rPr lang="en-US" altLang="ja-JP" sz="772">
                <a:solidFill>
                  <a:prstClr val="black"/>
                </a:solidFill>
                <a:latin typeface="Cambria" panose="02040503050406030204" pitchFamily="18" charset="0"/>
                <a:ea typeface="メイリオ" panose="020B0604030504040204" pitchFamily="50" charset="-128"/>
              </a:rPr>
              <a:t>(</a:t>
            </a:r>
            <a:r>
              <a:rPr lang="ja-JP" altLang="en-US" sz="772">
                <a:solidFill>
                  <a:prstClr val="black"/>
                </a:solidFill>
                <a:latin typeface="Cambria" panose="02040503050406030204" pitchFamily="18" charset="0"/>
                <a:ea typeface="メイリオ" panose="020B0604030504040204" pitchFamily="50" charset="-128"/>
              </a:rPr>
              <a:t>高温利用）</a:t>
            </a:r>
          </a:p>
        </p:txBody>
      </p:sp>
      <p:pic>
        <p:nvPicPr>
          <p:cNvPr id="2178" name="Picture 47" descr="D:\Documents and Settings\URA01\デスクトップ\105.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747760" y="3008121"/>
            <a:ext cx="874962" cy="612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79" name="Picture 48" descr="D:\Documents and Settings\URA01\デスクトップ\新しいフォルダー (2)\9121_small.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438981" y="2855877"/>
            <a:ext cx="745468" cy="75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80" name="テキスト ボックス 56"/>
          <p:cNvSpPr txBox="1">
            <a:spLocks noChangeArrowheads="1"/>
          </p:cNvSpPr>
          <p:nvPr/>
        </p:nvSpPr>
        <p:spPr bwMode="auto">
          <a:xfrm>
            <a:off x="8588518" y="3547098"/>
            <a:ext cx="1760424" cy="24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fontAlgn="base">
              <a:spcBef>
                <a:spcPct val="0"/>
              </a:spcBef>
              <a:spcAft>
                <a:spcPct val="0"/>
              </a:spcAft>
              <a:buNone/>
            </a:pPr>
            <a:r>
              <a:rPr lang="ja-JP" altLang="en-US" sz="992" u="sng">
                <a:solidFill>
                  <a:prstClr val="black"/>
                </a:solidFill>
                <a:latin typeface="Cambria" panose="02040503050406030204" pitchFamily="18" charset="0"/>
                <a:ea typeface="メイリオ" panose="020B0604030504040204" pitchFamily="50" charset="-128"/>
              </a:rPr>
              <a:t>●工場等への大規模熱供給</a:t>
            </a:r>
          </a:p>
        </p:txBody>
      </p:sp>
      <p:sp>
        <p:nvSpPr>
          <p:cNvPr id="2181" name="テキスト ボックス 52"/>
          <p:cNvSpPr txBox="1">
            <a:spLocks noChangeArrowheads="1"/>
          </p:cNvSpPr>
          <p:nvPr/>
        </p:nvSpPr>
        <p:spPr bwMode="auto">
          <a:xfrm>
            <a:off x="9265737" y="1954666"/>
            <a:ext cx="1000957" cy="194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fontAlgn="base">
              <a:spcBef>
                <a:spcPct val="0"/>
              </a:spcBef>
              <a:spcAft>
                <a:spcPct val="0"/>
              </a:spcAft>
              <a:buNone/>
            </a:pPr>
            <a:r>
              <a:rPr lang="ja-JP" altLang="en-US" sz="661">
                <a:solidFill>
                  <a:prstClr val="black"/>
                </a:solidFill>
                <a:latin typeface="Cambria" panose="02040503050406030204" pitchFamily="18" charset="0"/>
                <a:ea typeface="メイリオ" panose="020B0604030504040204" pitchFamily="50" charset="-128"/>
              </a:rPr>
              <a:t>熱のカスケード利用</a:t>
            </a:r>
          </a:p>
        </p:txBody>
      </p:sp>
      <p:cxnSp>
        <p:nvCxnSpPr>
          <p:cNvPr id="107" name="直線矢印コネクタ 106"/>
          <p:cNvCxnSpPr/>
          <p:nvPr/>
        </p:nvCxnSpPr>
        <p:spPr>
          <a:xfrm flipV="1">
            <a:off x="9108244" y="2371149"/>
            <a:ext cx="251989" cy="22748"/>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2183" name="Picture 37" descr="D:\Documents and Settings\URA01\デスクトップ\04sikaku.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088996" y="2465645"/>
            <a:ext cx="463730" cy="28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84" name="テキスト ボックス 45"/>
          <p:cNvSpPr txBox="1">
            <a:spLocks noChangeArrowheads="1"/>
          </p:cNvSpPr>
          <p:nvPr/>
        </p:nvSpPr>
        <p:spPr bwMode="auto">
          <a:xfrm>
            <a:off x="8714512" y="2668635"/>
            <a:ext cx="1632679" cy="211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fontAlgn="base">
              <a:spcBef>
                <a:spcPct val="0"/>
              </a:spcBef>
              <a:spcAft>
                <a:spcPct val="0"/>
              </a:spcAft>
              <a:buNone/>
            </a:pPr>
            <a:r>
              <a:rPr lang="ja-JP" altLang="en-US" sz="772">
                <a:solidFill>
                  <a:prstClr val="black"/>
                </a:solidFill>
                <a:latin typeface="Cambria" panose="02040503050406030204" pitchFamily="18" charset="0"/>
                <a:ea typeface="メイリオ" panose="020B0604030504040204" pitchFamily="50" charset="-128"/>
              </a:rPr>
              <a:t>　生産</a:t>
            </a:r>
            <a:r>
              <a:rPr lang="en-US" altLang="ja-JP" sz="772">
                <a:solidFill>
                  <a:prstClr val="black"/>
                </a:solidFill>
                <a:latin typeface="Cambria" panose="02040503050406030204" pitchFamily="18" charset="0"/>
                <a:ea typeface="メイリオ" panose="020B0604030504040204" pitchFamily="50" charset="-128"/>
              </a:rPr>
              <a:t>(</a:t>
            </a:r>
            <a:r>
              <a:rPr lang="ja-JP" altLang="en-US" sz="772">
                <a:solidFill>
                  <a:prstClr val="black"/>
                </a:solidFill>
                <a:latin typeface="Cambria" panose="02040503050406030204" pitchFamily="18" charset="0"/>
                <a:ea typeface="メイリオ" panose="020B0604030504040204" pitchFamily="50" charset="-128"/>
              </a:rPr>
              <a:t>温室への低温利用等）</a:t>
            </a:r>
          </a:p>
        </p:txBody>
      </p:sp>
      <p:sp>
        <p:nvSpPr>
          <p:cNvPr id="2185" name="テキスト ボックス 15"/>
          <p:cNvSpPr txBox="1">
            <a:spLocks noChangeArrowheads="1"/>
          </p:cNvSpPr>
          <p:nvPr/>
        </p:nvSpPr>
        <p:spPr bwMode="auto">
          <a:xfrm>
            <a:off x="8621766" y="2778880"/>
            <a:ext cx="1615181" cy="211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defTabSz="1007943" fontAlgn="base">
              <a:spcBef>
                <a:spcPct val="0"/>
              </a:spcBef>
              <a:spcAft>
                <a:spcPct val="0"/>
              </a:spcAft>
              <a:buNone/>
            </a:pPr>
            <a:r>
              <a:rPr lang="ja-JP" altLang="en-US" sz="772" u="sng">
                <a:solidFill>
                  <a:prstClr val="black"/>
                </a:solidFill>
                <a:latin typeface="Cambria" panose="02040503050406030204" pitchFamily="18" charset="0"/>
                <a:ea typeface="メイリオ" panose="020B0604030504040204" pitchFamily="50" charset="-128"/>
              </a:rPr>
              <a:t>●熱需要施設の組み合わせ利用</a:t>
            </a:r>
          </a:p>
        </p:txBody>
      </p:sp>
      <p:sp>
        <p:nvSpPr>
          <p:cNvPr id="494" name="小波 493"/>
          <p:cNvSpPr/>
          <p:nvPr/>
        </p:nvSpPr>
        <p:spPr>
          <a:xfrm>
            <a:off x="5424653" y="7062696"/>
            <a:ext cx="4723046" cy="369235"/>
          </a:xfrm>
          <a:prstGeom prst="doubleWave">
            <a:avLst>
              <a:gd name="adj1" fmla="val 12500"/>
              <a:gd name="adj2" fmla="val 2997"/>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1007943">
              <a:defRPr/>
            </a:pPr>
            <a:r>
              <a:rPr lang="ja-JP" altLang="en-US" sz="1323" b="1" dirty="0">
                <a:solidFill>
                  <a:prstClr val="black"/>
                </a:solidFill>
                <a:latin typeface="Calibri"/>
                <a:ea typeface="ＭＳ Ｐゴシック" panose="020B0600070205080204" pitchFamily="50" charset="-128"/>
              </a:rPr>
              <a:t>廃棄物発電電力を有効活用</a:t>
            </a:r>
            <a:endParaRPr lang="ja-JP" altLang="en-US" sz="1213" b="1" dirty="0">
              <a:solidFill>
                <a:prstClr val="black"/>
              </a:solidFill>
              <a:latin typeface="Calibri"/>
              <a:ea typeface="ＭＳ Ｐゴシック" panose="020B0600070205080204" pitchFamily="50" charset="-128"/>
            </a:endParaRPr>
          </a:p>
        </p:txBody>
      </p:sp>
      <p:sp>
        <p:nvSpPr>
          <p:cNvPr id="495" name="正方形/長方形 494"/>
          <p:cNvSpPr/>
          <p:nvPr/>
        </p:nvSpPr>
        <p:spPr bwMode="auto">
          <a:xfrm>
            <a:off x="9192241" y="6220983"/>
            <a:ext cx="52498" cy="5249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nvGrpSpPr>
          <p:cNvPr id="496" name="グループ化 495"/>
          <p:cNvGrpSpPr/>
          <p:nvPr/>
        </p:nvGrpSpPr>
        <p:grpSpPr bwMode="auto">
          <a:xfrm rot="19954016">
            <a:off x="9995477" y="5532234"/>
            <a:ext cx="64569" cy="155419"/>
            <a:chOff x="12471802" y="3668802"/>
            <a:chExt cx="434170" cy="598160"/>
          </a:xfrm>
          <a:solidFill>
            <a:srgbClr val="E9CF11"/>
          </a:solidFill>
        </p:grpSpPr>
        <p:sp>
          <p:nvSpPr>
            <p:cNvPr id="498" name="二等辺三角形 497"/>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sp>
          <p:nvSpPr>
            <p:cNvPr id="500" name="二等辺三角形 499"/>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libri"/>
                <a:ea typeface="ＭＳ Ｐゴシック" panose="020B0600070205080204" pitchFamily="50" charset="-128"/>
              </a:endParaRPr>
            </a:p>
          </p:txBody>
        </p:sp>
      </p:grpSp>
      <p:sp>
        <p:nvSpPr>
          <p:cNvPr id="519" name="テキスト ボックス 518"/>
          <p:cNvSpPr txBox="1"/>
          <p:nvPr/>
        </p:nvSpPr>
        <p:spPr>
          <a:xfrm>
            <a:off x="223876" y="3534848"/>
            <a:ext cx="5171028" cy="1864806"/>
          </a:xfrm>
          <a:prstGeom prst="rect">
            <a:avLst/>
          </a:prstGeom>
          <a:noFill/>
        </p:spPr>
        <p:txBody>
          <a:bodyPr>
            <a:spAutoFit/>
          </a:bodyPr>
          <a:lstStyle/>
          <a:p>
            <a:pPr defTabSz="1007943">
              <a:buClr>
                <a:prstClr val="black">
                  <a:lumMod val="65000"/>
                  <a:lumOff val="35000"/>
                </a:prstClr>
              </a:buClr>
              <a:defRPr/>
            </a:pPr>
            <a:r>
              <a:rPr lang="ja-JP" altLang="en-US" sz="1047" dirty="0">
                <a:solidFill>
                  <a:prstClr val="black"/>
                </a:solidFill>
                <a:latin typeface="ＭＳ Ｐゴシック" panose="020B0600070205080204" pitchFamily="50" charset="-128"/>
                <a:ea typeface="ＭＳ Ｐゴシック" panose="020B0600070205080204" pitchFamily="50" charset="-128"/>
              </a:rPr>
              <a:t>（１）交付金　　　　　　　　　　　　　　　　　　　　　　　　　　　　　　　（</a:t>
            </a:r>
            <a:r>
              <a:rPr lang="en-US" altLang="ja-JP" sz="1047" dirty="0">
                <a:solidFill>
                  <a:prstClr val="black"/>
                </a:solidFill>
                <a:latin typeface="ＭＳ Ｐゴシック" panose="020B0600070205080204" pitchFamily="50" charset="-128"/>
                <a:ea typeface="ＭＳ Ｐゴシック" panose="020B0600070205080204" pitchFamily="50" charset="-128"/>
              </a:rPr>
              <a:t>20,000</a:t>
            </a:r>
            <a:r>
              <a:rPr lang="ja-JP" altLang="en-US" sz="1047" dirty="0">
                <a:solidFill>
                  <a:prstClr val="black"/>
                </a:solidFill>
                <a:latin typeface="ＭＳ Ｐゴシック" panose="020B0600070205080204" pitchFamily="50" charset="-128"/>
                <a:ea typeface="ＭＳ Ｐゴシック" panose="020B0600070205080204" pitchFamily="50" charset="-128"/>
              </a:rPr>
              <a:t>百万円）</a:t>
            </a:r>
            <a:endParaRPr lang="en-US" altLang="ja-JP" sz="1047" dirty="0">
              <a:solidFill>
                <a:prstClr val="black"/>
              </a:solidFill>
              <a:latin typeface="ＭＳ Ｐゴシック" panose="020B0600070205080204" pitchFamily="50" charset="-128"/>
              <a:ea typeface="ＭＳ Ｐゴシック" panose="020B0600070205080204" pitchFamily="50" charset="-128"/>
            </a:endParaRPr>
          </a:p>
          <a:p>
            <a:pPr defTabSz="1007943">
              <a:buClr>
                <a:prstClr val="black">
                  <a:lumMod val="65000"/>
                  <a:lumOff val="35000"/>
                </a:prstClr>
              </a:buClr>
              <a:defRPr/>
            </a:pPr>
            <a:r>
              <a:rPr lang="ja-JP" altLang="en-US" sz="1047" dirty="0">
                <a:solidFill>
                  <a:prstClr val="black"/>
                </a:solidFill>
                <a:latin typeface="ＭＳ Ｐゴシック" panose="020B0600070205080204" pitchFamily="50" charset="-128"/>
                <a:ea typeface="ＭＳ Ｐゴシック" panose="020B0600070205080204" pitchFamily="50" charset="-128"/>
              </a:rPr>
              <a:t>　・新設（エネルギー回収型廃棄物処理施設）：</a:t>
            </a:r>
            <a:r>
              <a:rPr lang="en-US" altLang="ja-JP" sz="1047" dirty="0">
                <a:solidFill>
                  <a:prstClr val="black"/>
                </a:solidFill>
                <a:latin typeface="ＭＳ Ｐゴシック" panose="020B0600070205080204" pitchFamily="50" charset="-128"/>
                <a:ea typeface="ＭＳ Ｐゴシック" panose="020B0600070205080204" pitchFamily="50" charset="-128"/>
              </a:rPr>
              <a:t>1/2</a:t>
            </a:r>
            <a:r>
              <a:rPr lang="ja-JP" altLang="en-US" sz="1047" dirty="0" err="1">
                <a:solidFill>
                  <a:prstClr val="black"/>
                </a:solidFill>
                <a:latin typeface="ＭＳ Ｐゴシック" panose="020B0600070205080204" pitchFamily="50" charset="-128"/>
                <a:ea typeface="ＭＳ Ｐゴシック" panose="020B0600070205080204" pitchFamily="50" charset="-128"/>
              </a:rPr>
              <a:t>、</a:t>
            </a:r>
            <a:r>
              <a:rPr lang="en-US" altLang="ja-JP" sz="1047" dirty="0">
                <a:solidFill>
                  <a:prstClr val="black"/>
                </a:solidFill>
                <a:latin typeface="ＭＳ Ｐゴシック" panose="020B0600070205080204" pitchFamily="50" charset="-128"/>
                <a:ea typeface="ＭＳ Ｐゴシック" panose="020B0600070205080204" pitchFamily="50" charset="-128"/>
              </a:rPr>
              <a:t>1/3</a:t>
            </a:r>
            <a:r>
              <a:rPr lang="ja-JP" altLang="en-US" sz="1047" dirty="0">
                <a:solidFill>
                  <a:prstClr val="black"/>
                </a:solidFill>
                <a:latin typeface="ＭＳ Ｐゴシック" panose="020B0600070205080204" pitchFamily="50" charset="-128"/>
                <a:ea typeface="ＭＳ Ｐゴシック" panose="020B0600070205080204" pitchFamily="50" charset="-128"/>
              </a:rPr>
              <a:t>交付</a:t>
            </a:r>
            <a:endParaRPr lang="en-US" altLang="ja-JP" sz="1047" dirty="0">
              <a:solidFill>
                <a:prstClr val="black"/>
              </a:solidFill>
              <a:latin typeface="ＭＳ Ｐゴシック" panose="020B0600070205080204" pitchFamily="50" charset="-128"/>
              <a:ea typeface="ＭＳ Ｐゴシック" panose="020B0600070205080204" pitchFamily="50" charset="-128"/>
            </a:endParaRPr>
          </a:p>
          <a:p>
            <a:pPr defTabSz="1007943">
              <a:buClr>
                <a:prstClr val="black">
                  <a:lumMod val="65000"/>
                  <a:lumOff val="35000"/>
                </a:prstClr>
              </a:buClr>
              <a:defRPr/>
            </a:pPr>
            <a:r>
              <a:rPr lang="ja-JP" altLang="en-US" sz="1047" dirty="0">
                <a:solidFill>
                  <a:prstClr val="black"/>
                </a:solidFill>
                <a:latin typeface="ＭＳ Ｐゴシック" panose="020B0600070205080204" pitchFamily="50" charset="-128"/>
                <a:ea typeface="ＭＳ Ｐゴシック" panose="020B0600070205080204" pitchFamily="50" charset="-128"/>
              </a:rPr>
              <a:t>　・改良（エネルギー回収型廃棄物施設、マテリアルリサイクル推進施設）：</a:t>
            </a:r>
            <a:r>
              <a:rPr lang="en-US" altLang="ja-JP" sz="1047" dirty="0">
                <a:solidFill>
                  <a:prstClr val="black"/>
                </a:solidFill>
                <a:latin typeface="ＭＳ Ｐゴシック" panose="020B0600070205080204" pitchFamily="50" charset="-128"/>
                <a:ea typeface="ＭＳ Ｐゴシック" panose="020B0600070205080204" pitchFamily="50" charset="-128"/>
              </a:rPr>
              <a:t>1/2</a:t>
            </a:r>
            <a:r>
              <a:rPr lang="ja-JP" altLang="en-US" sz="1047" dirty="0">
                <a:solidFill>
                  <a:prstClr val="black"/>
                </a:solidFill>
                <a:latin typeface="ＭＳ Ｐゴシック" panose="020B0600070205080204" pitchFamily="50" charset="-128"/>
                <a:ea typeface="ＭＳ Ｐゴシック" panose="020B0600070205080204" pitchFamily="50" charset="-128"/>
              </a:rPr>
              <a:t>交付</a:t>
            </a:r>
            <a:endParaRPr lang="en-US" altLang="ja-JP" sz="1047" dirty="0">
              <a:solidFill>
                <a:prstClr val="black"/>
              </a:solidFill>
              <a:latin typeface="ＭＳ Ｐゴシック" panose="020B0600070205080204" pitchFamily="50" charset="-128"/>
              <a:ea typeface="ＭＳ Ｐゴシック" panose="020B0600070205080204" pitchFamily="50" charset="-128"/>
            </a:endParaRPr>
          </a:p>
          <a:p>
            <a:pPr defTabSz="1007943">
              <a:buClr>
                <a:prstClr val="black">
                  <a:lumMod val="65000"/>
                  <a:lumOff val="35000"/>
                </a:prstClr>
              </a:buClr>
              <a:defRPr/>
            </a:pPr>
            <a:r>
              <a:rPr lang="ja-JP" altLang="en-US" sz="1047" dirty="0">
                <a:solidFill>
                  <a:prstClr val="black"/>
                </a:solidFill>
                <a:latin typeface="ＭＳ Ｐゴシック" panose="020B0600070205080204" pitchFamily="50" charset="-128"/>
                <a:ea typeface="ＭＳ Ｐゴシック" panose="020B0600070205080204" pitchFamily="50" charset="-128"/>
              </a:rPr>
              <a:t>　・計画・調査策定（計画支援・長寿命化・集約化）：</a:t>
            </a:r>
            <a:r>
              <a:rPr lang="en-US" altLang="ja-JP" sz="1047" dirty="0">
                <a:solidFill>
                  <a:prstClr val="black"/>
                </a:solidFill>
                <a:latin typeface="ＭＳ Ｐゴシック" panose="020B0600070205080204" pitchFamily="50" charset="-128"/>
                <a:ea typeface="ＭＳ Ｐゴシック" panose="020B0600070205080204" pitchFamily="50" charset="-128"/>
              </a:rPr>
              <a:t>1/3</a:t>
            </a:r>
            <a:r>
              <a:rPr lang="ja-JP" altLang="en-US" sz="1047" dirty="0">
                <a:solidFill>
                  <a:prstClr val="black"/>
                </a:solidFill>
                <a:latin typeface="ＭＳ Ｐゴシック" panose="020B0600070205080204" pitchFamily="50" charset="-128"/>
                <a:ea typeface="ＭＳ Ｐゴシック" panose="020B0600070205080204" pitchFamily="50" charset="-128"/>
              </a:rPr>
              <a:t>交付</a:t>
            </a:r>
            <a:endParaRPr lang="en-US" altLang="ja-JP" sz="1047" dirty="0">
              <a:solidFill>
                <a:prstClr val="black"/>
              </a:solidFill>
              <a:latin typeface="ＭＳ Ｐゴシック" panose="020B0600070205080204" pitchFamily="50" charset="-128"/>
              <a:ea typeface="ＭＳ Ｐゴシック" panose="020B0600070205080204" pitchFamily="50" charset="-128"/>
            </a:endParaRPr>
          </a:p>
          <a:p>
            <a:pPr defTabSz="1007943">
              <a:buClr>
                <a:prstClr val="black">
                  <a:lumMod val="65000"/>
                  <a:lumOff val="35000"/>
                </a:prstClr>
              </a:buClr>
              <a:defRPr/>
            </a:pPr>
            <a:r>
              <a:rPr lang="ja-JP" altLang="en-US" sz="1047" dirty="0">
                <a:solidFill>
                  <a:prstClr val="black"/>
                </a:solidFill>
                <a:latin typeface="ＭＳ Ｐゴシック" panose="020B0600070205080204" pitchFamily="50" charset="-128"/>
                <a:ea typeface="ＭＳ Ｐゴシック" panose="020B0600070205080204" pitchFamily="50" charset="-128"/>
              </a:rPr>
              <a:t>（２）補助金　　　　　　　　　　　　　　　　　　　　　　　　　　　　　　　（</a:t>
            </a:r>
            <a:r>
              <a:rPr lang="en-US" altLang="ja-JP" sz="1047" dirty="0">
                <a:solidFill>
                  <a:prstClr val="black"/>
                </a:solidFill>
                <a:latin typeface="ＭＳ Ｐゴシック" panose="020B0600070205080204" pitchFamily="50" charset="-128"/>
                <a:ea typeface="ＭＳ Ｐゴシック" panose="020B0600070205080204" pitchFamily="50" charset="-128"/>
              </a:rPr>
              <a:t>5,950</a:t>
            </a:r>
            <a:r>
              <a:rPr lang="ja-JP" altLang="en-US" sz="1047" dirty="0">
                <a:solidFill>
                  <a:prstClr val="black"/>
                </a:solidFill>
                <a:latin typeface="ＭＳ Ｐゴシック" panose="020B0600070205080204" pitchFamily="50" charset="-128"/>
                <a:ea typeface="ＭＳ Ｐゴシック" panose="020B0600070205080204" pitchFamily="50" charset="-128"/>
              </a:rPr>
              <a:t>百万円）</a:t>
            </a:r>
            <a:endParaRPr lang="en-US" altLang="ja-JP" sz="1047" dirty="0">
              <a:solidFill>
                <a:prstClr val="black"/>
              </a:solidFill>
              <a:latin typeface="ＭＳ Ｐゴシック" panose="020B0600070205080204" pitchFamily="50" charset="-128"/>
              <a:ea typeface="ＭＳ Ｐゴシック" panose="020B0600070205080204" pitchFamily="50" charset="-128"/>
            </a:endParaRPr>
          </a:p>
          <a:p>
            <a:pPr defTabSz="1007943">
              <a:buClr>
                <a:prstClr val="black">
                  <a:lumMod val="65000"/>
                  <a:lumOff val="35000"/>
                </a:prstClr>
              </a:buClr>
              <a:defRPr/>
            </a:pPr>
            <a:r>
              <a:rPr lang="ja-JP" altLang="en-US" sz="1047" dirty="0">
                <a:solidFill>
                  <a:prstClr val="black"/>
                </a:solidFill>
                <a:latin typeface="ＭＳ Ｐゴシック" panose="020B0600070205080204" pitchFamily="50" charset="-128"/>
                <a:ea typeface="ＭＳ Ｐゴシック" panose="020B0600070205080204" pitchFamily="50" charset="-128"/>
              </a:rPr>
              <a:t>　・新設（エネルギー回収型廃棄物処理施設）：</a:t>
            </a:r>
            <a:r>
              <a:rPr lang="en-US" altLang="ja-JP" sz="1047" dirty="0">
                <a:solidFill>
                  <a:prstClr val="black"/>
                </a:solidFill>
                <a:latin typeface="ＭＳ Ｐゴシック" panose="020B0600070205080204" pitchFamily="50" charset="-128"/>
                <a:ea typeface="ＭＳ Ｐゴシック" panose="020B0600070205080204" pitchFamily="50" charset="-128"/>
              </a:rPr>
              <a:t>1/2</a:t>
            </a:r>
            <a:r>
              <a:rPr lang="ja-JP" altLang="en-US" sz="1047" dirty="0">
                <a:solidFill>
                  <a:prstClr val="black"/>
                </a:solidFill>
                <a:latin typeface="ＭＳ Ｐゴシック" panose="020B0600070205080204" pitchFamily="50" charset="-128"/>
                <a:ea typeface="ＭＳ Ｐゴシック" panose="020B0600070205080204" pitchFamily="50" charset="-128"/>
              </a:rPr>
              <a:t>補助</a:t>
            </a:r>
            <a:endParaRPr lang="en-US" altLang="ja-JP" sz="1047" dirty="0">
              <a:solidFill>
                <a:prstClr val="black"/>
              </a:solidFill>
              <a:latin typeface="ＭＳ Ｐゴシック" panose="020B0600070205080204" pitchFamily="50" charset="-128"/>
              <a:ea typeface="ＭＳ Ｐゴシック" panose="020B0600070205080204" pitchFamily="50" charset="-128"/>
            </a:endParaRPr>
          </a:p>
          <a:p>
            <a:pPr defTabSz="1007943">
              <a:buClr>
                <a:prstClr val="black">
                  <a:lumMod val="65000"/>
                  <a:lumOff val="35000"/>
                </a:prstClr>
              </a:buClr>
              <a:defRPr/>
            </a:pPr>
            <a:r>
              <a:rPr lang="ja-JP" altLang="en-US" sz="1047" dirty="0">
                <a:solidFill>
                  <a:prstClr val="black"/>
                </a:solidFill>
                <a:latin typeface="ＭＳ Ｐゴシック" panose="020B0600070205080204" pitchFamily="50" charset="-128"/>
                <a:ea typeface="ＭＳ Ｐゴシック" panose="020B0600070205080204" pitchFamily="50" charset="-128"/>
              </a:rPr>
              <a:t>　・改良（エネルギー回収型廃棄物処理施設）：</a:t>
            </a:r>
            <a:r>
              <a:rPr lang="en-US" altLang="ja-JP" sz="1047" dirty="0">
                <a:solidFill>
                  <a:prstClr val="black"/>
                </a:solidFill>
                <a:latin typeface="ＭＳ Ｐゴシック" panose="020B0600070205080204" pitchFamily="50" charset="-128"/>
                <a:ea typeface="ＭＳ Ｐゴシック" panose="020B0600070205080204" pitchFamily="50" charset="-128"/>
              </a:rPr>
              <a:t>1/2</a:t>
            </a:r>
            <a:r>
              <a:rPr lang="ja-JP" altLang="en-US" sz="1047" dirty="0">
                <a:solidFill>
                  <a:prstClr val="black"/>
                </a:solidFill>
                <a:latin typeface="ＭＳ Ｐゴシック" panose="020B0600070205080204" pitchFamily="50" charset="-128"/>
                <a:ea typeface="ＭＳ Ｐゴシック" panose="020B0600070205080204" pitchFamily="50" charset="-128"/>
              </a:rPr>
              <a:t>補助</a:t>
            </a:r>
            <a:endParaRPr lang="en-US" altLang="ja-JP" sz="1047" dirty="0">
              <a:solidFill>
                <a:prstClr val="black"/>
              </a:solidFill>
              <a:latin typeface="ＭＳ Ｐゴシック" panose="020B0600070205080204" pitchFamily="50" charset="-128"/>
              <a:ea typeface="ＭＳ Ｐゴシック" panose="020B0600070205080204" pitchFamily="50" charset="-128"/>
            </a:endParaRPr>
          </a:p>
          <a:p>
            <a:pPr defTabSz="1007943">
              <a:buClr>
                <a:prstClr val="black">
                  <a:lumMod val="65000"/>
                  <a:lumOff val="35000"/>
                </a:prstClr>
              </a:buClr>
              <a:defRPr/>
            </a:pPr>
            <a:r>
              <a:rPr lang="ja-JP" altLang="en-US" sz="1047" dirty="0">
                <a:solidFill>
                  <a:prstClr val="black"/>
                </a:solidFill>
                <a:latin typeface="ＭＳ Ｐゴシック" panose="020B0600070205080204" pitchFamily="50" charset="-128"/>
                <a:ea typeface="ＭＳ Ｐゴシック" panose="020B0600070205080204" pitchFamily="50" charset="-128"/>
              </a:rPr>
              <a:t>　・電線、変圧器等廃棄物発電により生じた電力を利活用するための設備：</a:t>
            </a:r>
            <a:r>
              <a:rPr lang="en-US" altLang="ja-JP" sz="1047" dirty="0">
                <a:solidFill>
                  <a:prstClr val="black"/>
                </a:solidFill>
                <a:latin typeface="ＭＳ Ｐゴシック" panose="020B0600070205080204" pitchFamily="50" charset="-128"/>
                <a:ea typeface="ＭＳ Ｐゴシック" panose="020B0600070205080204" pitchFamily="50" charset="-128"/>
              </a:rPr>
              <a:t>1/2</a:t>
            </a:r>
            <a:r>
              <a:rPr lang="ja-JP" altLang="en-US" sz="1047" dirty="0">
                <a:solidFill>
                  <a:prstClr val="black"/>
                </a:solidFill>
                <a:latin typeface="ＭＳ Ｐゴシック" panose="020B0600070205080204" pitchFamily="50" charset="-128"/>
                <a:ea typeface="ＭＳ Ｐゴシック" panose="020B0600070205080204" pitchFamily="50" charset="-128"/>
              </a:rPr>
              <a:t>補助</a:t>
            </a:r>
            <a:r>
              <a:rPr lang="en-US" altLang="ja-JP" sz="1047" dirty="0">
                <a:solidFill>
                  <a:prstClr val="black"/>
                </a:solidFill>
                <a:latin typeface="ＭＳ Ｐゴシック" panose="020B0600070205080204" pitchFamily="50" charset="-128"/>
                <a:ea typeface="ＭＳ Ｐゴシック" panose="020B0600070205080204" pitchFamily="50" charset="-128"/>
              </a:rPr>
              <a:t/>
            </a:r>
            <a:br>
              <a:rPr lang="en-US" altLang="ja-JP" sz="1047" dirty="0">
                <a:solidFill>
                  <a:prstClr val="black"/>
                </a:solidFill>
                <a:latin typeface="ＭＳ Ｐゴシック" panose="020B0600070205080204" pitchFamily="50" charset="-128"/>
                <a:ea typeface="ＭＳ Ｐゴシック" panose="020B0600070205080204" pitchFamily="50" charset="-128"/>
              </a:rPr>
            </a:br>
            <a:r>
              <a:rPr lang="ja-JP" altLang="en-US" sz="1047" dirty="0">
                <a:solidFill>
                  <a:prstClr val="black"/>
                </a:solidFill>
                <a:latin typeface="ＭＳ Ｐゴシック" panose="020B0600070205080204" pitchFamily="50" charset="-128"/>
                <a:ea typeface="ＭＳ Ｐゴシック" panose="020B0600070205080204" pitchFamily="50" charset="-128"/>
              </a:rPr>
              <a:t>　　（</a:t>
            </a:r>
            <a:r>
              <a:rPr lang="en-US" altLang="ja-JP" sz="1047" dirty="0">
                <a:solidFill>
                  <a:prstClr val="black"/>
                </a:solidFill>
                <a:latin typeface="ＭＳ Ｐゴシック" panose="020B0600070205080204" pitchFamily="50" charset="-128"/>
                <a:ea typeface="ＭＳ Ｐゴシック" panose="020B0600070205080204" pitchFamily="50" charset="-128"/>
              </a:rPr>
              <a:t>EV</a:t>
            </a:r>
            <a:r>
              <a:rPr lang="ja-JP" altLang="en-US" sz="1047" dirty="0">
                <a:solidFill>
                  <a:prstClr val="black"/>
                </a:solidFill>
                <a:latin typeface="ＭＳ Ｐゴシック" panose="020B0600070205080204" pitchFamily="50" charset="-128"/>
                <a:ea typeface="ＭＳ Ｐゴシック" panose="020B0600070205080204" pitchFamily="50" charset="-128"/>
              </a:rPr>
              <a:t>パッカー車は差額の</a:t>
            </a:r>
            <a:r>
              <a:rPr lang="en-US" altLang="ja-JP" sz="1047" dirty="0">
                <a:solidFill>
                  <a:prstClr val="black"/>
                </a:solidFill>
                <a:latin typeface="ＭＳ Ｐゴシック" panose="020B0600070205080204" pitchFamily="50" charset="-128"/>
                <a:ea typeface="ＭＳ Ｐゴシック" panose="020B0600070205080204" pitchFamily="50" charset="-128"/>
              </a:rPr>
              <a:t>2/3</a:t>
            </a:r>
            <a:r>
              <a:rPr lang="ja-JP" altLang="en-US" sz="1047">
                <a:solidFill>
                  <a:prstClr val="black"/>
                </a:solidFill>
                <a:latin typeface="ＭＳ Ｐゴシック" panose="020B0600070205080204" pitchFamily="50" charset="-128"/>
                <a:ea typeface="ＭＳ Ｐゴシック" panose="020B0600070205080204" pitchFamily="50" charset="-128"/>
              </a:rPr>
              <a:t>補助）</a:t>
            </a:r>
            <a:endParaRPr lang="en-US" altLang="ja-JP" sz="1047" dirty="0">
              <a:solidFill>
                <a:prstClr val="black"/>
              </a:solidFill>
              <a:latin typeface="ＭＳ Ｐゴシック" panose="020B0600070205080204" pitchFamily="50" charset="-128"/>
              <a:ea typeface="ＭＳ Ｐゴシック" panose="020B0600070205080204" pitchFamily="50" charset="-128"/>
            </a:endParaRPr>
          </a:p>
          <a:p>
            <a:pPr defTabSz="1007943">
              <a:buClr>
                <a:prstClr val="black">
                  <a:lumMod val="65000"/>
                  <a:lumOff val="35000"/>
                </a:prstClr>
              </a:buClr>
              <a:defRPr/>
            </a:pPr>
            <a:r>
              <a:rPr lang="ja-JP" altLang="en-US" sz="1047" dirty="0">
                <a:solidFill>
                  <a:prstClr val="black"/>
                </a:solidFill>
                <a:latin typeface="ＭＳ Ｐゴシック" panose="020B0600070205080204" pitchFamily="50" charset="-128"/>
                <a:ea typeface="ＭＳ Ｐゴシック" panose="020B0600070205080204" pitchFamily="50" charset="-128"/>
              </a:rPr>
              <a:t>　・熱導管等廃棄物の焼却により生じた熱を利活用するための設備：</a:t>
            </a:r>
            <a:r>
              <a:rPr lang="en-US" altLang="ja-JP" sz="1047" dirty="0">
                <a:solidFill>
                  <a:prstClr val="black"/>
                </a:solidFill>
                <a:latin typeface="ＭＳ Ｐゴシック" panose="020B0600070205080204" pitchFamily="50" charset="-128"/>
                <a:ea typeface="ＭＳ Ｐゴシック" panose="020B0600070205080204" pitchFamily="50" charset="-128"/>
              </a:rPr>
              <a:t>1/2</a:t>
            </a:r>
            <a:r>
              <a:rPr lang="ja-JP" altLang="en-US" sz="1047" dirty="0">
                <a:solidFill>
                  <a:prstClr val="black"/>
                </a:solidFill>
                <a:latin typeface="ＭＳ Ｐゴシック" panose="020B0600070205080204" pitchFamily="50" charset="-128"/>
                <a:ea typeface="ＭＳ Ｐゴシック" panose="020B0600070205080204" pitchFamily="50" charset="-128"/>
              </a:rPr>
              <a:t>補助</a:t>
            </a:r>
            <a:endParaRPr lang="en-US" altLang="ja-JP" sz="1047" dirty="0">
              <a:solidFill>
                <a:prstClr val="black"/>
              </a:solidFill>
              <a:latin typeface="ＭＳ Ｐゴシック" panose="020B0600070205080204" pitchFamily="50" charset="-128"/>
              <a:ea typeface="ＭＳ Ｐゴシック" panose="020B0600070205080204" pitchFamily="50" charset="-128"/>
            </a:endParaRPr>
          </a:p>
          <a:p>
            <a:pPr defTabSz="1007943">
              <a:buClr>
                <a:prstClr val="black">
                  <a:lumMod val="65000"/>
                  <a:lumOff val="35000"/>
                </a:prstClr>
              </a:buClr>
              <a:defRPr/>
            </a:pPr>
            <a:r>
              <a:rPr lang="ja-JP" altLang="en-US" sz="1047" dirty="0">
                <a:solidFill>
                  <a:prstClr val="black"/>
                </a:solidFill>
                <a:latin typeface="ＭＳ Ｐゴシック" panose="020B0600070205080204" pitchFamily="50" charset="-128"/>
                <a:ea typeface="ＭＳ Ｐゴシック" panose="020B0600070205080204" pitchFamily="50" charset="-128"/>
              </a:rPr>
              <a:t>　・廃棄物焼却施設による未利用熱及び廃棄物発電の有効活用に係る</a:t>
            </a:r>
            <a:r>
              <a:rPr lang="en-US" altLang="ja-JP" sz="1047" dirty="0">
                <a:solidFill>
                  <a:prstClr val="black"/>
                </a:solidFill>
                <a:latin typeface="ＭＳ Ｐゴシック" panose="020B0600070205080204" pitchFamily="50" charset="-128"/>
                <a:ea typeface="ＭＳ Ｐゴシック" panose="020B0600070205080204" pitchFamily="50" charset="-128"/>
              </a:rPr>
              <a:t>FS</a:t>
            </a:r>
            <a:r>
              <a:rPr lang="ja-JP" altLang="en-US" sz="1047" dirty="0">
                <a:solidFill>
                  <a:prstClr val="black"/>
                </a:solidFill>
                <a:latin typeface="ＭＳ Ｐゴシック" panose="020B0600070205080204" pitchFamily="50" charset="-128"/>
                <a:ea typeface="ＭＳ Ｐゴシック" panose="020B0600070205080204" pitchFamily="50" charset="-128"/>
              </a:rPr>
              <a:t>調査：定額補助</a:t>
            </a:r>
            <a:endParaRPr lang="en-US" altLang="ja-JP" sz="1047" dirty="0">
              <a:solidFill>
                <a:prstClr val="black"/>
              </a:solidFill>
              <a:latin typeface="ＭＳ Ｐゴシック" panose="020B0600070205080204" pitchFamily="50" charset="-128"/>
              <a:ea typeface="ＭＳ Ｐゴシック" panose="020B0600070205080204" pitchFamily="50" charset="-128"/>
            </a:endParaRPr>
          </a:p>
        </p:txBody>
      </p:sp>
      <p:sp>
        <p:nvSpPr>
          <p:cNvPr id="2" name="角丸四角形 1"/>
          <p:cNvSpPr/>
          <p:nvPr/>
        </p:nvSpPr>
        <p:spPr>
          <a:xfrm>
            <a:off x="5793887" y="6614716"/>
            <a:ext cx="1693927" cy="390234"/>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1007943" eaLnBrk="0" fontAlgn="base" hangingPunct="0">
              <a:spcBef>
                <a:spcPct val="0"/>
              </a:spcBef>
              <a:spcAft>
                <a:spcPct val="0"/>
              </a:spcAft>
              <a:defRPr/>
            </a:pPr>
            <a:r>
              <a:rPr lang="ja-JP" altLang="en-US" sz="1102" dirty="0">
                <a:solidFill>
                  <a:prstClr val="black"/>
                </a:solidFill>
                <a:latin typeface="Calibri"/>
                <a:ea typeface="ＭＳ Ｐゴシック" panose="020B0600070205080204" pitchFamily="50" charset="-128"/>
              </a:rPr>
              <a:t>例　</a:t>
            </a:r>
            <a:r>
              <a:rPr lang="en-US" altLang="ja-JP" sz="1102" dirty="0">
                <a:solidFill>
                  <a:prstClr val="black"/>
                </a:solidFill>
                <a:latin typeface="Calibri"/>
                <a:ea typeface="ＭＳ Ｐゴシック" panose="020B0600070205080204" pitchFamily="50" charset="-128"/>
              </a:rPr>
              <a:t>EV</a:t>
            </a:r>
            <a:r>
              <a:rPr lang="ja-JP" altLang="en-US" sz="1102" dirty="0">
                <a:solidFill>
                  <a:prstClr val="black"/>
                </a:solidFill>
                <a:latin typeface="Calibri"/>
                <a:ea typeface="ＭＳ Ｐゴシック" panose="020B0600070205080204" pitchFamily="50" charset="-128"/>
              </a:rPr>
              <a:t>パッカー車による収集運搬低炭素化</a:t>
            </a:r>
          </a:p>
        </p:txBody>
      </p:sp>
      <p:sp>
        <p:nvSpPr>
          <p:cNvPr id="383" name="右矢印 382"/>
          <p:cNvSpPr/>
          <p:nvPr/>
        </p:nvSpPr>
        <p:spPr>
          <a:xfrm>
            <a:off x="1714813" y="5835999"/>
            <a:ext cx="2080660" cy="183742"/>
          </a:xfrm>
          <a:prstGeom prst="rightArrow">
            <a:avLst/>
          </a:prstGeom>
        </p:spPr>
        <p:style>
          <a:lnRef idx="1">
            <a:schemeClr val="dk1"/>
          </a:lnRef>
          <a:fillRef idx="2">
            <a:schemeClr val="dk1"/>
          </a:fillRef>
          <a:effectRef idx="1">
            <a:schemeClr val="dk1"/>
          </a:effectRef>
          <a:fontRef idx="minor">
            <a:schemeClr val="dk1"/>
          </a:fontRef>
        </p:style>
        <p:txBody>
          <a:bodyPr anchor="ctr"/>
          <a:lstStyle/>
          <a:p>
            <a:pPr algn="ctr" defTabSz="1007943" fontAlgn="base">
              <a:spcBef>
                <a:spcPct val="0"/>
              </a:spcBef>
              <a:spcAft>
                <a:spcPct val="0"/>
              </a:spcAft>
              <a:defRPr/>
            </a:pPr>
            <a:endParaRPr lang="ja-JP" altLang="en-US" sz="1157">
              <a:solidFill>
                <a:prstClr val="black"/>
              </a:solidFill>
              <a:latin typeface="Calibri"/>
              <a:ea typeface="ＭＳ Ｐゴシック" panose="020B0600070205080204" pitchFamily="50" charset="-128"/>
            </a:endParaRPr>
          </a:p>
        </p:txBody>
      </p:sp>
      <p:sp>
        <p:nvSpPr>
          <p:cNvPr id="2192" name="テキスト ボックス 17"/>
          <p:cNvSpPr txBox="1">
            <a:spLocks noChangeArrowheads="1"/>
          </p:cNvSpPr>
          <p:nvPr/>
        </p:nvSpPr>
        <p:spPr bwMode="auto">
          <a:xfrm>
            <a:off x="1774310" y="5676750"/>
            <a:ext cx="2028162" cy="24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lgn="ctr" defTabSz="1007943" fontAlgn="base">
              <a:spcBef>
                <a:spcPct val="0"/>
              </a:spcBef>
              <a:spcAft>
                <a:spcPct val="0"/>
              </a:spcAft>
              <a:buNone/>
            </a:pPr>
            <a:r>
              <a:rPr lang="en-US" altLang="ja-JP" sz="992">
                <a:solidFill>
                  <a:prstClr val="black"/>
                </a:solidFill>
                <a:latin typeface="メイリオ" panose="020B0604030504040204" pitchFamily="50" charset="-128"/>
                <a:ea typeface="メイリオ" panose="020B0604030504040204" pitchFamily="50" charset="-128"/>
              </a:rPr>
              <a:t>(1)</a:t>
            </a:r>
            <a:r>
              <a:rPr lang="ja-JP" altLang="en-US" sz="992">
                <a:solidFill>
                  <a:prstClr val="black"/>
                </a:solidFill>
                <a:latin typeface="メイリオ" panose="020B0604030504040204" pitchFamily="50" charset="-128"/>
                <a:ea typeface="メイリオ" panose="020B0604030504040204" pitchFamily="50" charset="-128"/>
              </a:rPr>
              <a:t>交付金　（補助率）最大</a:t>
            </a:r>
            <a:r>
              <a:rPr lang="en-US" altLang="ja-JP" sz="992">
                <a:solidFill>
                  <a:prstClr val="black"/>
                </a:solidFill>
                <a:latin typeface="メイリオ" panose="020B0604030504040204" pitchFamily="50" charset="-128"/>
                <a:ea typeface="メイリオ" panose="020B0604030504040204" pitchFamily="50" charset="-128"/>
              </a:rPr>
              <a:t>1/2</a:t>
            </a:r>
          </a:p>
        </p:txBody>
      </p:sp>
    </p:spTree>
    <p:extLst>
      <p:ext uri="{BB962C8B-B14F-4D97-AF65-F5344CB8AC3E}">
        <p14:creationId xmlns:p14="http://schemas.microsoft.com/office/powerpoint/2010/main" val="41413648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テキスト ボックス 11">
            <a:extLst>
              <a:ext uri="{FF2B5EF4-FFF2-40B4-BE49-F238E27FC236}">
                <a16:creationId xmlns:a16="http://schemas.microsoft.com/office/drawing/2014/main" id="{7559E04E-328D-B143-986F-4312F791B625}"/>
              </a:ext>
            </a:extLst>
          </p:cNvPr>
          <p:cNvSpPr txBox="1"/>
          <p:nvPr/>
        </p:nvSpPr>
        <p:spPr>
          <a:xfrm>
            <a:off x="2200886" y="707934"/>
            <a:ext cx="7367328" cy="276999"/>
          </a:xfrm>
          <a:prstGeom prst="rect">
            <a:avLst/>
          </a:prstGeom>
          <a:noFill/>
        </p:spPr>
        <p:txBody>
          <a:bodyPr wrap="square" rtlCol="0">
            <a:spAutoFit/>
          </a:bodyPr>
          <a:lstStyle/>
          <a:p>
            <a:pPr lvl="0">
              <a:defRPr/>
            </a:pPr>
            <a:r>
              <a:rPr lang="ja-JP" altLang="en-US" sz="1200" b="1" dirty="0">
                <a:solidFill>
                  <a:prstClr val="black"/>
                </a:solidFill>
                <a:latin typeface="Meiryo" panose="020B0604030504040204" pitchFamily="34" charset="-128"/>
                <a:ea typeface="Meiryo" panose="020B0604030504040204" pitchFamily="34" charset="-128"/>
              </a:rPr>
              <a:t>廃棄物処理施設を核とした地域循環共生圏構築促進事業</a:t>
            </a: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077296" y="343604"/>
            <a:ext cx="1188323" cy="298157"/>
            <a:chOff x="1895287" y="279152"/>
            <a:chExt cx="1188323" cy="298157"/>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895287" y="279152"/>
              <a:ext cx="1188323" cy="200055"/>
            </a:xfrm>
            <a:prstGeom prst="rect">
              <a:avLst/>
            </a:prstGeom>
            <a:noFill/>
          </p:spPr>
          <p:txBody>
            <a:bodyPr wrap="square" rtlCol="0">
              <a:spAutoFit/>
            </a:bodyPr>
            <a:lstStyle/>
            <a:p>
              <a:pPr algn="ctr"/>
              <a:r>
                <a:rPr lang="ja-JP" altLang="en-US" sz="700" spc="600">
                  <a:latin typeface="Meiryo" panose="020B0604030504040204" pitchFamily="34" charset="-128"/>
                  <a:ea typeface="Meiryo" panose="020B0604030504040204" pitchFamily="34" charset="-128"/>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426299" y="1246675"/>
            <a:ext cx="9972000" cy="400110"/>
          </a:xfrm>
          <a:prstGeom prst="rect">
            <a:avLst/>
          </a:prstGeom>
          <a:noFill/>
        </p:spPr>
        <p:txBody>
          <a:bodyPr wrap="square" rtlCol="0">
            <a:spAutoFit/>
          </a:bodyPr>
          <a:lstStyle/>
          <a:p>
            <a:pPr lvl="0" algn="ctr">
              <a:defRPr/>
            </a:pPr>
            <a:r>
              <a:rPr lang="ja-JP" altLang="en-US" sz="2000" b="1" kern="0" spc="100" dirty="0">
                <a:solidFill>
                  <a:srgbClr val="009C89"/>
                </a:solidFill>
                <a:latin typeface="Meiryo" panose="020B0604030504040204" pitchFamily="34" charset="-128"/>
                <a:ea typeface="Meiryo" panose="020B0604030504040204" pitchFamily="34" charset="-128"/>
              </a:rPr>
              <a:t>自立・分散型の「地域エネルギーセンター</a:t>
            </a:r>
            <a:r>
              <a:rPr lang="ja-JP" altLang="en-US" sz="2000" b="1" kern="0" spc="100" dirty="0" smtClean="0">
                <a:solidFill>
                  <a:srgbClr val="009C89"/>
                </a:solidFill>
                <a:latin typeface="Meiryo" panose="020B0604030504040204" pitchFamily="34" charset="-128"/>
                <a:ea typeface="Meiryo" panose="020B0604030504040204" pitchFamily="34" charset="-128"/>
              </a:rPr>
              <a:t>」の</a:t>
            </a:r>
            <a:r>
              <a:rPr lang="ja-JP" altLang="en-US" sz="2000" b="1" kern="0" spc="100" dirty="0">
                <a:solidFill>
                  <a:srgbClr val="009C89"/>
                </a:solidFill>
                <a:latin typeface="Meiryo" panose="020B0604030504040204" pitchFamily="34" charset="-128"/>
                <a:ea typeface="Meiryo" panose="020B0604030504040204" pitchFamily="34" charset="-128"/>
              </a:rPr>
              <a:t>整備を支援します。</a:t>
            </a:r>
          </a:p>
        </p:txBody>
      </p:sp>
      <p:pic>
        <p:nvPicPr>
          <p:cNvPr id="3" name="グラフィックス 2">
            <a:extLst>
              <a:ext uri="{FF2B5EF4-FFF2-40B4-BE49-F238E27FC236}">
                <a16:creationId xmlns:a16="http://schemas.microsoft.com/office/drawing/2014/main" id="{2F775F9E-CFA1-AD44-A5A6-0B5153D1C090}"/>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433065" y="1862139"/>
            <a:ext cx="9792000" cy="4963765"/>
          </a:xfrm>
          <a:prstGeom prst="rect">
            <a:avLst/>
          </a:prstGeom>
        </p:spPr>
      </p:pic>
      <p:pic>
        <p:nvPicPr>
          <p:cNvPr id="17" name="グラフィックス 16">
            <a:extLst>
              <a:ext uri="{FF2B5EF4-FFF2-40B4-BE49-F238E27FC236}">
                <a16:creationId xmlns:a16="http://schemas.microsoft.com/office/drawing/2014/main" id="{EEBAD844-C9FA-2F46-A4B4-EF57CDD74263}"/>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2035355" y="2006779"/>
            <a:ext cx="221477" cy="618833"/>
          </a:xfrm>
          <a:prstGeom prst="rect">
            <a:avLst/>
          </a:prstGeom>
        </p:spPr>
      </p:pic>
      <p:pic>
        <p:nvPicPr>
          <p:cNvPr id="18" name="グラフィックス 17">
            <a:extLst>
              <a:ext uri="{FF2B5EF4-FFF2-40B4-BE49-F238E27FC236}">
                <a16:creationId xmlns:a16="http://schemas.microsoft.com/office/drawing/2014/main" id="{96D0CA70-7259-FE49-9BD2-E8830E234996}"/>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1697604" y="2006779"/>
            <a:ext cx="221477" cy="618833"/>
          </a:xfrm>
          <a:prstGeom prst="rect">
            <a:avLst/>
          </a:prstGeom>
        </p:spPr>
      </p:pic>
      <p:grpSp>
        <p:nvGrpSpPr>
          <p:cNvPr id="19" name="グループ化 18">
            <a:extLst>
              <a:ext uri="{FF2B5EF4-FFF2-40B4-BE49-F238E27FC236}">
                <a16:creationId xmlns:a16="http://schemas.microsoft.com/office/drawing/2014/main" id="{83705131-4A60-7C49-A0C7-E54E8B133260}"/>
              </a:ext>
            </a:extLst>
          </p:cNvPr>
          <p:cNvGrpSpPr/>
          <p:nvPr/>
        </p:nvGrpSpPr>
        <p:grpSpPr>
          <a:xfrm>
            <a:off x="564332" y="1986831"/>
            <a:ext cx="1188323" cy="230832"/>
            <a:chOff x="388955" y="1865183"/>
            <a:chExt cx="1188323" cy="230832"/>
          </a:xfrm>
        </p:grpSpPr>
        <p:sp>
          <p:nvSpPr>
            <p:cNvPr id="20" name="テキスト ボックス 19">
              <a:extLst>
                <a:ext uri="{FF2B5EF4-FFF2-40B4-BE49-F238E27FC236}">
                  <a16:creationId xmlns:a16="http://schemas.microsoft.com/office/drawing/2014/main" id="{0F1708CB-69B1-824C-99FA-205A326E0F02}"/>
                </a:ext>
              </a:extLst>
            </p:cNvPr>
            <p:cNvSpPr txBox="1"/>
            <p:nvPr/>
          </p:nvSpPr>
          <p:spPr>
            <a:xfrm>
              <a:off x="388955" y="1865183"/>
              <a:ext cx="1188323" cy="230832"/>
            </a:xfrm>
            <a:prstGeom prst="rect">
              <a:avLst/>
            </a:prstGeom>
            <a:noFill/>
          </p:spPr>
          <p:txBody>
            <a:bodyPr wrap="square" rtlCol="0" anchor="ctr">
              <a:spAutoFit/>
            </a:bodyPr>
            <a:lstStyle/>
            <a:p>
              <a:r>
                <a:rPr lang="ja-JP" altLang="en-US" sz="900" b="1" i="1" dirty="0" smtClean="0">
                  <a:solidFill>
                    <a:prstClr val="black"/>
                  </a:solidFill>
                  <a:latin typeface="Meiryo" panose="020B0604030504040204" pitchFamily="34" charset="-128"/>
                  <a:ea typeface="Meiryo" panose="020B0604030504040204" pitchFamily="34" charset="-128"/>
                </a:rPr>
                <a:t>交付・補助</a:t>
              </a:r>
              <a:r>
                <a:rPr lang="ja-JP" altLang="en-US" sz="900" b="1" i="1" dirty="0" smtClean="0">
                  <a:latin typeface="Meiryo" panose="020B0604030504040204" pitchFamily="34" charset="-128"/>
                  <a:ea typeface="Meiryo" panose="020B0604030504040204" pitchFamily="34" charset="-128"/>
                </a:rPr>
                <a:t>対象者</a:t>
              </a:r>
              <a:endParaRPr lang="ja-JP" altLang="en-US" sz="900" b="1" i="1" dirty="0">
                <a:latin typeface="Meiryo" panose="020B0604030504040204" pitchFamily="34" charset="-128"/>
                <a:ea typeface="Meiryo" panose="020B0604030504040204" pitchFamily="34" charset="-128"/>
              </a:endParaRPr>
            </a:p>
          </p:txBody>
        </p:sp>
        <p:cxnSp>
          <p:nvCxnSpPr>
            <p:cNvPr id="21" name="直線コネクタ 20">
              <a:extLst>
                <a:ext uri="{FF2B5EF4-FFF2-40B4-BE49-F238E27FC236}">
                  <a16:creationId xmlns:a16="http://schemas.microsoft.com/office/drawing/2014/main" id="{0D780C09-9A4F-9C41-92F8-38AC30168F11}"/>
                </a:ext>
              </a:extLst>
            </p:cNvPr>
            <p:cNvCxnSpPr>
              <a:cxnSpLocks/>
            </p:cNvCxnSpPr>
            <p:nvPr/>
          </p:nvCxnSpPr>
          <p:spPr>
            <a:xfrm>
              <a:off x="476222" y="2049045"/>
              <a:ext cx="92948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 name="グループ化 21">
            <a:extLst>
              <a:ext uri="{FF2B5EF4-FFF2-40B4-BE49-F238E27FC236}">
                <a16:creationId xmlns:a16="http://schemas.microsoft.com/office/drawing/2014/main" id="{82BABF25-64AF-0E43-9CD7-D6C0788EEA00}"/>
              </a:ext>
            </a:extLst>
          </p:cNvPr>
          <p:cNvGrpSpPr/>
          <p:nvPr/>
        </p:nvGrpSpPr>
        <p:grpSpPr>
          <a:xfrm>
            <a:off x="6276566" y="1935566"/>
            <a:ext cx="658820" cy="282770"/>
            <a:chOff x="6738301" y="1834253"/>
            <a:chExt cx="658820" cy="282770"/>
          </a:xfrm>
        </p:grpSpPr>
        <p:sp>
          <p:nvSpPr>
            <p:cNvPr id="23" name="テキスト ボックス 22">
              <a:extLst>
                <a:ext uri="{FF2B5EF4-FFF2-40B4-BE49-F238E27FC236}">
                  <a16:creationId xmlns:a16="http://schemas.microsoft.com/office/drawing/2014/main" id="{654D7C59-16B4-3747-B74F-BBD3B6559F3E}"/>
                </a:ext>
              </a:extLst>
            </p:cNvPr>
            <p:cNvSpPr txBox="1"/>
            <p:nvPr/>
          </p:nvSpPr>
          <p:spPr>
            <a:xfrm>
              <a:off x="6738301" y="1834253"/>
              <a:ext cx="658820" cy="282770"/>
            </a:xfrm>
            <a:prstGeom prst="rect">
              <a:avLst/>
            </a:prstGeom>
            <a:noFill/>
          </p:spPr>
          <p:txBody>
            <a:bodyPr wrap="square" rtlCol="0" anchor="ctr">
              <a:spAutoFit/>
            </a:bodyPr>
            <a:lstStyle/>
            <a:p>
              <a:pPr>
                <a:lnSpc>
                  <a:spcPct val="150000"/>
                </a:lnSpc>
              </a:pPr>
              <a:r>
                <a:rPr lang="ja-JP" altLang="en-US" sz="900" b="1" i="1">
                  <a:latin typeface="Meiryo" panose="020B0604030504040204" pitchFamily="34" charset="-128"/>
                  <a:ea typeface="Meiryo" panose="020B0604030504040204" pitchFamily="34" charset="-128"/>
                </a:rPr>
                <a:t>募集時期</a:t>
              </a:r>
            </a:p>
          </p:txBody>
        </p:sp>
        <p:cxnSp>
          <p:nvCxnSpPr>
            <p:cNvPr id="24" name="直線コネクタ 23">
              <a:extLst>
                <a:ext uri="{FF2B5EF4-FFF2-40B4-BE49-F238E27FC236}">
                  <a16:creationId xmlns:a16="http://schemas.microsoft.com/office/drawing/2014/main" id="{1CB9FD26-B0E4-4A40-851B-75C145A75B93}"/>
                </a:ext>
              </a:extLst>
            </p:cNvPr>
            <p:cNvCxnSpPr>
              <a:cxnSpLocks/>
            </p:cNvCxnSpPr>
            <p:nvPr/>
          </p:nvCxnSpPr>
          <p:spPr>
            <a:xfrm>
              <a:off x="6817072" y="2065781"/>
              <a:ext cx="46643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テキスト ボックス 24">
            <a:extLst>
              <a:ext uri="{FF2B5EF4-FFF2-40B4-BE49-F238E27FC236}">
                <a16:creationId xmlns:a16="http://schemas.microsoft.com/office/drawing/2014/main" id="{9C353655-67E5-EB4A-A6EE-97ED0FE6A9CF}"/>
              </a:ext>
            </a:extLst>
          </p:cNvPr>
          <p:cNvSpPr txBox="1"/>
          <p:nvPr/>
        </p:nvSpPr>
        <p:spPr>
          <a:xfrm>
            <a:off x="2374931" y="2175500"/>
            <a:ext cx="4126484" cy="230832"/>
          </a:xfrm>
          <a:prstGeom prst="rect">
            <a:avLst/>
          </a:prstGeom>
          <a:noFill/>
        </p:spPr>
        <p:txBody>
          <a:bodyPr wrap="square" rtlCol="0" anchor="ctr">
            <a:spAutoFit/>
          </a:bodyPr>
          <a:lstStyle/>
          <a:p>
            <a:pPr lvl="0">
              <a:spcBef>
                <a:spcPts val="100"/>
              </a:spcBef>
              <a:spcAft>
                <a:spcPts val="100"/>
              </a:spcAft>
              <a:defRPr/>
            </a:pPr>
            <a:r>
              <a:rPr lang="ja-JP" altLang="en-US" sz="900" dirty="0" smtClean="0">
                <a:latin typeface="Meiryo" panose="020B0604030504040204" pitchFamily="34" charset="-128"/>
                <a:ea typeface="Meiryo" panose="020B0604030504040204" pitchFamily="34" charset="-128"/>
              </a:rPr>
              <a:t>・</a:t>
            </a:r>
            <a:r>
              <a:rPr lang="ja-JP" altLang="en-US" sz="900" dirty="0" smtClean="0">
                <a:solidFill>
                  <a:prstClr val="black"/>
                </a:solidFill>
                <a:latin typeface="Meiryo" panose="020B0604030504040204" pitchFamily="34" charset="-128"/>
                <a:ea typeface="Meiryo" panose="020B0604030504040204" pitchFamily="34" charset="-128"/>
              </a:rPr>
              <a:t>地方公共団体等</a:t>
            </a:r>
            <a:endParaRPr lang="ja-JP" altLang="en-US" sz="900" dirty="0">
              <a:solidFill>
                <a:prstClr val="black"/>
              </a:solidFill>
              <a:latin typeface="Meiryo" panose="020B0604030504040204" pitchFamily="34" charset="-128"/>
              <a:ea typeface="Meiryo" panose="020B0604030504040204" pitchFamily="34" charset="-128"/>
            </a:endParaRPr>
          </a:p>
        </p:txBody>
      </p:sp>
      <p:sp>
        <p:nvSpPr>
          <p:cNvPr id="26" name="テキスト ボックス 25">
            <a:extLst>
              <a:ext uri="{FF2B5EF4-FFF2-40B4-BE49-F238E27FC236}">
                <a16:creationId xmlns:a16="http://schemas.microsoft.com/office/drawing/2014/main" id="{7E762237-0FF6-844F-8352-04F45D294D4A}"/>
              </a:ext>
            </a:extLst>
          </p:cNvPr>
          <p:cNvSpPr txBox="1"/>
          <p:nvPr/>
        </p:nvSpPr>
        <p:spPr>
          <a:xfrm>
            <a:off x="7142386" y="2186140"/>
            <a:ext cx="2754811" cy="369332"/>
          </a:xfrm>
          <a:prstGeom prst="rect">
            <a:avLst/>
          </a:prstGeom>
          <a:noFill/>
        </p:spPr>
        <p:txBody>
          <a:bodyPr wrap="square" rtlCol="0">
            <a:spAutoFit/>
          </a:bodyPr>
          <a:lstStyle/>
          <a:p>
            <a:r>
              <a:rPr lang="ja-JP" altLang="en-US" sz="1800" b="1" dirty="0">
                <a:latin typeface="Meiryo" panose="020B0604030504040204" pitchFamily="34" charset="-128"/>
                <a:ea typeface="Meiryo" panose="020B0604030504040204" pitchFamily="34" charset="-128"/>
              </a:rPr>
              <a:t>平成</a:t>
            </a:r>
            <a:r>
              <a:rPr lang="en-US" altLang="ja-JP" sz="1800" b="1" dirty="0">
                <a:latin typeface="Meiryo" panose="020B0604030504040204" pitchFamily="34" charset="-128"/>
                <a:ea typeface="Meiryo" panose="020B0604030504040204" pitchFamily="34" charset="-128"/>
              </a:rPr>
              <a:t>31</a:t>
            </a:r>
            <a:r>
              <a:rPr lang="ja-JP" altLang="en-US" sz="1800" b="1" dirty="0">
                <a:latin typeface="Meiryo" panose="020B0604030504040204" pitchFamily="34" charset="-128"/>
                <a:ea typeface="Meiryo" panose="020B0604030504040204" pitchFamily="34" charset="-128"/>
              </a:rPr>
              <a:t>年</a:t>
            </a:r>
            <a:r>
              <a:rPr lang="en-US" altLang="ja-JP" sz="1800" b="1" dirty="0">
                <a:latin typeface="Meiryo" panose="020B0604030504040204" pitchFamily="34" charset="-128"/>
                <a:ea typeface="Meiryo" panose="020B0604030504040204" pitchFamily="34" charset="-128"/>
              </a:rPr>
              <a:t>4</a:t>
            </a:r>
            <a:r>
              <a:rPr lang="ja-JP" altLang="en-US" sz="1800" b="1" dirty="0">
                <a:latin typeface="Meiryo" panose="020B0604030504040204" pitchFamily="34" charset="-128"/>
                <a:ea typeface="Meiryo" panose="020B0604030504040204" pitchFamily="34" charset="-128"/>
              </a:rPr>
              <a:t>月頃（予定）</a:t>
            </a:r>
          </a:p>
        </p:txBody>
      </p:sp>
      <p:cxnSp>
        <p:nvCxnSpPr>
          <p:cNvPr id="27" name="直線コネクタ 26">
            <a:extLst>
              <a:ext uri="{FF2B5EF4-FFF2-40B4-BE49-F238E27FC236}">
                <a16:creationId xmlns:a16="http://schemas.microsoft.com/office/drawing/2014/main" id="{9A7F3025-A8EE-F640-B9A1-04FF6EB6B898}"/>
              </a:ext>
            </a:extLst>
          </p:cNvPr>
          <p:cNvCxnSpPr>
            <a:cxnSpLocks/>
          </p:cNvCxnSpPr>
          <p:nvPr/>
        </p:nvCxnSpPr>
        <p:spPr>
          <a:xfrm>
            <a:off x="6120000" y="1914350"/>
            <a:ext cx="0" cy="684000"/>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A08802A2-EC94-9C49-8B29-90614F89B15A}"/>
              </a:ext>
            </a:extLst>
          </p:cNvPr>
          <p:cNvSpPr/>
          <p:nvPr/>
        </p:nvSpPr>
        <p:spPr>
          <a:xfrm>
            <a:off x="1407510" y="4555934"/>
            <a:ext cx="3587796" cy="1446550"/>
          </a:xfrm>
          <a:prstGeom prst="rect">
            <a:avLst/>
          </a:prstGeom>
        </p:spPr>
        <p:txBody>
          <a:bodyPr wrap="square">
            <a:spAutoFit/>
          </a:bodyPr>
          <a:lstStyle/>
          <a:p>
            <a:pPr marL="108000" lvl="0" indent="-177800">
              <a:defRPr/>
            </a:pPr>
            <a:r>
              <a:rPr lang="ja-JP" altLang="en-US" sz="1100" b="1" dirty="0" smtClean="0">
                <a:solidFill>
                  <a:srgbClr val="009C89"/>
                </a:solidFill>
                <a:latin typeface="Meiryo" panose="020B0604030504040204" pitchFamily="34" charset="-128"/>
                <a:ea typeface="Meiryo" panose="020B0604030504040204" pitchFamily="34" charset="-128"/>
              </a:rPr>
              <a:t>・高効率</a:t>
            </a:r>
            <a:r>
              <a:rPr lang="ja-JP" altLang="en-US" sz="1100" b="1" dirty="0">
                <a:solidFill>
                  <a:srgbClr val="009C89"/>
                </a:solidFill>
                <a:latin typeface="Meiryo" panose="020B0604030504040204" pitchFamily="34" charset="-128"/>
                <a:ea typeface="Meiryo" panose="020B0604030504040204" pitchFamily="34" charset="-128"/>
              </a:rPr>
              <a:t>廃棄物発電等</a:t>
            </a:r>
            <a:r>
              <a:rPr lang="ja-JP" altLang="en-US" sz="1100" b="1" dirty="0" smtClean="0">
                <a:solidFill>
                  <a:srgbClr val="009C89"/>
                </a:solidFill>
                <a:latin typeface="Meiryo" panose="020B0604030504040204" pitchFamily="34" charset="-128"/>
                <a:ea typeface="Meiryo" panose="020B0604030504040204" pitchFamily="34" charset="-128"/>
              </a:rPr>
              <a:t>の導入</a:t>
            </a:r>
            <a:r>
              <a:rPr lang="ja-JP" altLang="en-US" sz="1100" b="1" dirty="0">
                <a:solidFill>
                  <a:srgbClr val="009C89"/>
                </a:solidFill>
                <a:latin typeface="Meiryo" panose="020B0604030504040204" pitchFamily="34" charset="-128"/>
                <a:ea typeface="Meiryo" panose="020B0604030504040204" pitchFamily="34" charset="-128"/>
              </a:rPr>
              <a:t>に</a:t>
            </a:r>
            <a:r>
              <a:rPr lang="ja-JP" altLang="en-US" sz="1100" b="1" dirty="0" smtClean="0">
                <a:solidFill>
                  <a:srgbClr val="009C89"/>
                </a:solidFill>
                <a:latin typeface="Meiryo" panose="020B0604030504040204" pitchFamily="34" charset="-128"/>
                <a:ea typeface="Meiryo" panose="020B0604030504040204" pitchFamily="34" charset="-128"/>
              </a:rPr>
              <a:t>向けた改良</a:t>
            </a:r>
            <a:r>
              <a:rPr lang="ja-JP" altLang="en-US" sz="1100" b="1" dirty="0">
                <a:solidFill>
                  <a:srgbClr val="009C89"/>
                </a:solidFill>
                <a:latin typeface="Meiryo" panose="020B0604030504040204" pitchFamily="34" charset="-128"/>
                <a:ea typeface="Meiryo" panose="020B0604030504040204" pitchFamily="34" charset="-128"/>
              </a:rPr>
              <a:t>・更新費の１</a:t>
            </a:r>
            <a:r>
              <a:rPr lang="en-US" altLang="ja-JP" sz="1100" b="1" dirty="0">
                <a:solidFill>
                  <a:srgbClr val="009C89"/>
                </a:solidFill>
                <a:latin typeface="Meiryo" panose="020B0604030504040204" pitchFamily="34" charset="-128"/>
                <a:ea typeface="Meiryo" panose="020B0604030504040204" pitchFamily="34" charset="-128"/>
              </a:rPr>
              <a:t>/</a:t>
            </a:r>
            <a:r>
              <a:rPr lang="ja-JP" altLang="en-US" sz="1100" b="1" dirty="0">
                <a:solidFill>
                  <a:srgbClr val="009C89"/>
                </a:solidFill>
                <a:latin typeface="Meiryo" panose="020B0604030504040204" pitchFamily="34" charset="-128"/>
                <a:ea typeface="Meiryo" panose="020B0604030504040204" pitchFamily="34" charset="-128"/>
              </a:rPr>
              <a:t>２まで</a:t>
            </a:r>
            <a:r>
              <a:rPr lang="ja-JP" altLang="en-US" sz="1100" b="1" dirty="0" smtClean="0">
                <a:solidFill>
                  <a:srgbClr val="009C89"/>
                </a:solidFill>
                <a:latin typeface="Meiryo" panose="020B0604030504040204" pitchFamily="34" charset="-128"/>
                <a:ea typeface="Meiryo" panose="020B0604030504040204" pitchFamily="34" charset="-128"/>
              </a:rPr>
              <a:t>支援</a:t>
            </a:r>
            <a:endParaRPr lang="en-US" altLang="ja-JP" sz="1100" b="1" dirty="0" smtClean="0">
              <a:solidFill>
                <a:srgbClr val="009C89"/>
              </a:solidFill>
              <a:latin typeface="Meiryo" panose="020B0604030504040204" pitchFamily="34" charset="-128"/>
              <a:ea typeface="Meiryo" panose="020B0604030504040204" pitchFamily="34" charset="-128"/>
            </a:endParaRPr>
          </a:p>
          <a:p>
            <a:pPr marL="108000" indent="-177800">
              <a:defRPr/>
            </a:pPr>
            <a:r>
              <a:rPr lang="ja-JP" altLang="en-US" sz="1100" b="1" dirty="0">
                <a:solidFill>
                  <a:srgbClr val="009C89"/>
                </a:solidFill>
                <a:latin typeface="Meiryo" panose="020B0604030504040204" pitchFamily="34" charset="-128"/>
                <a:ea typeface="Meiryo" panose="020B0604030504040204" pitchFamily="34" charset="-128"/>
              </a:rPr>
              <a:t>・廃棄物発電により生じた電力・熱を利活用するための</a:t>
            </a:r>
            <a:r>
              <a:rPr lang="ja-JP" altLang="en-US" sz="1100" b="1" dirty="0" smtClean="0">
                <a:solidFill>
                  <a:srgbClr val="009C89"/>
                </a:solidFill>
                <a:latin typeface="Meiryo" panose="020B0604030504040204" pitchFamily="34" charset="-128"/>
                <a:ea typeface="Meiryo" panose="020B0604030504040204" pitchFamily="34" charset="-128"/>
              </a:rPr>
              <a:t>設備の</a:t>
            </a:r>
            <a:r>
              <a:rPr lang="ja-JP" altLang="en-US" sz="1100" b="1" dirty="0">
                <a:solidFill>
                  <a:srgbClr val="009C89"/>
                </a:solidFill>
                <a:latin typeface="Meiryo" panose="020B0604030504040204" pitchFamily="34" charset="-128"/>
                <a:ea typeface="Meiryo" panose="020B0604030504040204" pitchFamily="34" charset="-128"/>
              </a:rPr>
              <a:t>導入費用の１</a:t>
            </a:r>
            <a:r>
              <a:rPr lang="en-US" altLang="ja-JP" sz="1100" b="1" dirty="0">
                <a:solidFill>
                  <a:srgbClr val="009C89"/>
                </a:solidFill>
                <a:latin typeface="Meiryo" panose="020B0604030504040204" pitchFamily="34" charset="-128"/>
                <a:ea typeface="Meiryo" panose="020B0604030504040204" pitchFamily="34" charset="-128"/>
              </a:rPr>
              <a:t>/</a:t>
            </a:r>
            <a:r>
              <a:rPr lang="ja-JP" altLang="en-US" sz="1100" b="1" dirty="0">
                <a:solidFill>
                  <a:srgbClr val="009C89"/>
                </a:solidFill>
                <a:latin typeface="Meiryo" panose="020B0604030504040204" pitchFamily="34" charset="-128"/>
                <a:ea typeface="Meiryo" panose="020B0604030504040204" pitchFamily="34" charset="-128"/>
              </a:rPr>
              <a:t>２まで支援</a:t>
            </a:r>
            <a:endParaRPr lang="en-US" altLang="ja-JP" sz="1100" b="1" dirty="0">
              <a:solidFill>
                <a:srgbClr val="009C89"/>
              </a:solidFill>
              <a:latin typeface="Meiryo" panose="020B0604030504040204" pitchFamily="34" charset="-128"/>
              <a:ea typeface="Meiryo" panose="020B0604030504040204" pitchFamily="34" charset="-128"/>
            </a:endParaRPr>
          </a:p>
          <a:p>
            <a:pPr marL="108000" indent="-177800">
              <a:defRPr/>
            </a:pPr>
            <a:r>
              <a:rPr lang="ja-JP" altLang="en-US" sz="1100" b="1" dirty="0">
                <a:solidFill>
                  <a:srgbClr val="009C89"/>
                </a:solidFill>
                <a:latin typeface="Meiryo" panose="020B0604030504040204" pitchFamily="34" charset="-128"/>
                <a:ea typeface="Meiryo" panose="020B0604030504040204" pitchFamily="34" charset="-128"/>
              </a:rPr>
              <a:t>・</a:t>
            </a:r>
            <a:r>
              <a:rPr lang="en-US" altLang="ja-JP" sz="1100" b="1" dirty="0">
                <a:solidFill>
                  <a:srgbClr val="009C89"/>
                </a:solidFill>
                <a:latin typeface="Meiryo" panose="020B0604030504040204" pitchFamily="34" charset="-128"/>
                <a:ea typeface="Meiryo" panose="020B0604030504040204" pitchFamily="34" charset="-128"/>
              </a:rPr>
              <a:t>EV</a:t>
            </a:r>
            <a:r>
              <a:rPr lang="ja-JP" altLang="en-US" sz="1100" b="1" dirty="0">
                <a:solidFill>
                  <a:srgbClr val="009C89"/>
                </a:solidFill>
                <a:latin typeface="Meiryo" panose="020B0604030504040204" pitchFamily="34" charset="-128"/>
                <a:ea typeface="Meiryo" panose="020B0604030504040204" pitchFamily="34" charset="-128"/>
              </a:rPr>
              <a:t>パッカー車はディーゼル車の導入費用との差額の</a:t>
            </a:r>
            <a:r>
              <a:rPr lang="en-US" altLang="ja-JP" sz="1100" b="1" dirty="0">
                <a:solidFill>
                  <a:srgbClr val="009C89"/>
                </a:solidFill>
                <a:latin typeface="Meiryo" panose="020B0604030504040204" pitchFamily="34" charset="-128"/>
                <a:ea typeface="Meiryo" panose="020B0604030504040204" pitchFamily="34" charset="-128"/>
              </a:rPr>
              <a:t>2/3</a:t>
            </a:r>
            <a:r>
              <a:rPr lang="ja-JP" altLang="en-US" sz="1100" b="1" dirty="0">
                <a:solidFill>
                  <a:srgbClr val="009C89"/>
                </a:solidFill>
                <a:latin typeface="Meiryo" panose="020B0604030504040204" pitchFamily="34" charset="-128"/>
                <a:ea typeface="Meiryo" panose="020B0604030504040204" pitchFamily="34" charset="-128"/>
              </a:rPr>
              <a:t>を支援</a:t>
            </a:r>
            <a:endParaRPr lang="en-US" altLang="ja-JP" sz="1100" b="1" dirty="0">
              <a:solidFill>
                <a:srgbClr val="009C89"/>
              </a:solidFill>
              <a:latin typeface="Meiryo" panose="020B0604030504040204" pitchFamily="34" charset="-128"/>
              <a:ea typeface="Meiryo" panose="020B0604030504040204" pitchFamily="34" charset="-128"/>
            </a:endParaRPr>
          </a:p>
          <a:p>
            <a:pPr marL="108000" indent="-177800">
              <a:defRPr/>
            </a:pPr>
            <a:r>
              <a:rPr lang="ja-JP" altLang="en-US" sz="1100" b="1" dirty="0" smtClean="0">
                <a:solidFill>
                  <a:srgbClr val="009C89"/>
                </a:solidFill>
                <a:latin typeface="Meiryo" panose="020B0604030504040204" pitchFamily="34" charset="-128"/>
                <a:ea typeface="Meiryo" panose="020B0604030504040204" pitchFamily="34" charset="-128"/>
              </a:rPr>
              <a:t>・</a:t>
            </a:r>
            <a:r>
              <a:rPr lang="en-US" altLang="ja-JP" sz="1100" b="1" dirty="0">
                <a:solidFill>
                  <a:srgbClr val="009C89"/>
                </a:solidFill>
                <a:latin typeface="Meiryo" panose="020B0604030504040204" pitchFamily="34" charset="-128"/>
                <a:ea typeface="Meiryo" panose="020B0604030504040204" pitchFamily="34" charset="-128"/>
              </a:rPr>
              <a:t>FS</a:t>
            </a:r>
            <a:r>
              <a:rPr lang="ja-JP" altLang="en-US" sz="1100" b="1" dirty="0" smtClean="0">
                <a:solidFill>
                  <a:srgbClr val="009C89"/>
                </a:solidFill>
                <a:latin typeface="Meiryo" panose="020B0604030504040204" pitchFamily="34" charset="-128"/>
                <a:ea typeface="Meiryo" panose="020B0604030504040204" pitchFamily="34" charset="-128"/>
              </a:rPr>
              <a:t>調査</a:t>
            </a:r>
            <a:r>
              <a:rPr lang="ja-JP" altLang="en-US" sz="1100" b="1" dirty="0">
                <a:solidFill>
                  <a:srgbClr val="009C89"/>
                </a:solidFill>
                <a:latin typeface="Meiryo" panose="020B0604030504040204" pitchFamily="34" charset="-128"/>
                <a:ea typeface="Meiryo" panose="020B0604030504040204" pitchFamily="34" charset="-128"/>
              </a:rPr>
              <a:t>は</a:t>
            </a:r>
            <a:r>
              <a:rPr lang="ja-JP" altLang="en-US" sz="1100" b="1" dirty="0" smtClean="0">
                <a:solidFill>
                  <a:srgbClr val="009C89"/>
                </a:solidFill>
                <a:latin typeface="Meiryo" panose="020B0604030504040204" pitchFamily="34" charset="-128"/>
                <a:ea typeface="Meiryo" panose="020B0604030504040204" pitchFamily="34" charset="-128"/>
              </a:rPr>
              <a:t>実施</a:t>
            </a:r>
            <a:r>
              <a:rPr lang="ja-JP" altLang="en-US" sz="1100" b="1" dirty="0">
                <a:solidFill>
                  <a:srgbClr val="009C89"/>
                </a:solidFill>
                <a:latin typeface="Meiryo" panose="020B0604030504040204" pitchFamily="34" charset="-128"/>
                <a:ea typeface="Meiryo" panose="020B0604030504040204" pitchFamily="34" charset="-128"/>
              </a:rPr>
              <a:t>費用の一定額を支援</a:t>
            </a:r>
            <a:endParaRPr lang="en-US" altLang="ja-JP" sz="1100" b="1" dirty="0">
              <a:solidFill>
                <a:srgbClr val="009C89"/>
              </a:solidFill>
              <a:latin typeface="Meiryo" panose="020B0604030504040204" pitchFamily="34" charset="-128"/>
              <a:ea typeface="Meiryo" panose="020B0604030504040204" pitchFamily="34" charset="-128"/>
            </a:endParaRPr>
          </a:p>
          <a:p>
            <a:pPr lvl="0">
              <a:defRPr/>
            </a:pPr>
            <a:endParaRPr lang="ja-JP" altLang="en-US" sz="1100" b="1" dirty="0">
              <a:solidFill>
                <a:srgbClr val="009C89"/>
              </a:solidFill>
              <a:latin typeface="Meiryo" panose="020B0604030504040204" pitchFamily="34" charset="-128"/>
              <a:ea typeface="Meiryo" panose="020B0604030504040204" pitchFamily="34" charset="-128"/>
            </a:endParaRPr>
          </a:p>
        </p:txBody>
      </p:sp>
      <p:grpSp>
        <p:nvGrpSpPr>
          <p:cNvPr id="29" name="グループ化 28">
            <a:extLst>
              <a:ext uri="{FF2B5EF4-FFF2-40B4-BE49-F238E27FC236}">
                <a16:creationId xmlns:a16="http://schemas.microsoft.com/office/drawing/2014/main" id="{D06E5A9F-5D6D-1849-9764-656206B8F6AE}"/>
              </a:ext>
            </a:extLst>
          </p:cNvPr>
          <p:cNvGrpSpPr/>
          <p:nvPr/>
        </p:nvGrpSpPr>
        <p:grpSpPr>
          <a:xfrm>
            <a:off x="583140" y="2843960"/>
            <a:ext cx="1188323" cy="230832"/>
            <a:chOff x="388955" y="2922881"/>
            <a:chExt cx="1188323" cy="230832"/>
          </a:xfrm>
        </p:grpSpPr>
        <p:sp>
          <p:nvSpPr>
            <p:cNvPr id="30" name="テキスト ボックス 29">
              <a:extLst>
                <a:ext uri="{FF2B5EF4-FFF2-40B4-BE49-F238E27FC236}">
                  <a16:creationId xmlns:a16="http://schemas.microsoft.com/office/drawing/2014/main" id="{FB9CC24B-1AB5-184F-8D11-98F7D1B5681B}"/>
                </a:ext>
              </a:extLst>
            </p:cNvPr>
            <p:cNvSpPr txBox="1"/>
            <p:nvPr/>
          </p:nvSpPr>
          <p:spPr>
            <a:xfrm>
              <a:off x="388955" y="2922881"/>
              <a:ext cx="1188323" cy="230832"/>
            </a:xfrm>
            <a:prstGeom prst="rect">
              <a:avLst/>
            </a:prstGeom>
            <a:noFill/>
          </p:spPr>
          <p:txBody>
            <a:bodyPr wrap="square" rtlCol="0" anchor="ctr">
              <a:spAutoFit/>
            </a:bodyPr>
            <a:lstStyle/>
            <a:p>
              <a:r>
                <a:rPr lang="ja-JP" altLang="en-US" sz="900" b="1" i="1" dirty="0" smtClean="0">
                  <a:solidFill>
                    <a:prstClr val="black"/>
                  </a:solidFill>
                  <a:latin typeface="Meiryo" panose="020B0604030504040204" pitchFamily="34" charset="-128"/>
                  <a:ea typeface="Meiryo" panose="020B0604030504040204" pitchFamily="34" charset="-128"/>
                </a:rPr>
                <a:t>交付・補助</a:t>
              </a:r>
              <a:r>
                <a:rPr lang="ja-JP" altLang="en-US" sz="900" b="1" i="1" dirty="0" smtClean="0">
                  <a:latin typeface="Meiryo" panose="020B0604030504040204" pitchFamily="34" charset="-128"/>
                  <a:ea typeface="Meiryo" panose="020B0604030504040204" pitchFamily="34" charset="-128"/>
                </a:rPr>
                <a:t>要件</a:t>
              </a:r>
              <a:endParaRPr lang="ja-JP" altLang="en-US" sz="900" b="1" i="1" dirty="0">
                <a:latin typeface="Meiryo" panose="020B0604030504040204" pitchFamily="34" charset="-128"/>
                <a:ea typeface="Meiryo" panose="020B0604030504040204" pitchFamily="34" charset="-128"/>
              </a:endParaRPr>
            </a:p>
          </p:txBody>
        </p:sp>
        <p:cxnSp>
          <p:nvCxnSpPr>
            <p:cNvPr id="31" name="直線コネクタ 30">
              <a:extLst>
                <a:ext uri="{FF2B5EF4-FFF2-40B4-BE49-F238E27FC236}">
                  <a16:creationId xmlns:a16="http://schemas.microsoft.com/office/drawing/2014/main" id="{6845F77E-CC4B-5F43-93DF-2B1D4CA8D380}"/>
                </a:ext>
              </a:extLst>
            </p:cNvPr>
            <p:cNvCxnSpPr>
              <a:cxnSpLocks/>
            </p:cNvCxnSpPr>
            <p:nvPr/>
          </p:nvCxnSpPr>
          <p:spPr>
            <a:xfrm>
              <a:off x="478216" y="3100168"/>
              <a:ext cx="80587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 name="グループ化 31">
            <a:extLst>
              <a:ext uri="{FF2B5EF4-FFF2-40B4-BE49-F238E27FC236}">
                <a16:creationId xmlns:a16="http://schemas.microsoft.com/office/drawing/2014/main" id="{9CD0B1AC-358F-734C-B82D-284401A87767}"/>
              </a:ext>
            </a:extLst>
          </p:cNvPr>
          <p:cNvGrpSpPr/>
          <p:nvPr/>
        </p:nvGrpSpPr>
        <p:grpSpPr>
          <a:xfrm>
            <a:off x="583141" y="4545804"/>
            <a:ext cx="998978" cy="230832"/>
            <a:chOff x="4865772" y="2934356"/>
            <a:chExt cx="1188323" cy="230832"/>
          </a:xfrm>
        </p:grpSpPr>
        <p:sp>
          <p:nvSpPr>
            <p:cNvPr id="33" name="テキスト ボックス 32">
              <a:extLst>
                <a:ext uri="{FF2B5EF4-FFF2-40B4-BE49-F238E27FC236}">
                  <a16:creationId xmlns:a16="http://schemas.microsoft.com/office/drawing/2014/main" id="{4C80FEB5-90F0-8C4F-94FB-3634390C2264}"/>
                </a:ext>
              </a:extLst>
            </p:cNvPr>
            <p:cNvSpPr txBox="1"/>
            <p:nvPr/>
          </p:nvSpPr>
          <p:spPr>
            <a:xfrm>
              <a:off x="4865772" y="2934356"/>
              <a:ext cx="1188323" cy="230832"/>
            </a:xfrm>
            <a:prstGeom prst="rect">
              <a:avLst/>
            </a:prstGeom>
            <a:noFill/>
          </p:spPr>
          <p:txBody>
            <a:bodyPr wrap="square" rtlCol="0" anchor="ctr">
              <a:spAutoFit/>
            </a:bodyPr>
            <a:lstStyle/>
            <a:p>
              <a:r>
                <a:rPr lang="ja-JP" altLang="en-US" sz="900" b="1" i="1" dirty="0" smtClean="0">
                  <a:solidFill>
                    <a:prstClr val="black"/>
                  </a:solidFill>
                  <a:latin typeface="Meiryo" panose="020B0604030504040204" pitchFamily="34" charset="-128"/>
                  <a:ea typeface="Meiryo" panose="020B0604030504040204" pitchFamily="34" charset="-128"/>
                </a:rPr>
                <a:t>交付・補助</a:t>
              </a:r>
              <a:r>
                <a:rPr lang="ja-JP" altLang="en-US" sz="900" b="1" i="1" dirty="0" smtClean="0">
                  <a:latin typeface="Meiryo" panose="020B0604030504040204" pitchFamily="34" charset="-128"/>
                  <a:ea typeface="Meiryo" panose="020B0604030504040204" pitchFamily="34" charset="-128"/>
                </a:rPr>
                <a:t>内容</a:t>
              </a:r>
              <a:endParaRPr lang="ja-JP" altLang="en-US" sz="900" b="1" i="1" dirty="0">
                <a:latin typeface="Meiryo" panose="020B0604030504040204" pitchFamily="34" charset="-128"/>
                <a:ea typeface="Meiryo" panose="020B0604030504040204" pitchFamily="34" charset="-128"/>
              </a:endParaRPr>
            </a:p>
          </p:txBody>
        </p:sp>
        <p:cxnSp>
          <p:nvCxnSpPr>
            <p:cNvPr id="34" name="直線コネクタ 33">
              <a:extLst>
                <a:ext uri="{FF2B5EF4-FFF2-40B4-BE49-F238E27FC236}">
                  <a16:creationId xmlns:a16="http://schemas.microsoft.com/office/drawing/2014/main" id="{92F19A43-F136-2046-9BA3-583E0718BB05}"/>
                </a:ext>
              </a:extLst>
            </p:cNvPr>
            <p:cNvCxnSpPr>
              <a:cxnSpLocks/>
            </p:cNvCxnSpPr>
            <p:nvPr/>
          </p:nvCxnSpPr>
          <p:spPr>
            <a:xfrm>
              <a:off x="4959862" y="3113946"/>
              <a:ext cx="97071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正方形/長方形 34">
            <a:extLst>
              <a:ext uri="{FF2B5EF4-FFF2-40B4-BE49-F238E27FC236}">
                <a16:creationId xmlns:a16="http://schemas.microsoft.com/office/drawing/2014/main" id="{DFDA0A87-57D2-174B-B259-C9AD9D417A8A}"/>
              </a:ext>
            </a:extLst>
          </p:cNvPr>
          <p:cNvSpPr/>
          <p:nvPr/>
        </p:nvSpPr>
        <p:spPr>
          <a:xfrm>
            <a:off x="1396949" y="3007041"/>
            <a:ext cx="3537025" cy="1569660"/>
          </a:xfrm>
          <a:prstGeom prst="rect">
            <a:avLst/>
          </a:prstGeom>
        </p:spPr>
        <p:txBody>
          <a:bodyPr wrap="square">
            <a:spAutoFit/>
          </a:bodyPr>
          <a:lstStyle/>
          <a:p>
            <a:pPr marL="182563" lvl="0" indent="-182563">
              <a:defRPr/>
            </a:pPr>
            <a:r>
              <a:rPr lang="ja-JP" altLang="en-US" sz="1200" b="1" dirty="0" smtClean="0">
                <a:solidFill>
                  <a:prstClr val="black"/>
                </a:solidFill>
                <a:latin typeface="Meiryo" panose="020B0604030504040204" pitchFamily="34" charset="-128"/>
                <a:ea typeface="Meiryo" panose="020B0604030504040204" pitchFamily="34" charset="-128"/>
              </a:rPr>
              <a:t>・一般</a:t>
            </a:r>
            <a:r>
              <a:rPr lang="ja-JP" altLang="en-US" sz="1200" b="1" dirty="0">
                <a:solidFill>
                  <a:prstClr val="black"/>
                </a:solidFill>
                <a:latin typeface="Meiryo" panose="020B0604030504040204" pitchFamily="34" charset="-128"/>
                <a:ea typeface="Meiryo" panose="020B0604030504040204" pitchFamily="34" charset="-128"/>
              </a:rPr>
              <a:t>廃棄物処理施設へ</a:t>
            </a:r>
            <a:r>
              <a:rPr lang="ja-JP" altLang="en-US" sz="1200" b="1" dirty="0" smtClean="0">
                <a:solidFill>
                  <a:prstClr val="black"/>
                </a:solidFill>
                <a:latin typeface="Meiryo" panose="020B0604030504040204" pitchFamily="34" charset="-128"/>
                <a:ea typeface="Meiryo" panose="020B0604030504040204" pitchFamily="34" charset="-128"/>
              </a:rPr>
              <a:t>の高効率</a:t>
            </a:r>
            <a:r>
              <a:rPr lang="ja-JP" altLang="en-US" sz="1200" b="1" dirty="0">
                <a:solidFill>
                  <a:prstClr val="black"/>
                </a:solidFill>
                <a:latin typeface="Meiryo" panose="020B0604030504040204" pitchFamily="34" charset="-128"/>
                <a:ea typeface="Meiryo" panose="020B0604030504040204" pitchFamily="34" charset="-128"/>
              </a:rPr>
              <a:t>廃棄物発電等</a:t>
            </a:r>
            <a:r>
              <a:rPr lang="ja-JP" altLang="en-US" sz="1200" b="1" dirty="0" smtClean="0">
                <a:solidFill>
                  <a:prstClr val="black"/>
                </a:solidFill>
                <a:latin typeface="Meiryo" panose="020B0604030504040204" pitchFamily="34" charset="-128"/>
                <a:ea typeface="Meiryo" panose="020B0604030504040204" pitchFamily="34" charset="-128"/>
              </a:rPr>
              <a:t>の導入</a:t>
            </a:r>
            <a:r>
              <a:rPr lang="ja-JP" altLang="en-US" sz="1200" b="1" dirty="0">
                <a:solidFill>
                  <a:prstClr val="black"/>
                </a:solidFill>
                <a:latin typeface="Meiryo" panose="020B0604030504040204" pitchFamily="34" charset="-128"/>
                <a:ea typeface="Meiryo" panose="020B0604030504040204" pitchFamily="34" charset="-128"/>
              </a:rPr>
              <a:t>に</a:t>
            </a:r>
            <a:r>
              <a:rPr lang="ja-JP" altLang="en-US" sz="1200" b="1" dirty="0" smtClean="0">
                <a:solidFill>
                  <a:prstClr val="black"/>
                </a:solidFill>
                <a:latin typeface="Meiryo" panose="020B0604030504040204" pitchFamily="34" charset="-128"/>
                <a:ea typeface="Meiryo" panose="020B0604030504040204" pitchFamily="34" charset="-128"/>
              </a:rPr>
              <a:t>向けた改良</a:t>
            </a:r>
            <a:r>
              <a:rPr lang="ja-JP" altLang="en-US" sz="1200" b="1" dirty="0">
                <a:solidFill>
                  <a:prstClr val="black"/>
                </a:solidFill>
                <a:latin typeface="Meiryo" panose="020B0604030504040204" pitchFamily="34" charset="-128"/>
                <a:ea typeface="Meiryo" panose="020B0604030504040204" pitchFamily="34" charset="-128"/>
              </a:rPr>
              <a:t>・更新事業の</a:t>
            </a:r>
            <a:r>
              <a:rPr lang="ja-JP" altLang="en-US" sz="1200" b="1" dirty="0" smtClean="0">
                <a:solidFill>
                  <a:prstClr val="black"/>
                </a:solidFill>
                <a:latin typeface="Meiryo" panose="020B0604030504040204" pitchFamily="34" charset="-128"/>
                <a:ea typeface="Meiryo" panose="020B0604030504040204" pitchFamily="34" charset="-128"/>
              </a:rPr>
              <a:t>実施</a:t>
            </a:r>
            <a:endParaRPr lang="en-US" altLang="ja-JP" sz="1200" b="1" dirty="0" smtClean="0">
              <a:solidFill>
                <a:prstClr val="black"/>
              </a:solidFill>
              <a:latin typeface="Meiryo" panose="020B0604030504040204" pitchFamily="34" charset="-128"/>
              <a:ea typeface="Meiryo" panose="020B0604030504040204" pitchFamily="34" charset="-128"/>
            </a:endParaRPr>
          </a:p>
          <a:p>
            <a:pPr marL="182563" lvl="0" indent="-182563">
              <a:defRPr/>
            </a:pPr>
            <a:r>
              <a:rPr lang="ja-JP" altLang="en-US" sz="1200" b="1" dirty="0" smtClean="0">
                <a:solidFill>
                  <a:prstClr val="black"/>
                </a:solidFill>
                <a:latin typeface="Meiryo" panose="020B0604030504040204" pitchFamily="34" charset="-128"/>
                <a:ea typeface="Meiryo" panose="020B0604030504040204" pitchFamily="34" charset="-128"/>
              </a:rPr>
              <a:t>・電線</a:t>
            </a:r>
            <a:r>
              <a:rPr lang="ja-JP" altLang="en-US" sz="1200" b="1" dirty="0">
                <a:solidFill>
                  <a:prstClr val="black"/>
                </a:solidFill>
                <a:latin typeface="Meiryo" panose="020B0604030504040204" pitchFamily="34" charset="-128"/>
                <a:ea typeface="Meiryo" panose="020B0604030504040204" pitchFamily="34" charset="-128"/>
              </a:rPr>
              <a:t>、変圧器等廃棄物発電により生じた電力を利活用するための</a:t>
            </a:r>
            <a:r>
              <a:rPr lang="ja-JP" altLang="en-US" sz="1200" b="1" dirty="0" smtClean="0">
                <a:solidFill>
                  <a:prstClr val="black"/>
                </a:solidFill>
                <a:latin typeface="Meiryo" panose="020B0604030504040204" pitchFamily="34" charset="-128"/>
                <a:ea typeface="Meiryo" panose="020B0604030504040204" pitchFamily="34" charset="-128"/>
              </a:rPr>
              <a:t>設備導入</a:t>
            </a:r>
            <a:endParaRPr lang="en-US" altLang="ja-JP" sz="1200" b="1" dirty="0" smtClean="0">
              <a:solidFill>
                <a:prstClr val="black"/>
              </a:solidFill>
              <a:latin typeface="Meiryo" panose="020B0604030504040204" pitchFamily="34" charset="-128"/>
              <a:ea typeface="Meiryo" panose="020B0604030504040204" pitchFamily="34" charset="-128"/>
            </a:endParaRPr>
          </a:p>
          <a:p>
            <a:pPr marL="182563" lvl="0" indent="-182563">
              <a:defRPr/>
            </a:pPr>
            <a:r>
              <a:rPr lang="ja-JP" altLang="en-US" sz="1200" b="1" dirty="0">
                <a:solidFill>
                  <a:prstClr val="black"/>
                </a:solidFill>
                <a:latin typeface="Meiryo" panose="020B0604030504040204" pitchFamily="34" charset="-128"/>
                <a:ea typeface="Meiryo" panose="020B0604030504040204" pitchFamily="34" charset="-128"/>
              </a:rPr>
              <a:t>・熱導管等廃棄物の焼却により生じた熱を利活用するための設備</a:t>
            </a:r>
            <a:r>
              <a:rPr lang="ja-JP" altLang="en-US" sz="1200" b="1" dirty="0" smtClean="0">
                <a:solidFill>
                  <a:prstClr val="black"/>
                </a:solidFill>
                <a:latin typeface="Meiryo" panose="020B0604030504040204" pitchFamily="34" charset="-128"/>
                <a:ea typeface="Meiryo" panose="020B0604030504040204" pitchFamily="34" charset="-128"/>
              </a:rPr>
              <a:t>導入</a:t>
            </a:r>
            <a:endParaRPr lang="en-US" altLang="ja-JP" sz="1200" b="1" dirty="0">
              <a:solidFill>
                <a:prstClr val="black"/>
              </a:solidFill>
              <a:latin typeface="Meiryo" panose="020B0604030504040204" pitchFamily="34" charset="-128"/>
              <a:ea typeface="Meiryo" panose="020B0604030504040204" pitchFamily="34" charset="-128"/>
            </a:endParaRPr>
          </a:p>
          <a:p>
            <a:pPr marL="182563" lvl="0" indent="-182563">
              <a:defRPr/>
            </a:pPr>
            <a:r>
              <a:rPr lang="ja-JP" altLang="en-US" sz="1200" b="1" dirty="0">
                <a:solidFill>
                  <a:prstClr val="black"/>
                </a:solidFill>
                <a:latin typeface="Meiryo" panose="020B0604030504040204" pitchFamily="34" charset="-128"/>
                <a:ea typeface="Meiryo" panose="020B0604030504040204" pitchFamily="34" charset="-128"/>
              </a:rPr>
              <a:t>・廃棄物焼却施設による未利用熱及び廃棄物発電の有効活用に係る</a:t>
            </a:r>
            <a:r>
              <a:rPr lang="en-US" altLang="ja-JP" sz="1200" b="1" dirty="0">
                <a:solidFill>
                  <a:prstClr val="black"/>
                </a:solidFill>
                <a:latin typeface="Meiryo" panose="020B0604030504040204" pitchFamily="34" charset="-128"/>
                <a:ea typeface="Meiryo" panose="020B0604030504040204" pitchFamily="34" charset="-128"/>
              </a:rPr>
              <a:t>FS</a:t>
            </a:r>
            <a:r>
              <a:rPr lang="ja-JP" altLang="en-US" sz="1200" b="1" dirty="0" smtClean="0">
                <a:solidFill>
                  <a:prstClr val="black"/>
                </a:solidFill>
                <a:latin typeface="Meiryo" panose="020B0604030504040204" pitchFamily="34" charset="-128"/>
                <a:ea typeface="Meiryo" panose="020B0604030504040204" pitchFamily="34" charset="-128"/>
              </a:rPr>
              <a:t>調査</a:t>
            </a:r>
            <a:endParaRPr lang="ja-JP" altLang="en-US" sz="1200" b="1" dirty="0">
              <a:solidFill>
                <a:prstClr val="black"/>
              </a:solidFill>
              <a:latin typeface="Meiryo" panose="020B0604030504040204" pitchFamily="34" charset="-128"/>
              <a:ea typeface="Meiryo" panose="020B0604030504040204" pitchFamily="34" charset="-128"/>
            </a:endParaRPr>
          </a:p>
        </p:txBody>
      </p:sp>
      <p:cxnSp>
        <p:nvCxnSpPr>
          <p:cNvPr id="36" name="直線コネクタ 35">
            <a:extLst>
              <a:ext uri="{FF2B5EF4-FFF2-40B4-BE49-F238E27FC236}">
                <a16:creationId xmlns:a16="http://schemas.microsoft.com/office/drawing/2014/main" id="{28FF63EE-CC82-CC43-B3C1-ADAEF07CCF1E}"/>
              </a:ext>
            </a:extLst>
          </p:cNvPr>
          <p:cNvCxnSpPr>
            <a:cxnSpLocks/>
          </p:cNvCxnSpPr>
          <p:nvPr/>
        </p:nvCxnSpPr>
        <p:spPr>
          <a:xfrm flipH="1">
            <a:off x="621209" y="4524655"/>
            <a:ext cx="4253008" cy="0"/>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37" name="グラフィックス 36">
            <a:extLst>
              <a:ext uri="{FF2B5EF4-FFF2-40B4-BE49-F238E27FC236}">
                <a16:creationId xmlns:a16="http://schemas.microsoft.com/office/drawing/2014/main" id="{2B6CE6B6-BD70-A946-9BB5-211A5F3E671A}"/>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1581086" y="6020347"/>
            <a:ext cx="483152" cy="713579"/>
          </a:xfrm>
          <a:prstGeom prst="rect">
            <a:avLst/>
          </a:prstGeom>
        </p:spPr>
      </p:pic>
      <p:sp>
        <p:nvSpPr>
          <p:cNvPr id="38" name="テキスト ボックス 37">
            <a:extLst>
              <a:ext uri="{FF2B5EF4-FFF2-40B4-BE49-F238E27FC236}">
                <a16:creationId xmlns:a16="http://schemas.microsoft.com/office/drawing/2014/main" id="{5CA9295C-9A75-F848-96BC-393B64E95A60}"/>
              </a:ext>
            </a:extLst>
          </p:cNvPr>
          <p:cNvSpPr txBox="1"/>
          <p:nvPr/>
        </p:nvSpPr>
        <p:spPr>
          <a:xfrm>
            <a:off x="2251793" y="6022314"/>
            <a:ext cx="5551604" cy="656590"/>
          </a:xfrm>
          <a:prstGeom prst="rect">
            <a:avLst/>
          </a:prstGeom>
          <a:noFill/>
        </p:spPr>
        <p:txBody>
          <a:bodyPr wrap="square" rtlCol="0">
            <a:spAutoFit/>
          </a:bodyPr>
          <a:lstStyle/>
          <a:p>
            <a:pPr marL="92075" lvl="0" indent="-92075">
              <a:spcBef>
                <a:spcPts val="200"/>
              </a:spcBef>
              <a:spcAft>
                <a:spcPts val="200"/>
              </a:spcAft>
              <a:defRPr/>
            </a:pPr>
            <a:r>
              <a:rPr lang="ja-JP" altLang="en-US" sz="1000" b="1" dirty="0">
                <a:solidFill>
                  <a:prstClr val="black"/>
                </a:solidFill>
                <a:latin typeface="Meiryo" panose="020B0604030504040204" pitchFamily="34" charset="-128"/>
                <a:ea typeface="Meiryo" panose="020B0604030504040204" pitchFamily="34" charset="-128"/>
              </a:rPr>
              <a:t>・保有する一般廃棄物処理施設において廃棄物発電設備を導入したい。</a:t>
            </a:r>
            <a:endParaRPr lang="en-US" altLang="ja-JP" sz="1000" b="1" dirty="0">
              <a:solidFill>
                <a:prstClr val="black"/>
              </a:solidFill>
              <a:latin typeface="Meiryo" panose="020B0604030504040204" pitchFamily="34" charset="-128"/>
              <a:ea typeface="Meiryo" panose="020B0604030504040204" pitchFamily="34" charset="-128"/>
            </a:endParaRPr>
          </a:p>
          <a:p>
            <a:pPr marL="92075" lvl="0" indent="-92075">
              <a:spcBef>
                <a:spcPts val="200"/>
              </a:spcBef>
              <a:spcAft>
                <a:spcPts val="200"/>
              </a:spcAft>
              <a:defRPr/>
            </a:pPr>
            <a:r>
              <a:rPr lang="ja-JP" altLang="en-US" sz="1000" b="1" dirty="0">
                <a:solidFill>
                  <a:prstClr val="black"/>
                </a:solidFill>
                <a:latin typeface="Meiryo" panose="020B0604030504040204" pitchFamily="34" charset="-128"/>
                <a:ea typeface="Meiryo" panose="020B0604030504040204" pitchFamily="34" charset="-128"/>
              </a:rPr>
              <a:t>・未利用熱・廃棄物発電の有効活用を検討したい。</a:t>
            </a:r>
            <a:endParaRPr lang="en-US" altLang="ja-JP" sz="1000" b="1" dirty="0">
              <a:solidFill>
                <a:prstClr val="black"/>
              </a:solidFill>
              <a:latin typeface="Meiryo" panose="020B0604030504040204" pitchFamily="34" charset="-128"/>
              <a:ea typeface="Meiryo" panose="020B0604030504040204" pitchFamily="34" charset="-128"/>
            </a:endParaRPr>
          </a:p>
          <a:p>
            <a:pPr marL="92075" lvl="0" indent="-92075">
              <a:spcBef>
                <a:spcPts val="200"/>
              </a:spcBef>
              <a:spcAft>
                <a:spcPts val="200"/>
              </a:spcAft>
              <a:defRPr/>
            </a:pPr>
            <a:r>
              <a:rPr lang="ja-JP" altLang="en-US" sz="1000" b="1" dirty="0">
                <a:solidFill>
                  <a:prstClr val="black"/>
                </a:solidFill>
                <a:latin typeface="Meiryo" panose="020B0604030504040204" pitchFamily="34" charset="-128"/>
                <a:ea typeface="Meiryo" panose="020B0604030504040204" pitchFamily="34" charset="-128"/>
              </a:rPr>
              <a:t>・</a:t>
            </a:r>
            <a:r>
              <a:rPr lang="en-US" altLang="ja-JP" sz="1000" b="1" dirty="0">
                <a:solidFill>
                  <a:prstClr val="black"/>
                </a:solidFill>
                <a:latin typeface="Meiryo" panose="020B0604030504040204" pitchFamily="34" charset="-128"/>
                <a:ea typeface="Meiryo" panose="020B0604030504040204" pitchFamily="34" charset="-128"/>
              </a:rPr>
              <a:t>CO</a:t>
            </a:r>
            <a:r>
              <a:rPr lang="en-US" altLang="ja-JP" sz="800" b="1" dirty="0">
                <a:solidFill>
                  <a:prstClr val="black"/>
                </a:solidFill>
                <a:latin typeface="Meiryo" panose="020B0604030504040204" pitchFamily="34" charset="-128"/>
                <a:ea typeface="Meiryo" panose="020B0604030504040204" pitchFamily="34" charset="-128"/>
              </a:rPr>
              <a:t>2</a:t>
            </a:r>
            <a:r>
              <a:rPr lang="ja-JP" altLang="en-US" sz="1000" b="1" dirty="0">
                <a:solidFill>
                  <a:prstClr val="black"/>
                </a:solidFill>
                <a:latin typeface="Meiryo" panose="020B0604030504040204" pitchFamily="34" charset="-128"/>
                <a:ea typeface="Meiryo" panose="020B0604030504040204" pitchFamily="34" charset="-128"/>
              </a:rPr>
              <a:t>排出量を削減したい。    </a:t>
            </a:r>
            <a:r>
              <a:rPr lang="en-US" altLang="ja-JP" sz="1000" b="1" dirty="0">
                <a:solidFill>
                  <a:prstClr val="black"/>
                </a:solidFill>
                <a:latin typeface="Meiryo" panose="020B0604030504040204" pitchFamily="34" charset="-128"/>
                <a:ea typeface="Meiryo" panose="020B0604030504040204" pitchFamily="34" charset="-128"/>
              </a:rPr>
              <a:t>etc.</a:t>
            </a:r>
          </a:p>
        </p:txBody>
      </p:sp>
      <p:grpSp>
        <p:nvGrpSpPr>
          <p:cNvPr id="39" name="グループ化 38">
            <a:extLst>
              <a:ext uri="{FF2B5EF4-FFF2-40B4-BE49-F238E27FC236}">
                <a16:creationId xmlns:a16="http://schemas.microsoft.com/office/drawing/2014/main" id="{B2BBA522-D58B-964F-9E78-E033D741BC4B}"/>
              </a:ext>
            </a:extLst>
          </p:cNvPr>
          <p:cNvGrpSpPr/>
          <p:nvPr/>
        </p:nvGrpSpPr>
        <p:grpSpPr>
          <a:xfrm>
            <a:off x="9148104" y="5691188"/>
            <a:ext cx="947535" cy="947535"/>
            <a:chOff x="9525286" y="5680480"/>
            <a:chExt cx="947535" cy="947535"/>
          </a:xfrm>
        </p:grpSpPr>
        <p:pic>
          <p:nvPicPr>
            <p:cNvPr id="40" name="グラフィックス 39">
              <a:extLst>
                <a:ext uri="{FF2B5EF4-FFF2-40B4-BE49-F238E27FC236}">
                  <a16:creationId xmlns:a16="http://schemas.microsoft.com/office/drawing/2014/main" id="{A125FC89-A7F9-DB43-9421-E987184A307B}"/>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9525286" y="5680480"/>
              <a:ext cx="947535" cy="947535"/>
            </a:xfrm>
            <a:prstGeom prst="rect">
              <a:avLst/>
            </a:prstGeom>
          </p:spPr>
        </p:pic>
        <p:sp>
          <p:nvSpPr>
            <p:cNvPr id="41" name="テキスト ボックス 40">
              <a:extLst>
                <a:ext uri="{FF2B5EF4-FFF2-40B4-BE49-F238E27FC236}">
                  <a16:creationId xmlns:a16="http://schemas.microsoft.com/office/drawing/2014/main" id="{C1B39EF6-E1DA-9C46-95D1-4D822632B8E3}"/>
                </a:ext>
              </a:extLst>
            </p:cNvPr>
            <p:cNvSpPr txBox="1"/>
            <p:nvPr/>
          </p:nvSpPr>
          <p:spPr>
            <a:xfrm>
              <a:off x="9549053" y="5874683"/>
              <a:ext cx="900000" cy="559127"/>
            </a:xfrm>
            <a:prstGeom prst="rect">
              <a:avLst/>
            </a:prstGeom>
            <a:noFill/>
          </p:spPr>
          <p:txBody>
            <a:bodyPr wrap="square" rtlCol="0">
              <a:spAutoFit/>
            </a:bodyPr>
            <a:lstStyle/>
            <a:p>
              <a:pPr algn="ctr">
                <a:spcBef>
                  <a:spcPts val="100"/>
                </a:spcBef>
                <a:spcAft>
                  <a:spcPts val="100"/>
                </a:spcAft>
              </a:pPr>
              <a:r>
                <a:rPr lang="ja-JP" altLang="en-US" sz="900" b="1">
                  <a:solidFill>
                    <a:schemeClr val="bg1"/>
                  </a:solidFill>
                  <a:latin typeface="Meiryo" panose="020B0604030504040204" pitchFamily="34" charset="-128"/>
                  <a:ea typeface="Meiryo" panose="020B0604030504040204" pitchFamily="34" charset="-128"/>
                </a:rPr>
                <a:t>ぜひ</a:t>
              </a:r>
            </a:p>
            <a:p>
              <a:pPr algn="ctr">
                <a:spcBef>
                  <a:spcPts val="100"/>
                </a:spcBef>
                <a:spcAft>
                  <a:spcPts val="100"/>
                </a:spcAft>
              </a:pPr>
              <a:r>
                <a:rPr lang="ja-JP" altLang="en-US" sz="900" b="1">
                  <a:solidFill>
                    <a:schemeClr val="bg1"/>
                  </a:solidFill>
                  <a:latin typeface="Meiryo" panose="020B0604030504040204" pitchFamily="34" charset="-128"/>
                  <a:ea typeface="Meiryo" panose="020B0604030504040204" pitchFamily="34" charset="-128"/>
                </a:rPr>
                <a:t>ご検討</a:t>
              </a:r>
            </a:p>
            <a:p>
              <a:pPr algn="ctr">
                <a:spcBef>
                  <a:spcPts val="100"/>
                </a:spcBef>
                <a:spcAft>
                  <a:spcPts val="100"/>
                </a:spcAft>
              </a:pPr>
              <a:r>
                <a:rPr lang="ja-JP" altLang="en-US" sz="900" b="1">
                  <a:solidFill>
                    <a:schemeClr val="bg1"/>
                  </a:solidFill>
                  <a:latin typeface="Meiryo" panose="020B0604030504040204" pitchFamily="34" charset="-128"/>
                  <a:ea typeface="Meiryo" panose="020B0604030504040204" pitchFamily="34" charset="-128"/>
                </a:rPr>
                <a:t>ください</a:t>
              </a:r>
            </a:p>
          </p:txBody>
        </p:sp>
      </p:grpSp>
      <p:sp>
        <p:nvSpPr>
          <p:cNvPr id="45" name="テキスト ボックス 44">
            <a:extLst>
              <a:ext uri="{FF2B5EF4-FFF2-40B4-BE49-F238E27FC236}">
                <a16:creationId xmlns:a16="http://schemas.microsoft.com/office/drawing/2014/main" id="{263A7940-87D8-364C-A9A5-E5E461D8F6D4}"/>
              </a:ext>
            </a:extLst>
          </p:cNvPr>
          <p:cNvSpPr txBox="1"/>
          <p:nvPr/>
        </p:nvSpPr>
        <p:spPr>
          <a:xfrm>
            <a:off x="2112383" y="6947201"/>
            <a:ext cx="5952242" cy="200055"/>
          </a:xfrm>
          <a:prstGeom prst="rect">
            <a:avLst/>
          </a:prstGeom>
          <a:noFill/>
        </p:spPr>
        <p:txBody>
          <a:bodyPr wrap="square" rtlCol="0">
            <a:spAutoFit/>
          </a:bodyPr>
          <a:lstStyle/>
          <a:p>
            <a:pPr lvl="0">
              <a:defRPr/>
            </a:pPr>
            <a:r>
              <a:rPr lang="ja-JP" altLang="en-US" sz="700" b="1" dirty="0">
                <a:solidFill>
                  <a:prstClr val="white"/>
                </a:solidFill>
                <a:latin typeface="Meiryo" panose="020B0604030504040204" pitchFamily="34" charset="-128"/>
                <a:ea typeface="Meiryo" panose="020B0604030504040204" pitchFamily="34" charset="-128"/>
              </a:rPr>
              <a:t>環境省環境再生・資源循環局</a:t>
            </a:r>
            <a:r>
              <a:rPr lang="zh-TW" altLang="en-US" sz="700" b="1" dirty="0">
                <a:solidFill>
                  <a:prstClr val="white"/>
                </a:solidFill>
                <a:latin typeface="Meiryo" panose="020B0604030504040204" pitchFamily="34" charset="-128"/>
                <a:ea typeface="Meiryo" panose="020B0604030504040204" pitchFamily="34" charset="-128"/>
              </a:rPr>
              <a:t>廃棄物適正処理推進課</a:t>
            </a:r>
            <a:r>
              <a:rPr lang="ja-JP" altLang="en-US" sz="700" dirty="0">
                <a:solidFill>
                  <a:prstClr val="white"/>
                </a:solidFill>
                <a:latin typeface="Meiryo" panose="020B0604030504040204" pitchFamily="34" charset="-128"/>
                <a:ea typeface="Meiryo" panose="020B0604030504040204" pitchFamily="34" charset="-128"/>
              </a:rPr>
              <a:t>　　電話：</a:t>
            </a:r>
            <a:r>
              <a:rPr lang="en-US" altLang="ja-JP" sz="700" dirty="0">
                <a:solidFill>
                  <a:prstClr val="white"/>
                </a:solidFill>
                <a:latin typeface="Meiryo" panose="020B0604030504040204" pitchFamily="34" charset="-128"/>
                <a:ea typeface="Meiryo" panose="020B0604030504040204" pitchFamily="34" charset="-128"/>
              </a:rPr>
              <a:t>03-5521-8337</a:t>
            </a:r>
            <a:r>
              <a:rPr lang="ja-JP" altLang="en-US" sz="700" dirty="0">
                <a:solidFill>
                  <a:prstClr val="white"/>
                </a:solidFill>
                <a:latin typeface="Meiryo" panose="020B0604030504040204" pitchFamily="34" charset="-128"/>
                <a:ea typeface="Meiryo" panose="020B0604030504040204" pitchFamily="34" charset="-128"/>
              </a:rPr>
              <a:t>　</a:t>
            </a:r>
            <a:r>
              <a:rPr lang="en-US" altLang="ja-JP" sz="700" dirty="0">
                <a:solidFill>
                  <a:prstClr val="white"/>
                </a:solidFill>
                <a:latin typeface="Meiryo" panose="020B0604030504040204" pitchFamily="34" charset="-128"/>
                <a:ea typeface="Meiryo" panose="020B0604030504040204" pitchFamily="34" charset="-128"/>
              </a:rPr>
              <a:t>FAX</a:t>
            </a:r>
            <a:r>
              <a:rPr lang="ja-JP" altLang="en-US" sz="700" dirty="0">
                <a:solidFill>
                  <a:prstClr val="white"/>
                </a:solidFill>
                <a:latin typeface="Meiryo" panose="020B0604030504040204" pitchFamily="34" charset="-128"/>
                <a:ea typeface="Meiryo" panose="020B0604030504040204" pitchFamily="34" charset="-128"/>
              </a:rPr>
              <a:t>：</a:t>
            </a:r>
            <a:r>
              <a:rPr lang="en-US" altLang="ja-JP" sz="700" dirty="0">
                <a:solidFill>
                  <a:prstClr val="white"/>
                </a:solidFill>
                <a:latin typeface="Meiryo" panose="020B0604030504040204" pitchFamily="34" charset="-128"/>
                <a:ea typeface="Meiryo" panose="020B0604030504040204" pitchFamily="34" charset="-128"/>
              </a:rPr>
              <a:t>03-3593-8263</a:t>
            </a:r>
            <a:endParaRPr lang="ja-JP" altLang="en-US" sz="700" dirty="0">
              <a:solidFill>
                <a:prstClr val="white"/>
              </a:solidFill>
              <a:latin typeface="Meiryo" panose="020B0604030504040204" pitchFamily="34" charset="-128"/>
              <a:ea typeface="Meiryo" panose="020B0604030504040204" pitchFamily="34" charset="-128"/>
            </a:endParaRPr>
          </a:p>
        </p:txBody>
      </p:sp>
      <p:grpSp>
        <p:nvGrpSpPr>
          <p:cNvPr id="46" name="グループ化 45">
            <a:extLst>
              <a:ext uri="{FF2B5EF4-FFF2-40B4-BE49-F238E27FC236}">
                <a16:creationId xmlns:a16="http://schemas.microsoft.com/office/drawing/2014/main" id="{0EED110E-F2BC-3F42-89AB-F293F9A4587F}"/>
              </a:ext>
            </a:extLst>
          </p:cNvPr>
          <p:cNvGrpSpPr/>
          <p:nvPr/>
        </p:nvGrpSpPr>
        <p:grpSpPr>
          <a:xfrm>
            <a:off x="5267684" y="2953699"/>
            <a:ext cx="1233731" cy="230832"/>
            <a:chOff x="6787460" y="2929652"/>
            <a:chExt cx="1233731" cy="230832"/>
          </a:xfrm>
        </p:grpSpPr>
        <p:sp>
          <p:nvSpPr>
            <p:cNvPr id="48" name="テキスト ボックス 47">
              <a:extLst>
                <a:ext uri="{FF2B5EF4-FFF2-40B4-BE49-F238E27FC236}">
                  <a16:creationId xmlns:a16="http://schemas.microsoft.com/office/drawing/2014/main" id="{888F9360-4250-AA48-AC3B-337616537D63}"/>
                </a:ext>
              </a:extLst>
            </p:cNvPr>
            <p:cNvSpPr txBox="1"/>
            <p:nvPr/>
          </p:nvSpPr>
          <p:spPr>
            <a:xfrm>
              <a:off x="6787460" y="2929652"/>
              <a:ext cx="1233731" cy="230832"/>
            </a:xfrm>
            <a:prstGeom prst="rect">
              <a:avLst/>
            </a:prstGeom>
            <a:noFill/>
          </p:spPr>
          <p:txBody>
            <a:bodyPr wrap="square" rtlCol="0" anchor="ctr">
              <a:spAutoFit/>
            </a:bodyPr>
            <a:lstStyle/>
            <a:p>
              <a:r>
                <a:rPr lang="ja-JP" altLang="en-US" sz="900" b="1" i="1">
                  <a:latin typeface="Meiryo" panose="020B0604030504040204" pitchFamily="34" charset="-128"/>
                  <a:ea typeface="Meiryo" panose="020B0604030504040204" pitchFamily="34" charset="-128"/>
                </a:rPr>
                <a:t>事業イメージ</a:t>
              </a:r>
              <a:endParaRPr lang="ja-JP" altLang="en-US" sz="900" b="1" i="1" dirty="0">
                <a:latin typeface="Meiryo" panose="020B0604030504040204" pitchFamily="34" charset="-128"/>
                <a:ea typeface="Meiryo" panose="020B0604030504040204" pitchFamily="34" charset="-128"/>
              </a:endParaRPr>
            </a:p>
          </p:txBody>
        </p:sp>
        <p:cxnSp>
          <p:nvCxnSpPr>
            <p:cNvPr id="49" name="直線コネクタ 48">
              <a:extLst>
                <a:ext uri="{FF2B5EF4-FFF2-40B4-BE49-F238E27FC236}">
                  <a16:creationId xmlns:a16="http://schemas.microsoft.com/office/drawing/2014/main" id="{F9D4A1A9-DC46-4D42-AA3E-F2ACF04B63A9}"/>
                </a:ext>
              </a:extLst>
            </p:cNvPr>
            <p:cNvCxnSpPr>
              <a:cxnSpLocks/>
            </p:cNvCxnSpPr>
            <p:nvPr/>
          </p:nvCxnSpPr>
          <p:spPr>
            <a:xfrm>
              <a:off x="6866232" y="3107890"/>
              <a:ext cx="70563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87" name="グラフィックス 186">
            <a:extLst>
              <a:ext uri="{FF2B5EF4-FFF2-40B4-BE49-F238E27FC236}">
                <a16:creationId xmlns:a16="http://schemas.microsoft.com/office/drawing/2014/main" id="{79C962EA-8214-7D41-8CF3-974B29BA7D56}"/>
              </a:ext>
            </a:extLst>
          </p:cNvPr>
          <p:cNvPicPr>
            <a:picLocks noChangeAspect="1"/>
          </p:cNvPicPr>
          <p:nvPr/>
        </p:nvPicPr>
        <p:blipFill>
          <a:blip r:embed="rId16">
            <a:extLst>
              <a:ext uri="{96DAC541-7B7A-43D3-8B79-37D633B846F1}">
                <asvg:svgBlip xmlns="" xmlns:asvg="http://schemas.microsoft.com/office/drawing/2016/SVG/main" r:embed="rId25"/>
              </a:ext>
            </a:extLst>
          </a:blip>
          <a:stretch>
            <a:fillRect/>
          </a:stretch>
        </p:blipFill>
        <p:spPr>
          <a:xfrm>
            <a:off x="302780" y="5622832"/>
            <a:ext cx="1279338" cy="787285"/>
          </a:xfrm>
          <a:prstGeom prst="rect">
            <a:avLst/>
          </a:prstGeom>
        </p:spPr>
      </p:pic>
      <p:sp>
        <p:nvSpPr>
          <p:cNvPr id="188" name="テキスト ボックス 187">
            <a:extLst>
              <a:ext uri="{FF2B5EF4-FFF2-40B4-BE49-F238E27FC236}">
                <a16:creationId xmlns:a16="http://schemas.microsoft.com/office/drawing/2014/main" id="{96C8D1CC-618E-1F4D-BAB8-ED038E634EE4}"/>
              </a:ext>
            </a:extLst>
          </p:cNvPr>
          <p:cNvSpPr txBox="1"/>
          <p:nvPr/>
        </p:nvSpPr>
        <p:spPr>
          <a:xfrm>
            <a:off x="302780" y="5757281"/>
            <a:ext cx="1129329" cy="559127"/>
          </a:xfrm>
          <a:prstGeom prst="rect">
            <a:avLst/>
          </a:prstGeom>
          <a:noFill/>
        </p:spPr>
        <p:txBody>
          <a:bodyPr wrap="square" rtlCol="0">
            <a:spAutoFit/>
          </a:bodyPr>
          <a:lstStyle/>
          <a:p>
            <a:pPr algn="ctr">
              <a:spcBef>
                <a:spcPts val="100"/>
              </a:spcBef>
              <a:spcAft>
                <a:spcPts val="100"/>
              </a:spcAft>
            </a:pPr>
            <a:r>
              <a:rPr lang="ja-JP" altLang="en-US" sz="900" b="1" dirty="0">
                <a:solidFill>
                  <a:srgbClr val="009C89"/>
                </a:solidFill>
                <a:latin typeface="Meiryo" panose="020B0604030504040204" pitchFamily="34" charset="-128"/>
                <a:ea typeface="Meiryo" panose="020B0604030504040204" pitchFamily="34" charset="-128"/>
              </a:rPr>
              <a:t>このような</a:t>
            </a:r>
            <a:endParaRPr lang="en-US" altLang="ja-JP" sz="900" b="1" dirty="0">
              <a:solidFill>
                <a:srgbClr val="009C89"/>
              </a:solidFill>
              <a:latin typeface="Meiryo" panose="020B0604030504040204" pitchFamily="34" charset="-128"/>
              <a:ea typeface="Meiryo" panose="020B0604030504040204" pitchFamily="34" charset="-128"/>
            </a:endParaRPr>
          </a:p>
          <a:p>
            <a:pPr algn="ctr">
              <a:spcBef>
                <a:spcPts val="100"/>
              </a:spcBef>
              <a:spcAft>
                <a:spcPts val="100"/>
              </a:spcAft>
            </a:pPr>
            <a:r>
              <a:rPr lang="ja-JP" altLang="en-US" sz="900" b="1" dirty="0">
                <a:solidFill>
                  <a:srgbClr val="009C89"/>
                </a:solidFill>
                <a:latin typeface="Meiryo" panose="020B0604030504040204" pitchFamily="34" charset="-128"/>
                <a:ea typeface="Meiryo" panose="020B0604030504040204" pitchFamily="34" charset="-128"/>
              </a:rPr>
              <a:t>地方公共</a:t>
            </a:r>
            <a:r>
              <a:rPr lang="ja-JP" altLang="en-US" sz="900" b="1" dirty="0" smtClean="0">
                <a:solidFill>
                  <a:srgbClr val="009C89"/>
                </a:solidFill>
                <a:latin typeface="Meiryo" panose="020B0604030504040204" pitchFamily="34" charset="-128"/>
                <a:ea typeface="Meiryo" panose="020B0604030504040204" pitchFamily="34" charset="-128"/>
              </a:rPr>
              <a:t>団体等に</a:t>
            </a:r>
            <a:endParaRPr lang="en-US" altLang="ja-JP" sz="900" b="1" dirty="0">
              <a:solidFill>
                <a:srgbClr val="009C89"/>
              </a:solidFill>
              <a:latin typeface="Meiryo" panose="020B0604030504040204" pitchFamily="34" charset="-128"/>
              <a:ea typeface="Meiryo" panose="020B0604030504040204" pitchFamily="34" charset="-128"/>
            </a:endParaRPr>
          </a:p>
          <a:p>
            <a:pPr algn="ctr">
              <a:spcBef>
                <a:spcPts val="100"/>
              </a:spcBef>
              <a:spcAft>
                <a:spcPts val="100"/>
              </a:spcAft>
            </a:pPr>
            <a:r>
              <a:rPr lang="ja-JP" altLang="en-US" sz="900" b="1" dirty="0">
                <a:solidFill>
                  <a:srgbClr val="009C89"/>
                </a:solidFill>
                <a:latin typeface="Meiryo" panose="020B0604030504040204" pitchFamily="34" charset="-128"/>
                <a:ea typeface="Meiryo" panose="020B0604030504040204" pitchFamily="34" charset="-128"/>
              </a:rPr>
              <a:t>おすすめします。</a:t>
            </a:r>
          </a:p>
        </p:txBody>
      </p:sp>
      <p:sp>
        <p:nvSpPr>
          <p:cNvPr id="209" name="角丸四角形 208"/>
          <p:cNvSpPr/>
          <p:nvPr/>
        </p:nvSpPr>
        <p:spPr>
          <a:xfrm>
            <a:off x="450098" y="408614"/>
            <a:ext cx="1750787" cy="659387"/>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a:endParaRPr kumimoji="1" lang="ja-JP" altLang="en-US"/>
          </a:p>
        </p:txBody>
      </p:sp>
      <p:sp>
        <p:nvSpPr>
          <p:cNvPr id="210" name="片側の 2 つの角を丸めた四角形 209"/>
          <p:cNvSpPr/>
          <p:nvPr/>
        </p:nvSpPr>
        <p:spPr>
          <a:xfrm>
            <a:off x="450099" y="400301"/>
            <a:ext cx="1750785" cy="299561"/>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dirty="0"/>
              <a:t>廃棄物エネルギー</a:t>
            </a:r>
            <a:endParaRPr kumimoji="1" lang="ja-JP" altLang="en-US" sz="1100" b="1" dirty="0"/>
          </a:p>
        </p:txBody>
      </p:sp>
      <p:sp>
        <p:nvSpPr>
          <p:cNvPr id="211" name="1 つの角を切り取った四角形 210"/>
          <p:cNvSpPr/>
          <p:nvPr/>
        </p:nvSpPr>
        <p:spPr>
          <a:xfrm flipH="1" flipV="1">
            <a:off x="445560" y="745008"/>
            <a:ext cx="1078440" cy="326655"/>
          </a:xfrm>
          <a:prstGeom prst="snip1Rect">
            <a:avLst>
              <a:gd name="adj" fmla="val 585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2" name="テキスト ボックス 211"/>
          <p:cNvSpPr txBox="1"/>
          <p:nvPr/>
        </p:nvSpPr>
        <p:spPr>
          <a:xfrm>
            <a:off x="384278" y="819694"/>
            <a:ext cx="1196808" cy="215444"/>
          </a:xfrm>
          <a:prstGeom prst="rect">
            <a:avLst/>
          </a:prstGeom>
          <a:noFill/>
        </p:spPr>
        <p:txBody>
          <a:bodyPr wrap="square" rtlCol="0">
            <a:spAutoFit/>
          </a:bodyPr>
          <a:lstStyle/>
          <a:p>
            <a:r>
              <a:rPr kumimoji="1" lang="ja-JP" altLang="en-US" sz="800" b="1" dirty="0">
                <a:solidFill>
                  <a:schemeClr val="bg1"/>
                </a:solidFill>
              </a:rPr>
              <a:t>地方公共</a:t>
            </a:r>
            <a:r>
              <a:rPr kumimoji="1" lang="ja-JP" altLang="en-US" sz="800" b="1" dirty="0" smtClean="0">
                <a:solidFill>
                  <a:schemeClr val="bg1"/>
                </a:solidFill>
              </a:rPr>
              <a:t>団体等向け</a:t>
            </a:r>
            <a:endParaRPr kumimoji="1" lang="ja-JP" altLang="en-US" sz="800" b="1" dirty="0">
              <a:solidFill>
                <a:schemeClr val="bg1"/>
              </a:solidFill>
            </a:endParaRPr>
          </a:p>
        </p:txBody>
      </p:sp>
      <p:sp>
        <p:nvSpPr>
          <p:cNvPr id="199" name="正方形/長方形 45"/>
          <p:cNvSpPr/>
          <p:nvPr/>
        </p:nvSpPr>
        <p:spPr>
          <a:xfrm>
            <a:off x="16238665" y="221565"/>
            <a:ext cx="168275" cy="44450"/>
          </a:xfrm>
          <a:custGeom>
            <a:avLst/>
            <a:gdLst>
              <a:gd name="connsiteX0" fmla="*/ 0 w 239489"/>
              <a:gd name="connsiteY0" fmla="*/ 0 h 45719"/>
              <a:gd name="connsiteX1" fmla="*/ 239489 w 239489"/>
              <a:gd name="connsiteY1" fmla="*/ 0 h 45719"/>
              <a:gd name="connsiteX2" fmla="*/ 239489 w 239489"/>
              <a:gd name="connsiteY2" fmla="*/ 45719 h 45719"/>
              <a:gd name="connsiteX3" fmla="*/ 0 w 239489"/>
              <a:gd name="connsiteY3" fmla="*/ 45719 h 45719"/>
              <a:gd name="connsiteX4" fmla="*/ 0 w 239489"/>
              <a:gd name="connsiteY4" fmla="*/ 0 h 45719"/>
              <a:gd name="connsiteX0" fmla="*/ 0 w 239489"/>
              <a:gd name="connsiteY0" fmla="*/ 0 h 53339"/>
              <a:gd name="connsiteX1" fmla="*/ 239489 w 239489"/>
              <a:gd name="connsiteY1" fmla="*/ 0 h 53339"/>
              <a:gd name="connsiteX2" fmla="*/ 239489 w 239489"/>
              <a:gd name="connsiteY2" fmla="*/ 45719 h 53339"/>
              <a:gd name="connsiteX3" fmla="*/ 11430 w 239489"/>
              <a:gd name="connsiteY3" fmla="*/ 53339 h 53339"/>
              <a:gd name="connsiteX4" fmla="*/ 0 w 239489"/>
              <a:gd name="connsiteY4" fmla="*/ 0 h 53339"/>
              <a:gd name="connsiteX0" fmla="*/ 0 w 239489"/>
              <a:gd name="connsiteY0" fmla="*/ 0 h 57149"/>
              <a:gd name="connsiteX1" fmla="*/ 239489 w 239489"/>
              <a:gd name="connsiteY1" fmla="*/ 0 h 57149"/>
              <a:gd name="connsiteX2" fmla="*/ 212819 w 239489"/>
              <a:gd name="connsiteY2" fmla="*/ 57149 h 57149"/>
              <a:gd name="connsiteX3" fmla="*/ 11430 w 239489"/>
              <a:gd name="connsiteY3" fmla="*/ 53339 h 57149"/>
              <a:gd name="connsiteX4" fmla="*/ 0 w 239489"/>
              <a:gd name="connsiteY4" fmla="*/ 0 h 57149"/>
              <a:gd name="connsiteX0" fmla="*/ 0 w 239489"/>
              <a:gd name="connsiteY0" fmla="*/ 0 h 64769"/>
              <a:gd name="connsiteX1" fmla="*/ 239489 w 239489"/>
              <a:gd name="connsiteY1" fmla="*/ 0 h 64769"/>
              <a:gd name="connsiteX2" fmla="*/ 212819 w 239489"/>
              <a:gd name="connsiteY2" fmla="*/ 57149 h 64769"/>
              <a:gd name="connsiteX3" fmla="*/ 11430 w 239489"/>
              <a:gd name="connsiteY3" fmla="*/ 64769 h 64769"/>
              <a:gd name="connsiteX4" fmla="*/ 0 w 239489"/>
              <a:gd name="connsiteY4" fmla="*/ 0 h 64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9" h="64769">
                <a:moveTo>
                  <a:pt x="0" y="0"/>
                </a:moveTo>
                <a:lnTo>
                  <a:pt x="239489" y="0"/>
                </a:lnTo>
                <a:lnTo>
                  <a:pt x="212819" y="57149"/>
                </a:lnTo>
                <a:lnTo>
                  <a:pt x="11430" y="64769"/>
                </a:lnTo>
                <a:lnTo>
                  <a:pt x="0" y="0"/>
                </a:lnTo>
                <a:close/>
              </a:path>
            </a:pathLst>
          </a:custGeom>
          <a:ln>
            <a:noFill/>
          </a:ln>
        </p:spPr>
        <p:style>
          <a:lnRef idx="2">
            <a:schemeClr val="dk1"/>
          </a:lnRef>
          <a:fillRef idx="1">
            <a:schemeClr val="lt1"/>
          </a:fillRef>
          <a:effectRef idx="0">
            <a:schemeClr val="dk1"/>
          </a:effectRef>
          <a:fontRef idx="minor">
            <a:schemeClr val="dk1"/>
          </a:fontRef>
        </p:style>
        <p:txBody>
          <a:bodyPr anchor="ctr"/>
          <a:lstStyle/>
          <a:p>
            <a:pPr algn="ctr" eaLnBrk="1" hangingPunct="1">
              <a:defRPr/>
            </a:pPr>
            <a:endParaRPr lang="ja-JP" altLang="en-US" sz="800"/>
          </a:p>
        </p:txBody>
      </p:sp>
      <p:sp>
        <p:nvSpPr>
          <p:cNvPr id="200" name="楕円 199"/>
          <p:cNvSpPr/>
          <p:nvPr/>
        </p:nvSpPr>
        <p:spPr bwMode="auto">
          <a:xfrm>
            <a:off x="13847890" y="1813828"/>
            <a:ext cx="1631950" cy="1633537"/>
          </a:xfrm>
          <a:prstGeom prst="ellipse">
            <a:avLst/>
          </a:prstGeom>
          <a:solidFill>
            <a:srgbClr val="C6E6A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01" name="右矢印 200"/>
          <p:cNvSpPr/>
          <p:nvPr/>
        </p:nvSpPr>
        <p:spPr bwMode="auto">
          <a:xfrm rot="16200000">
            <a:off x="13711364" y="2653616"/>
            <a:ext cx="360363" cy="201612"/>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02" name="屈折矢印 201"/>
          <p:cNvSpPr/>
          <p:nvPr/>
        </p:nvSpPr>
        <p:spPr bwMode="auto">
          <a:xfrm rot="16200000" flipH="1">
            <a:off x="14127289" y="3007628"/>
            <a:ext cx="569913" cy="325438"/>
          </a:xfrm>
          <a:prstGeom prst="bentUpArrow">
            <a:avLst>
              <a:gd name="adj1" fmla="val 23117"/>
              <a:gd name="adj2" fmla="val 28116"/>
              <a:gd name="adj3" fmla="val 25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03" name="テキスト ボックス 146"/>
          <p:cNvSpPr txBox="1">
            <a:spLocks noChangeArrowheads="1"/>
          </p:cNvSpPr>
          <p:nvPr/>
        </p:nvSpPr>
        <p:spPr bwMode="auto">
          <a:xfrm>
            <a:off x="13441490" y="3366403"/>
            <a:ext cx="59531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00">
                <a:latin typeface="HGｺﾞｼｯｸE" panose="020B0909000000000000" pitchFamily="49" charset="-128"/>
                <a:ea typeface="HGｺﾞｼｯｸE" panose="020B0909000000000000" pitchFamily="49" charset="-128"/>
              </a:rPr>
              <a:t>ごみ収集</a:t>
            </a:r>
          </a:p>
        </p:txBody>
      </p:sp>
      <p:pic>
        <p:nvPicPr>
          <p:cNvPr id="204" name="図 151"/>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13570077" y="2842528"/>
            <a:ext cx="793750"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 name="楕円 204"/>
          <p:cNvSpPr/>
          <p:nvPr/>
        </p:nvSpPr>
        <p:spPr bwMode="auto">
          <a:xfrm>
            <a:off x="14563852" y="2994928"/>
            <a:ext cx="712788" cy="23336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06" name="二等辺三角形 205"/>
          <p:cNvSpPr/>
          <p:nvPr/>
        </p:nvSpPr>
        <p:spPr bwMode="auto">
          <a:xfrm rot="19366061">
            <a:off x="14665452" y="2867928"/>
            <a:ext cx="100013" cy="242887"/>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07" name="テキスト ボックス 201"/>
          <p:cNvSpPr txBox="1">
            <a:spLocks noChangeArrowheads="1"/>
          </p:cNvSpPr>
          <p:nvPr/>
        </p:nvSpPr>
        <p:spPr bwMode="auto">
          <a:xfrm>
            <a:off x="14592427" y="3023503"/>
            <a:ext cx="8302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en-US" altLang="ja-JP" sz="600">
                <a:latin typeface="HGｺﾞｼｯｸE" panose="020B0909000000000000" pitchFamily="49" charset="-128"/>
                <a:ea typeface="HGｺﾞｼｯｸE" panose="020B0909000000000000" pitchFamily="49" charset="-128"/>
              </a:rPr>
              <a:t>EV</a:t>
            </a:r>
            <a:r>
              <a:rPr lang="ja-JP" altLang="en-US" sz="600">
                <a:latin typeface="HGｺﾞｼｯｸE" panose="020B0909000000000000" pitchFamily="49" charset="-128"/>
                <a:ea typeface="HGｺﾞｼｯｸE" panose="020B0909000000000000" pitchFamily="49" charset="-128"/>
              </a:rPr>
              <a:t>パッカー車</a:t>
            </a:r>
          </a:p>
        </p:txBody>
      </p:sp>
      <p:sp>
        <p:nvSpPr>
          <p:cNvPr id="208" name="L 字 207"/>
          <p:cNvSpPr/>
          <p:nvPr/>
        </p:nvSpPr>
        <p:spPr bwMode="auto">
          <a:xfrm rot="10800000">
            <a:off x="14791323" y="2115410"/>
            <a:ext cx="587214" cy="420020"/>
          </a:xfrm>
          <a:prstGeom prst="corner">
            <a:avLst>
              <a:gd name="adj1" fmla="val 36324"/>
              <a:gd name="adj2" fmla="val 32981"/>
            </a:avLst>
          </a:prstGeom>
          <a:gradFill flip="none" rotWithShape="1">
            <a:gsLst>
              <a:gs pos="86000">
                <a:schemeClr val="accent6">
                  <a:lumMod val="0"/>
                  <a:lumOff val="100000"/>
                </a:schemeClr>
              </a:gs>
              <a:gs pos="38000">
                <a:srgbClr val="FFC000"/>
              </a:gs>
            </a:gsLst>
            <a:path path="circle">
              <a:fillToRect r="100000" b="100000"/>
            </a:path>
            <a:tileRect l="-100000" t="-100000"/>
          </a:gra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13" name="直方体 212"/>
          <p:cNvSpPr/>
          <p:nvPr/>
        </p:nvSpPr>
        <p:spPr bwMode="auto">
          <a:xfrm>
            <a:off x="14959140" y="2459940"/>
            <a:ext cx="685800" cy="382588"/>
          </a:xfrm>
          <a:prstGeom prst="cube">
            <a:avLst>
              <a:gd name="adj" fmla="val 28815"/>
            </a:avLst>
          </a:prstGeom>
          <a:solidFill>
            <a:srgbClr val="CEC49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dirty="0"/>
          </a:p>
        </p:txBody>
      </p:sp>
      <p:sp>
        <p:nvSpPr>
          <p:cNvPr id="214" name="正方形/長方形 213"/>
          <p:cNvSpPr/>
          <p:nvPr/>
        </p:nvSpPr>
        <p:spPr bwMode="auto">
          <a:xfrm>
            <a:off x="14982952" y="2626628"/>
            <a:ext cx="536575" cy="25400"/>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15" name="正方形/長方形 214"/>
          <p:cNvSpPr/>
          <p:nvPr/>
        </p:nvSpPr>
        <p:spPr bwMode="auto">
          <a:xfrm>
            <a:off x="15168690" y="2626628"/>
            <a:ext cx="12700" cy="3175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16" name="正方形/長方形 215"/>
          <p:cNvSpPr/>
          <p:nvPr/>
        </p:nvSpPr>
        <p:spPr bwMode="auto">
          <a:xfrm>
            <a:off x="15333790" y="2626628"/>
            <a:ext cx="14287" cy="3175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17" name="正方形/長方形 216"/>
          <p:cNvSpPr/>
          <p:nvPr/>
        </p:nvSpPr>
        <p:spPr bwMode="auto">
          <a:xfrm>
            <a:off x="14982952" y="2718703"/>
            <a:ext cx="185738" cy="25400"/>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18" name="正方形/長方形 217"/>
          <p:cNvSpPr/>
          <p:nvPr/>
        </p:nvSpPr>
        <p:spPr bwMode="auto">
          <a:xfrm>
            <a:off x="13533565" y="1783665"/>
            <a:ext cx="681037" cy="279400"/>
          </a:xfrm>
          <a:prstGeom prst="rect">
            <a:avLst/>
          </a:prstGeom>
          <a:solidFill>
            <a:srgbClr val="92D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219" name="グループ化 3"/>
          <p:cNvGrpSpPr>
            <a:grpSpLocks/>
          </p:cNvGrpSpPr>
          <p:nvPr/>
        </p:nvGrpSpPr>
        <p:grpSpPr bwMode="auto">
          <a:xfrm>
            <a:off x="14071727" y="1729690"/>
            <a:ext cx="744538" cy="752475"/>
            <a:chOff x="9092262" y="4587994"/>
            <a:chExt cx="579326" cy="586114"/>
          </a:xfrm>
        </p:grpSpPr>
        <p:sp>
          <p:nvSpPr>
            <p:cNvPr id="220" name="直方体 219"/>
            <p:cNvSpPr/>
            <p:nvPr/>
          </p:nvSpPr>
          <p:spPr bwMode="auto">
            <a:xfrm>
              <a:off x="9092262" y="4778419"/>
              <a:ext cx="579326" cy="323970"/>
            </a:xfrm>
            <a:prstGeom prst="cube">
              <a:avLst>
                <a:gd name="adj" fmla="val 28815"/>
              </a:avLst>
            </a:prstGeom>
            <a:solidFill>
              <a:srgbClr val="CEC49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221" name="グループ化 2"/>
            <p:cNvGrpSpPr>
              <a:grpSpLocks/>
            </p:cNvGrpSpPr>
            <p:nvPr/>
          </p:nvGrpSpPr>
          <p:grpSpPr bwMode="auto">
            <a:xfrm>
              <a:off x="9113127" y="4587994"/>
              <a:ext cx="535140" cy="586114"/>
              <a:chOff x="9113127" y="4587994"/>
              <a:chExt cx="535140" cy="586114"/>
            </a:xfrm>
          </p:grpSpPr>
          <p:sp>
            <p:nvSpPr>
              <p:cNvPr id="222" name="円柱 221"/>
              <p:cNvSpPr/>
              <p:nvPr/>
            </p:nvSpPr>
            <p:spPr bwMode="auto">
              <a:xfrm>
                <a:off x="9491302" y="4587994"/>
                <a:ext cx="70265" cy="224447"/>
              </a:xfrm>
              <a:prstGeom prst="can">
                <a:avLst/>
              </a:prstGeom>
              <a:solidFill>
                <a:schemeClr val="accent6">
                  <a:lumMod val="60000"/>
                  <a:lumOff val="40000"/>
                </a:schemeClr>
              </a:solidFill>
              <a:ln>
                <a:no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23" name="フローチャート : 記憶データ 178"/>
              <p:cNvSpPr/>
              <p:nvPr/>
            </p:nvSpPr>
            <p:spPr bwMode="auto">
              <a:xfrm rot="16200000">
                <a:off x="9501100" y="4617706"/>
                <a:ext cx="49461" cy="66703"/>
              </a:xfrm>
              <a:prstGeom prst="flowChartOnlineStorag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24" name="フローチャート : 記憶データ 181"/>
              <p:cNvSpPr/>
              <p:nvPr/>
            </p:nvSpPr>
            <p:spPr bwMode="auto">
              <a:xfrm rot="16200000">
                <a:off x="9501100" y="4690660"/>
                <a:ext cx="49461" cy="66703"/>
              </a:xfrm>
              <a:prstGeom prst="flowChartOnlineStorag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25" name="円/楕円 185"/>
              <p:cNvSpPr/>
              <p:nvPr/>
            </p:nvSpPr>
            <p:spPr bwMode="auto">
              <a:xfrm>
                <a:off x="9492479" y="4587994"/>
                <a:ext cx="62997" cy="11129"/>
              </a:xfrm>
              <a:prstGeom prst="ellipse">
                <a:avLst/>
              </a:prstGeom>
              <a:solidFill>
                <a:srgbClr val="4C44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26" name="正方形/長方形 225"/>
              <p:cNvSpPr/>
              <p:nvPr/>
            </p:nvSpPr>
            <p:spPr bwMode="auto">
              <a:xfrm>
                <a:off x="9113262" y="4919383"/>
                <a:ext cx="450861" cy="21021"/>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27" name="直方体 226"/>
              <p:cNvSpPr/>
              <p:nvPr/>
            </p:nvSpPr>
            <p:spPr bwMode="auto">
              <a:xfrm>
                <a:off x="9287429" y="4957716"/>
                <a:ext cx="291516" cy="216392"/>
              </a:xfrm>
              <a:prstGeom prst="cube">
                <a:avLst>
                  <a:gd name="adj" fmla="val 33831"/>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28" name="正方形/長方形 227"/>
              <p:cNvSpPr/>
              <p:nvPr/>
            </p:nvSpPr>
            <p:spPr bwMode="auto">
              <a:xfrm>
                <a:off x="9268901" y="4919383"/>
                <a:ext cx="11117" cy="27204"/>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29" name="正方形/長方形 228"/>
              <p:cNvSpPr/>
              <p:nvPr/>
            </p:nvSpPr>
            <p:spPr bwMode="auto">
              <a:xfrm>
                <a:off x="9408483" y="4919383"/>
                <a:ext cx="11118" cy="27204"/>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30" name="正方形/長方形 229"/>
              <p:cNvSpPr/>
              <p:nvPr/>
            </p:nvSpPr>
            <p:spPr bwMode="auto">
              <a:xfrm>
                <a:off x="9303488" y="5077659"/>
                <a:ext cx="16058"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31" name="正方形/長方形 230"/>
              <p:cNvSpPr/>
              <p:nvPr/>
            </p:nvSpPr>
            <p:spPr bwMode="auto">
              <a:xfrm>
                <a:off x="9336839" y="5077659"/>
                <a:ext cx="16058"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32" name="正方形/長方形 231"/>
              <p:cNvSpPr/>
              <p:nvPr/>
            </p:nvSpPr>
            <p:spPr bwMode="auto">
              <a:xfrm>
                <a:off x="9371426" y="5077659"/>
                <a:ext cx="16058"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33" name="正方形/長方形 232"/>
              <p:cNvSpPr/>
              <p:nvPr/>
            </p:nvSpPr>
            <p:spPr bwMode="auto">
              <a:xfrm>
                <a:off x="9406012" y="5077659"/>
                <a:ext cx="16058"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34" name="正方形/長方形 233"/>
              <p:cNvSpPr/>
              <p:nvPr/>
            </p:nvSpPr>
            <p:spPr bwMode="auto">
              <a:xfrm>
                <a:off x="9435658" y="5077659"/>
                <a:ext cx="14823"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35" name="正方形/長方形 234"/>
              <p:cNvSpPr/>
              <p:nvPr/>
            </p:nvSpPr>
            <p:spPr bwMode="auto">
              <a:xfrm>
                <a:off x="9467774" y="5077659"/>
                <a:ext cx="18529" cy="2967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36" name="正方形/長方形 235"/>
              <p:cNvSpPr/>
              <p:nvPr/>
            </p:nvSpPr>
            <p:spPr bwMode="auto">
              <a:xfrm>
                <a:off x="9113262" y="4997285"/>
                <a:ext cx="155640" cy="22257"/>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37" name="平行四辺形 236"/>
              <p:cNvSpPr/>
              <p:nvPr/>
            </p:nvSpPr>
            <p:spPr bwMode="auto">
              <a:xfrm rot="19735899">
                <a:off x="9623414" y="4857557"/>
                <a:ext cx="24705" cy="27204"/>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38" name="平行四辺形 237"/>
              <p:cNvSpPr/>
              <p:nvPr/>
            </p:nvSpPr>
            <p:spPr bwMode="auto">
              <a:xfrm rot="19735899">
                <a:off x="9623414" y="4926803"/>
                <a:ext cx="24705" cy="28441"/>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39" name="平行四辺形 238"/>
              <p:cNvSpPr/>
              <p:nvPr/>
            </p:nvSpPr>
            <p:spPr bwMode="auto">
              <a:xfrm rot="19735899">
                <a:off x="9623414" y="4986156"/>
                <a:ext cx="24705" cy="29677"/>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grpSp>
        <p:nvGrpSpPr>
          <p:cNvPr id="240" name="グループ化 139"/>
          <p:cNvGrpSpPr>
            <a:grpSpLocks/>
          </p:cNvGrpSpPr>
          <p:nvPr/>
        </p:nvGrpSpPr>
        <p:grpSpPr bwMode="auto">
          <a:xfrm>
            <a:off x="13614527" y="2110690"/>
            <a:ext cx="593725" cy="473075"/>
            <a:chOff x="9522443" y="4509120"/>
            <a:chExt cx="885383" cy="703879"/>
          </a:xfrm>
        </p:grpSpPr>
        <p:pic>
          <p:nvPicPr>
            <p:cNvPr id="241" name="図 140"/>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 name="正方形/長方形 241"/>
            <p:cNvSpPr/>
            <p:nvPr/>
          </p:nvSpPr>
          <p:spPr>
            <a:xfrm>
              <a:off x="9617136" y="4922473"/>
              <a:ext cx="222529" cy="1511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sp>
        <p:nvSpPr>
          <p:cNvPr id="243" name="テキスト ボックス 358"/>
          <p:cNvSpPr txBox="1">
            <a:spLocks noChangeArrowheads="1"/>
          </p:cNvSpPr>
          <p:nvPr/>
        </p:nvSpPr>
        <p:spPr bwMode="auto">
          <a:xfrm>
            <a:off x="14835315" y="2099578"/>
            <a:ext cx="484187"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defRPr/>
            </a:pPr>
            <a:r>
              <a:rPr lang="ja-JP" altLang="en-US" sz="600" dirty="0" smtClean="0">
                <a:solidFill>
                  <a:srgbClr val="FF0000"/>
                </a:solidFill>
                <a:effectLst>
                  <a:outerShdw blurRad="38100" dist="38100" dir="2700000" sx="89000" sy="89000" algn="tl">
                    <a:schemeClr val="bg1">
                      <a:alpha val="43000"/>
                    </a:schemeClr>
                  </a:outerShdw>
                </a:effectLst>
                <a:latin typeface="HGｺﾞｼｯｸE" panose="020B0909000000000000" pitchFamily="49" charset="-128"/>
                <a:ea typeface="HGｺﾞｼｯｸE" panose="020B0909000000000000" pitchFamily="49" charset="-128"/>
              </a:rPr>
              <a:t>送 電</a:t>
            </a:r>
          </a:p>
        </p:txBody>
      </p:sp>
      <p:sp>
        <p:nvSpPr>
          <p:cNvPr id="244" name="テキスト ボックス 360"/>
          <p:cNvSpPr txBox="1">
            <a:spLocks noChangeArrowheads="1"/>
          </p:cNvSpPr>
          <p:nvPr/>
        </p:nvSpPr>
        <p:spPr bwMode="auto">
          <a:xfrm>
            <a:off x="14608302" y="1642378"/>
            <a:ext cx="5953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00">
                <a:latin typeface="HGｺﾞｼｯｸE" panose="020B0909000000000000" pitchFamily="49" charset="-128"/>
                <a:ea typeface="HGｺﾞｼｯｸE" panose="020B0909000000000000" pitchFamily="49" charset="-128"/>
              </a:rPr>
              <a:t>ごみ</a:t>
            </a:r>
            <a:endParaRPr lang="en-US" altLang="ja-JP" sz="800">
              <a:latin typeface="HGｺﾞｼｯｸE" panose="020B0909000000000000" pitchFamily="49" charset="-128"/>
              <a:ea typeface="HGｺﾞｼｯｸE" panose="020B0909000000000000" pitchFamily="49" charset="-128"/>
            </a:endParaRPr>
          </a:p>
          <a:p>
            <a:pPr>
              <a:spcBef>
                <a:spcPct val="0"/>
              </a:spcBef>
              <a:buFontTx/>
              <a:buNone/>
            </a:pPr>
            <a:r>
              <a:rPr lang="ja-JP" altLang="en-US" sz="800">
                <a:latin typeface="HGｺﾞｼｯｸE" panose="020B0909000000000000" pitchFamily="49" charset="-128"/>
                <a:ea typeface="HGｺﾞｼｯｸE" panose="020B0909000000000000" pitchFamily="49" charset="-128"/>
              </a:rPr>
              <a:t>焼却施設</a:t>
            </a:r>
          </a:p>
        </p:txBody>
      </p:sp>
      <p:sp>
        <p:nvSpPr>
          <p:cNvPr id="245" name="テキスト ボックス 363"/>
          <p:cNvSpPr txBox="1">
            <a:spLocks noChangeArrowheads="1"/>
          </p:cNvSpPr>
          <p:nvPr/>
        </p:nvSpPr>
        <p:spPr bwMode="auto">
          <a:xfrm>
            <a:off x="14963902" y="2385328"/>
            <a:ext cx="700088"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700">
                <a:latin typeface="HGｺﾞｼｯｸE" panose="020B0909000000000000" pitchFamily="49" charset="-128"/>
                <a:ea typeface="HGｺﾞｼｯｸE" panose="020B0909000000000000" pitchFamily="49" charset="-128"/>
              </a:rPr>
              <a:t>充電設備</a:t>
            </a:r>
          </a:p>
        </p:txBody>
      </p:sp>
      <p:grpSp>
        <p:nvGrpSpPr>
          <p:cNvPr id="246" name="グループ化 1"/>
          <p:cNvGrpSpPr>
            <a:grpSpLocks/>
          </p:cNvGrpSpPr>
          <p:nvPr/>
        </p:nvGrpSpPr>
        <p:grpSpPr bwMode="auto">
          <a:xfrm>
            <a:off x="14254290" y="2544078"/>
            <a:ext cx="549275" cy="433387"/>
            <a:chOff x="5573892" y="6001116"/>
            <a:chExt cx="419126" cy="332478"/>
          </a:xfrm>
        </p:grpSpPr>
        <p:grpSp>
          <p:nvGrpSpPr>
            <p:cNvPr id="247" name="グループ化 276"/>
            <p:cNvGrpSpPr>
              <a:grpSpLocks/>
            </p:cNvGrpSpPr>
            <p:nvPr/>
          </p:nvGrpSpPr>
          <p:grpSpPr bwMode="auto">
            <a:xfrm>
              <a:off x="5573892" y="6001116"/>
              <a:ext cx="419126" cy="332478"/>
              <a:chOff x="9522443" y="4509120"/>
              <a:chExt cx="885383" cy="703879"/>
            </a:xfrm>
          </p:grpSpPr>
          <p:pic>
            <p:nvPicPr>
              <p:cNvPr id="254" name="図 289"/>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5" name="正方形/長方形 254"/>
              <p:cNvSpPr/>
              <p:nvPr/>
            </p:nvSpPr>
            <p:spPr>
              <a:xfrm>
                <a:off x="9617122" y="4921650"/>
                <a:ext cx="225184" cy="1495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nvGrpSpPr>
            <p:cNvPr id="248" name="グループ化 382"/>
            <p:cNvGrpSpPr>
              <a:grpSpLocks/>
            </p:cNvGrpSpPr>
            <p:nvPr/>
          </p:nvGrpSpPr>
          <p:grpSpPr bwMode="auto">
            <a:xfrm flipV="1">
              <a:off x="5615167" y="6214531"/>
              <a:ext cx="100013" cy="19050"/>
              <a:chOff x="9284458" y="6066181"/>
              <a:chExt cx="1029302" cy="201952"/>
            </a:xfrm>
          </p:grpSpPr>
          <p:sp>
            <p:nvSpPr>
              <p:cNvPr id="249" name="正方形/長方形 248"/>
              <p:cNvSpPr/>
              <p:nvPr/>
            </p:nvSpPr>
            <p:spPr>
              <a:xfrm>
                <a:off x="9271069" y="6064620"/>
                <a:ext cx="1047207" cy="20657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50" name="正方形/長方形 249"/>
              <p:cNvSpPr/>
              <p:nvPr/>
            </p:nvSpPr>
            <p:spPr>
              <a:xfrm>
                <a:off x="9246135" y="6064620"/>
                <a:ext cx="299202" cy="206571"/>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51" name="正方形/長方形 250"/>
              <p:cNvSpPr/>
              <p:nvPr/>
            </p:nvSpPr>
            <p:spPr>
              <a:xfrm>
                <a:off x="9246135" y="6064620"/>
                <a:ext cx="211939" cy="20657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52" name="正方形/長方形 251"/>
              <p:cNvSpPr/>
              <p:nvPr/>
            </p:nvSpPr>
            <p:spPr>
              <a:xfrm rot="10800000">
                <a:off x="10044007" y="6064620"/>
                <a:ext cx="261806" cy="206571"/>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53" name="正方形/長方形 252"/>
              <p:cNvSpPr/>
              <p:nvPr/>
            </p:nvSpPr>
            <p:spPr>
              <a:xfrm rot="10800000">
                <a:off x="10143741" y="6064620"/>
                <a:ext cx="174535" cy="20657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grpSp>
        <p:nvGrpSpPr>
          <p:cNvPr id="256" name="グループ化 374"/>
          <p:cNvGrpSpPr>
            <a:grpSpLocks/>
          </p:cNvGrpSpPr>
          <p:nvPr/>
        </p:nvGrpSpPr>
        <p:grpSpPr bwMode="auto">
          <a:xfrm flipV="1">
            <a:off x="13671677" y="2418665"/>
            <a:ext cx="127000" cy="25400"/>
            <a:chOff x="9284458" y="6066181"/>
            <a:chExt cx="1029302" cy="201952"/>
          </a:xfrm>
        </p:grpSpPr>
        <p:sp>
          <p:nvSpPr>
            <p:cNvPr id="257" name="正方形/長方形 256"/>
            <p:cNvSpPr/>
            <p:nvPr/>
          </p:nvSpPr>
          <p:spPr>
            <a:xfrm>
              <a:off x="9297328" y="6066181"/>
              <a:ext cx="1016432" cy="2019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58" name="正方形/長方形 257"/>
            <p:cNvSpPr/>
            <p:nvPr/>
          </p:nvSpPr>
          <p:spPr>
            <a:xfrm>
              <a:off x="9284458" y="6066181"/>
              <a:ext cx="270196"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59" name="正方形/長方形 258"/>
            <p:cNvSpPr/>
            <p:nvPr/>
          </p:nvSpPr>
          <p:spPr>
            <a:xfrm>
              <a:off x="9284458" y="6066181"/>
              <a:ext cx="180128"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60" name="正方形/長方形 259"/>
            <p:cNvSpPr/>
            <p:nvPr/>
          </p:nvSpPr>
          <p:spPr>
            <a:xfrm rot="10800000">
              <a:off x="10043572" y="6066181"/>
              <a:ext cx="257326"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61" name="正方形/長方形 260"/>
            <p:cNvSpPr/>
            <p:nvPr/>
          </p:nvSpPr>
          <p:spPr>
            <a:xfrm rot="10800000">
              <a:off x="10133632" y="6066181"/>
              <a:ext cx="180128"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sp>
        <p:nvSpPr>
          <p:cNvPr id="262" name="左矢印 261"/>
          <p:cNvSpPr/>
          <p:nvPr/>
        </p:nvSpPr>
        <p:spPr bwMode="auto">
          <a:xfrm>
            <a:off x="14585389" y="2698544"/>
            <a:ext cx="687124" cy="252827"/>
          </a:xfrm>
          <a:prstGeom prst="leftArrow">
            <a:avLst>
              <a:gd name="adj1" fmla="val 60704"/>
              <a:gd name="adj2" fmla="val 39297"/>
            </a:avLst>
          </a:prstGeom>
          <a:gradFill>
            <a:gsLst>
              <a:gs pos="86000">
                <a:schemeClr val="accent6">
                  <a:lumMod val="0"/>
                  <a:lumOff val="100000"/>
                </a:schemeClr>
              </a:gs>
              <a:gs pos="38000">
                <a:srgbClr val="FFC000"/>
              </a:gs>
            </a:gsLst>
            <a:path path="circle">
              <a:fillToRect r="100000" b="100000"/>
            </a:path>
          </a:gra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63" name="直方体 262"/>
          <p:cNvSpPr/>
          <p:nvPr/>
        </p:nvSpPr>
        <p:spPr bwMode="auto">
          <a:xfrm rot="5400000">
            <a:off x="14673685" y="2747017"/>
            <a:ext cx="93226" cy="143298"/>
          </a:xfrm>
          <a:prstGeom prst="cube">
            <a:avLst>
              <a:gd name="adj" fmla="val 26536"/>
            </a:avLst>
          </a:prstGeom>
          <a:solidFill>
            <a:schemeClr val="tx1">
              <a:lumMod val="85000"/>
              <a:lumOff val="15000"/>
            </a:schemeClr>
          </a:solidFill>
          <a:ln>
            <a:noFill/>
          </a:ln>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64" name="テキスト ボックス 363"/>
          <p:cNvSpPr txBox="1">
            <a:spLocks noChangeArrowheads="1"/>
          </p:cNvSpPr>
          <p:nvPr/>
        </p:nvSpPr>
        <p:spPr bwMode="auto">
          <a:xfrm>
            <a:off x="14728952" y="2742515"/>
            <a:ext cx="647700" cy="21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500">
                <a:solidFill>
                  <a:srgbClr val="FF0000"/>
                </a:solidFill>
                <a:latin typeface="HGｺﾞｼｯｸE" panose="020B0909000000000000" pitchFamily="49" charset="-128"/>
                <a:ea typeface="HGｺﾞｼｯｸE" panose="020B0909000000000000" pitchFamily="49" charset="-128"/>
              </a:rPr>
              <a:t>充電済電池</a:t>
            </a:r>
          </a:p>
        </p:txBody>
      </p:sp>
      <p:sp>
        <p:nvSpPr>
          <p:cNvPr id="265" name="直方体 264"/>
          <p:cNvSpPr/>
          <p:nvPr/>
        </p:nvSpPr>
        <p:spPr bwMode="auto">
          <a:xfrm>
            <a:off x="15246477" y="2672665"/>
            <a:ext cx="247650" cy="280988"/>
          </a:xfrm>
          <a:prstGeom prst="cube">
            <a:avLst>
              <a:gd name="adj" fmla="val 21566"/>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266" name="グループ化 265"/>
          <p:cNvGrpSpPr/>
          <p:nvPr/>
        </p:nvGrpSpPr>
        <p:grpSpPr bwMode="auto">
          <a:xfrm rot="19954016">
            <a:off x="14551737" y="2518571"/>
            <a:ext cx="77019" cy="184598"/>
            <a:chOff x="12471802" y="3668802"/>
            <a:chExt cx="434170" cy="598160"/>
          </a:xfrm>
          <a:solidFill>
            <a:srgbClr val="D2BE1B"/>
          </a:solidFill>
        </p:grpSpPr>
        <p:sp>
          <p:nvSpPr>
            <p:cNvPr id="267" name="二等辺三角形 266"/>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68" name="二等辺三角形 267"/>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nvGrpSpPr>
          <p:cNvPr id="269" name="グループ化 268"/>
          <p:cNvGrpSpPr/>
          <p:nvPr/>
        </p:nvGrpSpPr>
        <p:grpSpPr bwMode="auto">
          <a:xfrm rot="854517">
            <a:off x="14717793" y="2562336"/>
            <a:ext cx="63758" cy="131831"/>
            <a:chOff x="12471802" y="3668802"/>
            <a:chExt cx="434170" cy="598160"/>
          </a:xfrm>
          <a:solidFill>
            <a:srgbClr val="C2AD17"/>
          </a:solidFill>
        </p:grpSpPr>
        <p:sp>
          <p:nvSpPr>
            <p:cNvPr id="270" name="二等辺三角形 269"/>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71" name="二等辺三角形 270"/>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sp>
        <p:nvSpPr>
          <p:cNvPr id="272" name="テキスト ボックス 147"/>
          <p:cNvSpPr txBox="1">
            <a:spLocks noChangeArrowheads="1"/>
          </p:cNvSpPr>
          <p:nvPr/>
        </p:nvSpPr>
        <p:spPr bwMode="auto">
          <a:xfrm>
            <a:off x="13573252" y="1810653"/>
            <a:ext cx="730250"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000" b="1"/>
              <a:t>平常時</a:t>
            </a:r>
          </a:p>
        </p:txBody>
      </p:sp>
      <p:sp>
        <p:nvSpPr>
          <p:cNvPr id="273" name="テキスト ボックス 150"/>
          <p:cNvSpPr txBox="1">
            <a:spLocks noChangeArrowheads="1"/>
          </p:cNvSpPr>
          <p:nvPr/>
        </p:nvSpPr>
        <p:spPr bwMode="auto">
          <a:xfrm>
            <a:off x="15881477" y="2169428"/>
            <a:ext cx="603250" cy="263525"/>
          </a:xfrm>
          <a:prstGeom prst="rect">
            <a:avLst/>
          </a:prstGeom>
          <a:solidFill>
            <a:srgbClr val="FF97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1000" b="1"/>
              <a:t>災害時</a:t>
            </a:r>
          </a:p>
        </p:txBody>
      </p:sp>
      <p:sp>
        <p:nvSpPr>
          <p:cNvPr id="274" name="正方形/長方形 273"/>
          <p:cNvSpPr/>
          <p:nvPr/>
        </p:nvSpPr>
        <p:spPr bwMode="auto">
          <a:xfrm>
            <a:off x="15430627" y="2650440"/>
            <a:ext cx="100013" cy="46038"/>
          </a:xfrm>
          <a:prstGeom prst="rect">
            <a:avLst/>
          </a:prstGeom>
          <a:ln>
            <a:noFill/>
          </a:ln>
        </p:spPr>
        <p:style>
          <a:lnRef idx="2">
            <a:schemeClr val="dk1"/>
          </a:lnRef>
          <a:fillRef idx="1">
            <a:schemeClr val="lt1"/>
          </a:fillRef>
          <a:effectRef idx="0">
            <a:schemeClr val="dk1"/>
          </a:effectRef>
          <a:fontRef idx="minor">
            <a:schemeClr val="dk1"/>
          </a:fontRef>
        </p:style>
        <p:txBody>
          <a:bodyPr anchor="ctr"/>
          <a:lstStyle/>
          <a:p>
            <a:pPr algn="ctr" eaLnBrk="1" hangingPunct="1">
              <a:defRPr/>
            </a:pPr>
            <a:endParaRPr lang="ja-JP" altLang="en-US" sz="800"/>
          </a:p>
        </p:txBody>
      </p:sp>
      <p:sp>
        <p:nvSpPr>
          <p:cNvPr id="275" name="楕円 274"/>
          <p:cNvSpPr/>
          <p:nvPr/>
        </p:nvSpPr>
        <p:spPr bwMode="auto">
          <a:xfrm>
            <a:off x="16043402" y="2553603"/>
            <a:ext cx="1350963" cy="1354137"/>
          </a:xfrm>
          <a:prstGeom prst="ellipse">
            <a:avLst/>
          </a:prstGeom>
          <a:solidFill>
            <a:srgbClr val="FFE9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76" name="右矢印 275"/>
          <p:cNvSpPr/>
          <p:nvPr/>
        </p:nvSpPr>
        <p:spPr bwMode="auto">
          <a:xfrm rot="16200000">
            <a:off x="15594140" y="3244165"/>
            <a:ext cx="300038" cy="166687"/>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77" name="屈折矢印 276"/>
          <p:cNvSpPr/>
          <p:nvPr/>
        </p:nvSpPr>
        <p:spPr bwMode="auto">
          <a:xfrm rot="16200000" flipH="1">
            <a:off x="15940215" y="3520390"/>
            <a:ext cx="434975" cy="244475"/>
          </a:xfrm>
          <a:prstGeom prst="bentUpArrow">
            <a:avLst>
              <a:gd name="adj1" fmla="val 23117"/>
              <a:gd name="adj2" fmla="val 29514"/>
              <a:gd name="adj3" fmla="val 250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pic>
        <p:nvPicPr>
          <p:cNvPr id="278" name="図 169"/>
          <p:cNvPicPr>
            <a:picLocks noChangeAspect="1"/>
          </p:cNvPicPr>
          <p:nvPr/>
        </p:nvPicPr>
        <p:blipFill>
          <a:blip r:embed="rId29">
            <a:extLst>
              <a:ext uri="{28A0092B-C50C-407E-A947-70E740481C1C}">
                <a14:useLocalDpi xmlns:a14="http://schemas.microsoft.com/office/drawing/2010/main" val="0"/>
              </a:ext>
            </a:extLst>
          </a:blip>
          <a:srcRect/>
          <a:stretch>
            <a:fillRect/>
          </a:stretch>
        </p:blipFill>
        <p:spPr bwMode="auto">
          <a:xfrm>
            <a:off x="15505240" y="3450540"/>
            <a:ext cx="555625"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9" name="テキスト ボックス 172"/>
          <p:cNvSpPr txBox="1">
            <a:spLocks noChangeArrowheads="1"/>
          </p:cNvSpPr>
          <p:nvPr/>
        </p:nvSpPr>
        <p:spPr bwMode="auto">
          <a:xfrm>
            <a:off x="15506827" y="3760103"/>
            <a:ext cx="6318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00">
                <a:latin typeface="HGｺﾞｼｯｸE" panose="020B0909000000000000" pitchFamily="49" charset="-128"/>
                <a:ea typeface="HGｺﾞｼｯｸE" panose="020B0909000000000000" pitchFamily="49" charset="-128"/>
              </a:rPr>
              <a:t>ごみ収集</a:t>
            </a:r>
          </a:p>
        </p:txBody>
      </p:sp>
      <p:sp>
        <p:nvSpPr>
          <p:cNvPr id="280" name="右矢印 279"/>
          <p:cNvSpPr/>
          <p:nvPr/>
        </p:nvSpPr>
        <p:spPr bwMode="auto">
          <a:xfrm>
            <a:off x="17087977" y="3121928"/>
            <a:ext cx="265113" cy="23336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281" name="グループ化 202"/>
          <p:cNvGrpSpPr>
            <a:grpSpLocks/>
          </p:cNvGrpSpPr>
          <p:nvPr/>
        </p:nvGrpSpPr>
        <p:grpSpPr bwMode="auto">
          <a:xfrm>
            <a:off x="16835565" y="3375928"/>
            <a:ext cx="1033462" cy="601662"/>
            <a:chOff x="9311650" y="5458775"/>
            <a:chExt cx="1092998" cy="635164"/>
          </a:xfrm>
        </p:grpSpPr>
        <p:sp>
          <p:nvSpPr>
            <p:cNvPr id="282" name="平行四辺形 281"/>
            <p:cNvSpPr/>
            <p:nvPr/>
          </p:nvSpPr>
          <p:spPr>
            <a:xfrm>
              <a:off x="9353623" y="5711835"/>
              <a:ext cx="1051025" cy="224570"/>
            </a:xfrm>
            <a:prstGeom prst="parallelogram">
              <a:avLst>
                <a:gd name="adj" fmla="val 143491"/>
              </a:avLst>
            </a:prstGeom>
            <a:solidFill>
              <a:srgbClr val="FFFF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283" name="グループ化 204"/>
            <p:cNvGrpSpPr>
              <a:grpSpLocks/>
            </p:cNvGrpSpPr>
            <p:nvPr/>
          </p:nvGrpSpPr>
          <p:grpSpPr bwMode="auto">
            <a:xfrm>
              <a:off x="9624569" y="5458775"/>
              <a:ext cx="114866" cy="282311"/>
              <a:chOff x="9691388" y="5286253"/>
              <a:chExt cx="185059" cy="454829"/>
            </a:xfrm>
          </p:grpSpPr>
          <p:sp>
            <p:nvSpPr>
              <p:cNvPr id="311" name="円柱 310"/>
              <p:cNvSpPr/>
              <p:nvPr/>
            </p:nvSpPr>
            <p:spPr>
              <a:xfrm>
                <a:off x="9766106" y="5453655"/>
                <a:ext cx="48689" cy="286203"/>
              </a:xfrm>
              <a:prstGeom prst="can">
                <a:avLst/>
              </a:prstGeom>
              <a:solidFill>
                <a:srgbClr val="9A43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12" name="雲 311"/>
              <p:cNvSpPr/>
              <p:nvPr/>
            </p:nvSpPr>
            <p:spPr>
              <a:xfrm rot="21169776">
                <a:off x="9503725" y="5286253"/>
                <a:ext cx="373282" cy="310502"/>
              </a:xfrm>
              <a:prstGeom prst="cloud">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nvGrpSpPr>
            <p:cNvPr id="284" name="グループ化 205"/>
            <p:cNvGrpSpPr>
              <a:grpSpLocks/>
            </p:cNvGrpSpPr>
            <p:nvPr/>
          </p:nvGrpSpPr>
          <p:grpSpPr bwMode="auto">
            <a:xfrm>
              <a:off x="9703798" y="5458775"/>
              <a:ext cx="114866" cy="282311"/>
              <a:chOff x="9691388" y="5286253"/>
              <a:chExt cx="185059" cy="454829"/>
            </a:xfrm>
          </p:grpSpPr>
          <p:sp>
            <p:nvSpPr>
              <p:cNvPr id="309" name="円柱 308"/>
              <p:cNvSpPr/>
              <p:nvPr/>
            </p:nvSpPr>
            <p:spPr>
              <a:xfrm>
                <a:off x="9771001" y="5453655"/>
                <a:ext cx="40575" cy="286203"/>
              </a:xfrm>
              <a:prstGeom prst="can">
                <a:avLst/>
              </a:prstGeom>
              <a:solidFill>
                <a:srgbClr val="9A43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10" name="雲 309"/>
              <p:cNvSpPr/>
              <p:nvPr/>
            </p:nvSpPr>
            <p:spPr>
              <a:xfrm rot="21169776">
                <a:off x="9692559" y="5286253"/>
                <a:ext cx="183936" cy="310502"/>
              </a:xfrm>
              <a:prstGeom prst="cloud">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nvGrpSpPr>
            <p:cNvPr id="285" name="グループ化 206"/>
            <p:cNvGrpSpPr>
              <a:grpSpLocks/>
            </p:cNvGrpSpPr>
            <p:nvPr/>
          </p:nvGrpSpPr>
          <p:grpSpPr bwMode="auto">
            <a:xfrm>
              <a:off x="9997593" y="5623409"/>
              <a:ext cx="266026" cy="140063"/>
              <a:chOff x="9784485" y="4919609"/>
              <a:chExt cx="404139" cy="212779"/>
            </a:xfrm>
          </p:grpSpPr>
          <p:cxnSp>
            <p:nvCxnSpPr>
              <p:cNvPr id="304" name="直線コネクタ 303"/>
              <p:cNvCxnSpPr/>
              <p:nvPr/>
            </p:nvCxnSpPr>
            <p:spPr>
              <a:xfrm>
                <a:off x="9785623" y="4939375"/>
                <a:ext cx="204050"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5" name="直線コネクタ 304"/>
              <p:cNvCxnSpPr/>
              <p:nvPr/>
            </p:nvCxnSpPr>
            <p:spPr>
              <a:xfrm>
                <a:off x="9989672" y="4919008"/>
                <a:ext cx="0" cy="20877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6" name="直線コネクタ 305"/>
              <p:cNvCxnSpPr/>
              <p:nvPr/>
            </p:nvCxnSpPr>
            <p:spPr>
              <a:xfrm>
                <a:off x="9785623" y="4919008"/>
                <a:ext cx="0" cy="20877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7" name="直線コネクタ 306"/>
              <p:cNvCxnSpPr/>
              <p:nvPr/>
            </p:nvCxnSpPr>
            <p:spPr>
              <a:xfrm>
                <a:off x="9989672" y="4992840"/>
                <a:ext cx="198949"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8" name="直線コネクタ 307"/>
              <p:cNvCxnSpPr/>
              <p:nvPr/>
            </p:nvCxnSpPr>
            <p:spPr>
              <a:xfrm>
                <a:off x="10188621" y="4969927"/>
                <a:ext cx="0" cy="162942"/>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286" name="直方体 285"/>
            <p:cNvSpPr/>
            <p:nvPr/>
          </p:nvSpPr>
          <p:spPr bwMode="auto">
            <a:xfrm>
              <a:off x="9889210" y="5731945"/>
              <a:ext cx="340827" cy="286579"/>
            </a:xfrm>
            <a:prstGeom prst="cube">
              <a:avLst>
                <a:gd name="adj" fmla="val 26113"/>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287" name="グループ化 208"/>
            <p:cNvGrpSpPr>
              <a:grpSpLocks/>
            </p:cNvGrpSpPr>
            <p:nvPr/>
          </p:nvGrpSpPr>
          <p:grpSpPr bwMode="auto">
            <a:xfrm>
              <a:off x="9311650" y="5760827"/>
              <a:ext cx="419009" cy="333112"/>
              <a:chOff x="9522443" y="4509120"/>
              <a:chExt cx="885383" cy="703879"/>
            </a:xfrm>
          </p:grpSpPr>
          <p:pic>
            <p:nvPicPr>
              <p:cNvPr id="302" name="図 223"/>
              <p:cNvPicPr>
                <a:picLocks noChangeAspect="1"/>
              </p:cNvPicPr>
              <p:nvPr/>
            </p:nvPicPr>
            <p:blipFill>
              <a:blip r:embed="rId30">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3" name="正方形/長方形 302"/>
              <p:cNvSpPr/>
              <p:nvPr/>
            </p:nvSpPr>
            <p:spPr>
              <a:xfrm>
                <a:off x="9618230" y="4922618"/>
                <a:ext cx="219957" cy="152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sp>
          <p:nvSpPr>
            <p:cNvPr id="288" name="フリーフォーム 287"/>
            <p:cNvSpPr/>
            <p:nvPr/>
          </p:nvSpPr>
          <p:spPr>
            <a:xfrm>
              <a:off x="9709561" y="5933053"/>
              <a:ext cx="193080" cy="93850"/>
            </a:xfrm>
            <a:custGeom>
              <a:avLst/>
              <a:gdLst>
                <a:gd name="connsiteX0" fmla="*/ 0 w 217583"/>
                <a:gd name="connsiteY0" fmla="*/ 0 h 148727"/>
                <a:gd name="connsiteX1" fmla="*/ 22034 w 217583"/>
                <a:gd name="connsiteY1" fmla="*/ 8262 h 148727"/>
                <a:gd name="connsiteX2" fmla="*/ 24788 w 217583"/>
                <a:gd name="connsiteY2" fmla="*/ 19279 h 148727"/>
                <a:gd name="connsiteX3" fmla="*/ 38559 w 217583"/>
                <a:gd name="connsiteY3" fmla="*/ 44067 h 148727"/>
                <a:gd name="connsiteX4" fmla="*/ 44067 w 217583"/>
                <a:gd name="connsiteY4" fmla="*/ 60592 h 148727"/>
                <a:gd name="connsiteX5" fmla="*/ 49576 w 217583"/>
                <a:gd name="connsiteY5" fmla="*/ 74364 h 148727"/>
                <a:gd name="connsiteX6" fmla="*/ 52330 w 217583"/>
                <a:gd name="connsiteY6" fmla="*/ 90889 h 148727"/>
                <a:gd name="connsiteX7" fmla="*/ 57838 w 217583"/>
                <a:gd name="connsiteY7" fmla="*/ 107414 h 148727"/>
                <a:gd name="connsiteX8" fmla="*/ 63347 w 217583"/>
                <a:gd name="connsiteY8" fmla="*/ 129448 h 148727"/>
                <a:gd name="connsiteX9" fmla="*/ 77118 w 217583"/>
                <a:gd name="connsiteY9" fmla="*/ 148727 h 148727"/>
                <a:gd name="connsiteX10" fmla="*/ 134957 w 217583"/>
                <a:gd name="connsiteY10" fmla="*/ 145973 h 148727"/>
                <a:gd name="connsiteX11" fmla="*/ 151482 w 217583"/>
                <a:gd name="connsiteY11" fmla="*/ 129448 h 148727"/>
                <a:gd name="connsiteX12" fmla="*/ 168007 w 217583"/>
                <a:gd name="connsiteY12" fmla="*/ 107414 h 148727"/>
                <a:gd name="connsiteX13" fmla="*/ 176270 w 217583"/>
                <a:gd name="connsiteY13" fmla="*/ 85380 h 148727"/>
                <a:gd name="connsiteX14" fmla="*/ 179024 w 217583"/>
                <a:gd name="connsiteY14" fmla="*/ 74364 h 148727"/>
                <a:gd name="connsiteX15" fmla="*/ 184532 w 217583"/>
                <a:gd name="connsiteY15" fmla="*/ 63347 h 148727"/>
                <a:gd name="connsiteX16" fmla="*/ 190041 w 217583"/>
                <a:gd name="connsiteY16" fmla="*/ 38559 h 148727"/>
                <a:gd name="connsiteX17" fmla="*/ 195549 w 217583"/>
                <a:gd name="connsiteY17" fmla="*/ 30296 h 148727"/>
                <a:gd name="connsiteX18" fmla="*/ 203812 w 217583"/>
                <a:gd name="connsiteY18" fmla="*/ 13771 h 148727"/>
                <a:gd name="connsiteX19" fmla="*/ 212075 w 217583"/>
                <a:gd name="connsiteY19" fmla="*/ 11017 h 148727"/>
                <a:gd name="connsiteX20" fmla="*/ 217583 w 217583"/>
                <a:gd name="connsiteY20" fmla="*/ 8262 h 14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7583" h="148727">
                  <a:moveTo>
                    <a:pt x="0" y="0"/>
                  </a:moveTo>
                  <a:cubicBezTo>
                    <a:pt x="5994" y="1199"/>
                    <a:pt x="17670" y="1716"/>
                    <a:pt x="22034" y="8262"/>
                  </a:cubicBezTo>
                  <a:cubicBezTo>
                    <a:pt x="24134" y="11412"/>
                    <a:pt x="23251" y="15820"/>
                    <a:pt x="24788" y="19279"/>
                  </a:cubicBezTo>
                  <a:cubicBezTo>
                    <a:pt x="38766" y="50730"/>
                    <a:pt x="27894" y="17402"/>
                    <a:pt x="38559" y="44067"/>
                  </a:cubicBezTo>
                  <a:cubicBezTo>
                    <a:pt x="40715" y="49458"/>
                    <a:pt x="41911" y="55201"/>
                    <a:pt x="44067" y="60592"/>
                  </a:cubicBezTo>
                  <a:lnTo>
                    <a:pt x="49576" y="74364"/>
                  </a:lnTo>
                  <a:cubicBezTo>
                    <a:pt x="50494" y="79872"/>
                    <a:pt x="50976" y="85471"/>
                    <a:pt x="52330" y="90889"/>
                  </a:cubicBezTo>
                  <a:cubicBezTo>
                    <a:pt x="53738" y="96522"/>
                    <a:pt x="56699" y="101721"/>
                    <a:pt x="57838" y="107414"/>
                  </a:cubicBezTo>
                  <a:cubicBezTo>
                    <a:pt x="58885" y="112649"/>
                    <a:pt x="60525" y="123804"/>
                    <a:pt x="63347" y="129448"/>
                  </a:cubicBezTo>
                  <a:cubicBezTo>
                    <a:pt x="65363" y="133481"/>
                    <a:pt x="75241" y="146225"/>
                    <a:pt x="77118" y="148727"/>
                  </a:cubicBezTo>
                  <a:cubicBezTo>
                    <a:pt x="96398" y="147809"/>
                    <a:pt x="115898" y="149022"/>
                    <a:pt x="134957" y="145973"/>
                  </a:cubicBezTo>
                  <a:cubicBezTo>
                    <a:pt x="143785" y="144561"/>
                    <a:pt x="146915" y="135158"/>
                    <a:pt x="151482" y="129448"/>
                  </a:cubicBezTo>
                  <a:cubicBezTo>
                    <a:pt x="159799" y="119051"/>
                    <a:pt x="160322" y="126625"/>
                    <a:pt x="168007" y="107414"/>
                  </a:cubicBezTo>
                  <a:cubicBezTo>
                    <a:pt x="170921" y="100129"/>
                    <a:pt x="174110" y="92942"/>
                    <a:pt x="176270" y="85380"/>
                  </a:cubicBezTo>
                  <a:cubicBezTo>
                    <a:pt x="177310" y="81741"/>
                    <a:pt x="177695" y="77908"/>
                    <a:pt x="179024" y="74364"/>
                  </a:cubicBezTo>
                  <a:cubicBezTo>
                    <a:pt x="180466" y="70520"/>
                    <a:pt x="182696" y="67019"/>
                    <a:pt x="184532" y="63347"/>
                  </a:cubicBezTo>
                  <a:cubicBezTo>
                    <a:pt x="185590" y="57001"/>
                    <a:pt x="186651" y="45339"/>
                    <a:pt x="190041" y="38559"/>
                  </a:cubicBezTo>
                  <a:cubicBezTo>
                    <a:pt x="191521" y="35598"/>
                    <a:pt x="194069" y="33257"/>
                    <a:pt x="195549" y="30296"/>
                  </a:cubicBezTo>
                  <a:cubicBezTo>
                    <a:pt x="198874" y="23646"/>
                    <a:pt x="197237" y="19031"/>
                    <a:pt x="203812" y="13771"/>
                  </a:cubicBezTo>
                  <a:cubicBezTo>
                    <a:pt x="206079" y="11957"/>
                    <a:pt x="209379" y="12095"/>
                    <a:pt x="212075" y="11017"/>
                  </a:cubicBezTo>
                  <a:cubicBezTo>
                    <a:pt x="213981" y="10255"/>
                    <a:pt x="215747" y="9180"/>
                    <a:pt x="217583" y="8262"/>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solidFill>
                  <a:schemeClr val="tx1"/>
                </a:solidFill>
              </a:endParaRPr>
            </a:p>
          </p:txBody>
        </p:sp>
        <p:grpSp>
          <p:nvGrpSpPr>
            <p:cNvPr id="289" name="グループ化 210"/>
            <p:cNvGrpSpPr>
              <a:grpSpLocks/>
            </p:cNvGrpSpPr>
            <p:nvPr/>
          </p:nvGrpSpPr>
          <p:grpSpPr bwMode="auto">
            <a:xfrm>
              <a:off x="9584968" y="5878639"/>
              <a:ext cx="81746" cy="90291"/>
              <a:chOff x="12536806" y="4182643"/>
              <a:chExt cx="100432" cy="110930"/>
            </a:xfrm>
          </p:grpSpPr>
          <p:sp>
            <p:nvSpPr>
              <p:cNvPr id="298" name="楕円 297"/>
              <p:cNvSpPr/>
              <p:nvPr/>
            </p:nvSpPr>
            <p:spPr>
              <a:xfrm>
                <a:off x="12537237" y="4185668"/>
                <a:ext cx="94886" cy="96771"/>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299" name="グループ化 220"/>
              <p:cNvGrpSpPr>
                <a:grpSpLocks/>
              </p:cNvGrpSpPr>
              <p:nvPr/>
            </p:nvGrpSpPr>
            <p:grpSpPr bwMode="auto">
              <a:xfrm rot="731207">
                <a:off x="12564163" y="4183991"/>
                <a:ext cx="45719" cy="109582"/>
                <a:chOff x="12471802" y="3668802"/>
                <a:chExt cx="434170" cy="598160"/>
              </a:xfrm>
            </p:grpSpPr>
            <p:sp>
              <p:nvSpPr>
                <p:cNvPr id="300" name="二等辺三角形 299"/>
                <p:cNvSpPr/>
                <p:nvPr/>
              </p:nvSpPr>
              <p:spPr>
                <a:xfrm>
                  <a:off x="12057220" y="3750402"/>
                  <a:ext cx="19582" cy="179823"/>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01" name="二等辺三角形 300"/>
                <p:cNvSpPr/>
                <p:nvPr/>
              </p:nvSpPr>
              <p:spPr>
                <a:xfrm rot="10800000">
                  <a:off x="12445173" y="3870025"/>
                  <a:ext cx="117532" cy="292213"/>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sp>
          <p:nvSpPr>
            <p:cNvPr id="290" name="正方形/長方形 289"/>
            <p:cNvSpPr/>
            <p:nvPr/>
          </p:nvSpPr>
          <p:spPr bwMode="auto">
            <a:xfrm>
              <a:off x="10040316" y="5869369"/>
              <a:ext cx="94021" cy="147479"/>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291" name="グループ化 212"/>
            <p:cNvGrpSpPr>
              <a:grpSpLocks/>
            </p:cNvGrpSpPr>
            <p:nvPr/>
          </p:nvGrpSpPr>
          <p:grpSpPr bwMode="auto">
            <a:xfrm>
              <a:off x="9917510" y="5840191"/>
              <a:ext cx="52990" cy="59435"/>
              <a:chOff x="9951726" y="6073970"/>
              <a:chExt cx="370741" cy="415828"/>
            </a:xfrm>
          </p:grpSpPr>
          <p:sp>
            <p:nvSpPr>
              <p:cNvPr id="292" name="正方形/長方形 291"/>
              <p:cNvSpPr/>
              <p:nvPr/>
            </p:nvSpPr>
            <p:spPr>
              <a:xfrm>
                <a:off x="9953413" y="6078786"/>
                <a:ext cx="364148" cy="4103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293" name="グループ化 214"/>
              <p:cNvGrpSpPr>
                <a:grpSpLocks/>
              </p:cNvGrpSpPr>
              <p:nvPr/>
            </p:nvGrpSpPr>
            <p:grpSpPr bwMode="auto">
              <a:xfrm>
                <a:off x="9976611" y="6126471"/>
                <a:ext cx="315161" cy="303150"/>
                <a:chOff x="9976611" y="6126471"/>
                <a:chExt cx="315161" cy="303150"/>
              </a:xfrm>
            </p:grpSpPr>
            <p:sp>
              <p:nvSpPr>
                <p:cNvPr id="294" name="フローチャート: 抜出し 293"/>
                <p:cNvSpPr/>
                <p:nvPr/>
              </p:nvSpPr>
              <p:spPr>
                <a:xfrm>
                  <a:off x="10164851" y="6266391"/>
                  <a:ext cx="129215" cy="164153"/>
                </a:xfrm>
                <a:prstGeom prst="flowChartExtra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95" name="フローチャート: 結合子 294"/>
                <p:cNvSpPr/>
                <p:nvPr/>
              </p:nvSpPr>
              <p:spPr>
                <a:xfrm>
                  <a:off x="10164851" y="6125688"/>
                  <a:ext cx="105722" cy="128974"/>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96" name="フローチャート: 抜出し 295"/>
                <p:cNvSpPr/>
                <p:nvPr/>
              </p:nvSpPr>
              <p:spPr>
                <a:xfrm rot="10800000">
                  <a:off x="9976907" y="6266391"/>
                  <a:ext cx="187944" cy="164153"/>
                </a:xfrm>
                <a:prstGeom prst="flowChartExtra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297" name="フローチャート: 結合子 296"/>
                <p:cNvSpPr/>
                <p:nvPr/>
              </p:nvSpPr>
              <p:spPr>
                <a:xfrm rot="10800000">
                  <a:off x="10000400" y="6125688"/>
                  <a:ext cx="164451" cy="128974"/>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grpSp>
      <p:grpSp>
        <p:nvGrpSpPr>
          <p:cNvPr id="313" name="グループ化 312"/>
          <p:cNvGrpSpPr/>
          <p:nvPr/>
        </p:nvGrpSpPr>
        <p:grpSpPr bwMode="auto">
          <a:xfrm rot="19954016">
            <a:off x="16928917" y="3564558"/>
            <a:ext cx="63626" cy="153147"/>
            <a:chOff x="12471802" y="3668802"/>
            <a:chExt cx="434170" cy="598160"/>
          </a:xfrm>
          <a:solidFill>
            <a:srgbClr val="E9CF11"/>
          </a:solidFill>
        </p:grpSpPr>
        <p:sp>
          <p:nvSpPr>
            <p:cNvPr id="314" name="二等辺三角形 313"/>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15" name="二等辺三角形 314"/>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nvGrpSpPr>
          <p:cNvPr id="316" name="グループ化 237"/>
          <p:cNvGrpSpPr>
            <a:grpSpLocks/>
          </p:cNvGrpSpPr>
          <p:nvPr/>
        </p:nvGrpSpPr>
        <p:grpSpPr bwMode="auto">
          <a:xfrm>
            <a:off x="17176877" y="2553603"/>
            <a:ext cx="642938" cy="365125"/>
            <a:chOff x="9595961" y="6335332"/>
            <a:chExt cx="534955" cy="302255"/>
          </a:xfrm>
        </p:grpSpPr>
        <p:sp>
          <p:nvSpPr>
            <p:cNvPr id="317" name="直方体 316"/>
            <p:cNvSpPr/>
            <p:nvPr/>
          </p:nvSpPr>
          <p:spPr bwMode="auto">
            <a:xfrm>
              <a:off x="9595961" y="6335332"/>
              <a:ext cx="534955" cy="299627"/>
            </a:xfrm>
            <a:prstGeom prst="cube">
              <a:avLst>
                <a:gd name="adj" fmla="val 28815"/>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dirty="0"/>
            </a:p>
          </p:txBody>
        </p:sp>
        <p:sp>
          <p:nvSpPr>
            <p:cNvPr id="318" name="正方形/長方形 317"/>
            <p:cNvSpPr/>
            <p:nvPr/>
          </p:nvSpPr>
          <p:spPr bwMode="auto">
            <a:xfrm>
              <a:off x="9614453" y="6465433"/>
              <a:ext cx="418718" cy="19713"/>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19" name="平行四辺形 318"/>
            <p:cNvSpPr/>
            <p:nvPr/>
          </p:nvSpPr>
          <p:spPr bwMode="auto">
            <a:xfrm rot="19735899">
              <a:off x="10087327" y="6407610"/>
              <a:ext cx="22455" cy="26283"/>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20" name="平行四辺形 319"/>
            <p:cNvSpPr/>
            <p:nvPr/>
          </p:nvSpPr>
          <p:spPr bwMode="auto">
            <a:xfrm rot="19735899">
              <a:off x="10087327" y="6470689"/>
              <a:ext cx="22455" cy="24969"/>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21" name="平行四辺形 320"/>
            <p:cNvSpPr/>
            <p:nvPr/>
          </p:nvSpPr>
          <p:spPr bwMode="auto">
            <a:xfrm rot="19735899">
              <a:off x="10087327" y="6527198"/>
              <a:ext cx="22455" cy="24968"/>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22" name="正方形/長方形 321"/>
            <p:cNvSpPr/>
            <p:nvPr/>
          </p:nvSpPr>
          <p:spPr bwMode="auto">
            <a:xfrm>
              <a:off x="9614453" y="6520627"/>
              <a:ext cx="418718" cy="18398"/>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cxnSp>
          <p:nvCxnSpPr>
            <p:cNvPr id="323" name="直線コネクタ 322"/>
            <p:cNvCxnSpPr/>
            <p:nvPr/>
          </p:nvCxnSpPr>
          <p:spPr>
            <a:xfrm>
              <a:off x="9693706" y="6458862"/>
              <a:ext cx="7925" cy="17872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4" name="直線コネクタ 323"/>
            <p:cNvCxnSpPr/>
            <p:nvPr/>
          </p:nvCxnSpPr>
          <p:spPr>
            <a:xfrm>
              <a:off x="9803339" y="6458862"/>
              <a:ext cx="6604" cy="17872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5" name="直線コネクタ 324"/>
            <p:cNvCxnSpPr/>
            <p:nvPr/>
          </p:nvCxnSpPr>
          <p:spPr>
            <a:xfrm>
              <a:off x="9918255" y="6458862"/>
              <a:ext cx="6605" cy="178725"/>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26" name="グループ化 325"/>
          <p:cNvGrpSpPr/>
          <p:nvPr/>
        </p:nvGrpSpPr>
        <p:grpSpPr bwMode="auto">
          <a:xfrm rot="731207">
            <a:off x="17596904" y="2830990"/>
            <a:ext cx="52161" cy="125551"/>
            <a:chOff x="12471802" y="3668802"/>
            <a:chExt cx="434170" cy="598160"/>
          </a:xfrm>
          <a:solidFill>
            <a:srgbClr val="E9CF11"/>
          </a:solidFill>
        </p:grpSpPr>
        <p:sp>
          <p:nvSpPr>
            <p:cNvPr id="327" name="二等辺三角形 326"/>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28" name="二等辺三角形 327"/>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nvGrpSpPr>
          <p:cNvPr id="329" name="グループ化 328"/>
          <p:cNvGrpSpPr/>
          <p:nvPr/>
        </p:nvGrpSpPr>
        <p:grpSpPr bwMode="auto">
          <a:xfrm rot="19954016">
            <a:off x="17477804" y="2579657"/>
            <a:ext cx="58576" cy="140993"/>
            <a:chOff x="12471802" y="3668802"/>
            <a:chExt cx="434170" cy="598160"/>
          </a:xfrm>
          <a:solidFill>
            <a:srgbClr val="E9CF11"/>
          </a:solidFill>
        </p:grpSpPr>
        <p:sp>
          <p:nvSpPr>
            <p:cNvPr id="330" name="二等辺三角形 329"/>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31" name="二等辺三角形 330"/>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sp>
        <p:nvSpPr>
          <p:cNvPr id="332" name="円弧 331"/>
          <p:cNvSpPr/>
          <p:nvPr/>
        </p:nvSpPr>
        <p:spPr bwMode="auto">
          <a:xfrm rot="5068458">
            <a:off x="17530096" y="2883009"/>
            <a:ext cx="238125" cy="379413"/>
          </a:xfrm>
          <a:prstGeom prst="arc">
            <a:avLst>
              <a:gd name="adj1" fmla="val 11390515"/>
              <a:gd name="adj2" fmla="val 21506441"/>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ja-JP" altLang="en-US"/>
          </a:p>
        </p:txBody>
      </p:sp>
      <p:grpSp>
        <p:nvGrpSpPr>
          <p:cNvPr id="333" name="グループ化 254"/>
          <p:cNvGrpSpPr>
            <a:grpSpLocks/>
          </p:cNvGrpSpPr>
          <p:nvPr/>
        </p:nvGrpSpPr>
        <p:grpSpPr bwMode="auto">
          <a:xfrm>
            <a:off x="17364202" y="2993340"/>
            <a:ext cx="409575" cy="327025"/>
            <a:chOff x="9522443" y="4509120"/>
            <a:chExt cx="885383" cy="703879"/>
          </a:xfrm>
        </p:grpSpPr>
        <p:pic>
          <p:nvPicPr>
            <p:cNvPr id="334" name="図 255"/>
            <p:cNvPicPr>
              <a:picLocks noChangeAspect="1"/>
            </p:cNvPicPr>
            <p:nvPr/>
          </p:nvPicPr>
          <p:blipFill>
            <a:blip r:embed="rId31">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5" name="正方形/長方形 334"/>
            <p:cNvSpPr/>
            <p:nvPr/>
          </p:nvSpPr>
          <p:spPr>
            <a:xfrm>
              <a:off x="9618531" y="4922565"/>
              <a:ext cx="219630" cy="146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nvGrpSpPr>
          <p:cNvPr id="336" name="グループ化 257"/>
          <p:cNvGrpSpPr>
            <a:grpSpLocks/>
          </p:cNvGrpSpPr>
          <p:nvPr/>
        </p:nvGrpSpPr>
        <p:grpSpPr bwMode="auto">
          <a:xfrm>
            <a:off x="17618202" y="3098115"/>
            <a:ext cx="79375" cy="88900"/>
            <a:chOff x="12536806" y="4182643"/>
            <a:chExt cx="100432" cy="110930"/>
          </a:xfrm>
        </p:grpSpPr>
        <p:sp>
          <p:nvSpPr>
            <p:cNvPr id="337" name="楕円 336"/>
            <p:cNvSpPr/>
            <p:nvPr/>
          </p:nvSpPr>
          <p:spPr>
            <a:xfrm>
              <a:off x="12536806" y="4182643"/>
              <a:ext cx="100432" cy="10102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338" name="グループ化 259"/>
            <p:cNvGrpSpPr>
              <a:grpSpLocks/>
            </p:cNvGrpSpPr>
            <p:nvPr/>
          </p:nvGrpSpPr>
          <p:grpSpPr bwMode="auto">
            <a:xfrm rot="731207">
              <a:off x="12564163" y="4183991"/>
              <a:ext cx="45719" cy="109582"/>
              <a:chOff x="12471802" y="3668802"/>
              <a:chExt cx="434170" cy="598160"/>
            </a:xfrm>
          </p:grpSpPr>
          <p:sp>
            <p:nvSpPr>
              <p:cNvPr id="339" name="二等辺三角形 338"/>
              <p:cNvSpPr/>
              <p:nvPr/>
            </p:nvSpPr>
            <p:spPr>
              <a:xfrm>
                <a:off x="12311829" y="3676488"/>
                <a:ext cx="76301" cy="237881"/>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40" name="二等辺三角形 339"/>
              <p:cNvSpPr/>
              <p:nvPr/>
            </p:nvSpPr>
            <p:spPr>
              <a:xfrm rot="10800000">
                <a:off x="12472342" y="3874951"/>
                <a:ext cx="133521" cy="270323"/>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sp>
        <p:nvSpPr>
          <p:cNvPr id="341" name="テキスト ボックス 262"/>
          <p:cNvSpPr txBox="1">
            <a:spLocks noChangeArrowheads="1"/>
          </p:cNvSpPr>
          <p:nvPr/>
        </p:nvSpPr>
        <p:spPr bwMode="auto">
          <a:xfrm>
            <a:off x="17410240" y="2412315"/>
            <a:ext cx="52387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00">
                <a:latin typeface="HGｺﾞｼｯｸE" panose="020B0909000000000000" pitchFamily="49" charset="-128"/>
                <a:ea typeface="HGｺﾞｼｯｸE" panose="020B0909000000000000" pitchFamily="49" charset="-128"/>
              </a:rPr>
              <a:t>市役所</a:t>
            </a:r>
          </a:p>
        </p:txBody>
      </p:sp>
      <p:sp>
        <p:nvSpPr>
          <p:cNvPr id="342" name="テキスト ボックス 263"/>
          <p:cNvSpPr txBox="1">
            <a:spLocks noChangeArrowheads="1"/>
          </p:cNvSpPr>
          <p:nvPr/>
        </p:nvSpPr>
        <p:spPr bwMode="auto">
          <a:xfrm>
            <a:off x="17515015" y="3360053"/>
            <a:ext cx="4127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00">
                <a:latin typeface="HGｺﾞｼｯｸE" panose="020B0909000000000000" pitchFamily="49" charset="-128"/>
                <a:ea typeface="HGｺﾞｼｯｸE" panose="020B0909000000000000" pitchFamily="49" charset="-128"/>
              </a:rPr>
              <a:t>公園</a:t>
            </a:r>
          </a:p>
        </p:txBody>
      </p:sp>
      <p:pic>
        <p:nvPicPr>
          <p:cNvPr id="343" name="図 264"/>
          <p:cNvPicPr>
            <a:picLocks noChangeAspect="1"/>
          </p:cNvPicPr>
          <p:nvPr/>
        </p:nvPicPr>
        <p:blipFill>
          <a:blip r:embed="rId32">
            <a:extLst>
              <a:ext uri="{28A0092B-C50C-407E-A947-70E740481C1C}">
                <a14:useLocalDpi xmlns:a14="http://schemas.microsoft.com/office/drawing/2010/main" val="0"/>
              </a:ext>
            </a:extLst>
          </a:blip>
          <a:srcRect/>
          <a:stretch>
            <a:fillRect/>
          </a:stretch>
        </p:blipFill>
        <p:spPr bwMode="auto">
          <a:xfrm>
            <a:off x="17470565" y="2834590"/>
            <a:ext cx="2635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4" name="L 字 343"/>
          <p:cNvSpPr/>
          <p:nvPr/>
        </p:nvSpPr>
        <p:spPr bwMode="auto">
          <a:xfrm rot="10800000">
            <a:off x="16310928" y="2787468"/>
            <a:ext cx="658605" cy="361993"/>
          </a:xfrm>
          <a:prstGeom prst="corner">
            <a:avLst>
              <a:gd name="adj1" fmla="val 35737"/>
              <a:gd name="adj2" fmla="val 32981"/>
            </a:avLst>
          </a:prstGeom>
          <a:gradFill flip="none" rotWithShape="1">
            <a:gsLst>
              <a:gs pos="80000">
                <a:schemeClr val="accent6">
                  <a:lumMod val="0"/>
                  <a:lumOff val="100000"/>
                </a:schemeClr>
              </a:gs>
              <a:gs pos="22000">
                <a:srgbClr val="FFC000"/>
              </a:gs>
            </a:gsLst>
            <a:path path="circle">
              <a:fillToRect r="100000" b="100000"/>
            </a:path>
            <a:tileRect l="-100000" t="-100000"/>
          </a:gra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345" name="グループ化 336"/>
          <p:cNvGrpSpPr>
            <a:grpSpLocks/>
          </p:cNvGrpSpPr>
          <p:nvPr/>
        </p:nvGrpSpPr>
        <p:grpSpPr bwMode="auto">
          <a:xfrm>
            <a:off x="15844965" y="2483753"/>
            <a:ext cx="615950" cy="625475"/>
            <a:chOff x="9092262" y="4587994"/>
            <a:chExt cx="579326" cy="586114"/>
          </a:xfrm>
        </p:grpSpPr>
        <p:sp>
          <p:nvSpPr>
            <p:cNvPr id="346" name="直方体 345"/>
            <p:cNvSpPr/>
            <p:nvPr/>
          </p:nvSpPr>
          <p:spPr bwMode="auto">
            <a:xfrm>
              <a:off x="9092262" y="4778407"/>
              <a:ext cx="579326" cy="324297"/>
            </a:xfrm>
            <a:prstGeom prst="cube">
              <a:avLst>
                <a:gd name="adj" fmla="val 28815"/>
              </a:avLst>
            </a:prstGeom>
            <a:solidFill>
              <a:srgbClr val="CEC49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347" name="グループ化 338"/>
            <p:cNvGrpSpPr>
              <a:grpSpLocks/>
            </p:cNvGrpSpPr>
            <p:nvPr/>
          </p:nvGrpSpPr>
          <p:grpSpPr bwMode="auto">
            <a:xfrm>
              <a:off x="9113127" y="4587994"/>
              <a:ext cx="535140" cy="586114"/>
              <a:chOff x="9113127" y="4587994"/>
              <a:chExt cx="535140" cy="586114"/>
            </a:xfrm>
          </p:grpSpPr>
          <p:sp>
            <p:nvSpPr>
              <p:cNvPr id="348" name="円柱 347"/>
              <p:cNvSpPr/>
              <p:nvPr/>
            </p:nvSpPr>
            <p:spPr bwMode="auto">
              <a:xfrm>
                <a:off x="9491302" y="4587994"/>
                <a:ext cx="70265" cy="224447"/>
              </a:xfrm>
              <a:prstGeom prst="can">
                <a:avLst/>
              </a:prstGeom>
              <a:solidFill>
                <a:schemeClr val="accent6">
                  <a:lumMod val="60000"/>
                  <a:lumOff val="40000"/>
                </a:schemeClr>
              </a:solidFill>
              <a:ln>
                <a:noFill/>
              </a:ln>
              <a:effectLst>
                <a:innerShdw blurRad="63500" dist="50800" dir="27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49" name="フローチャート : 記憶データ 178"/>
              <p:cNvSpPr/>
              <p:nvPr/>
            </p:nvSpPr>
            <p:spPr bwMode="auto">
              <a:xfrm rot="16200000">
                <a:off x="9500718" y="4618369"/>
                <a:ext cx="49090" cy="65697"/>
              </a:xfrm>
              <a:prstGeom prst="flowChartOnlineStorag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50" name="フローチャート : 記憶データ 181"/>
              <p:cNvSpPr/>
              <p:nvPr/>
            </p:nvSpPr>
            <p:spPr bwMode="auto">
              <a:xfrm rot="16200000">
                <a:off x="9500718" y="4691261"/>
                <a:ext cx="49091" cy="65697"/>
              </a:xfrm>
              <a:prstGeom prst="flowChartOnlineStorag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51" name="円/楕円 185"/>
              <p:cNvSpPr/>
              <p:nvPr/>
            </p:nvSpPr>
            <p:spPr bwMode="auto">
              <a:xfrm>
                <a:off x="9492415" y="4587994"/>
                <a:ext cx="62711" cy="10413"/>
              </a:xfrm>
              <a:prstGeom prst="ellipse">
                <a:avLst/>
              </a:prstGeom>
              <a:solidFill>
                <a:srgbClr val="4C44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52" name="正方形/長方形 351"/>
              <p:cNvSpPr/>
              <p:nvPr/>
            </p:nvSpPr>
            <p:spPr bwMode="auto">
              <a:xfrm>
                <a:off x="9113166" y="4919728"/>
                <a:ext cx="449425" cy="20826"/>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53" name="直方体 352"/>
              <p:cNvSpPr/>
              <p:nvPr/>
            </p:nvSpPr>
            <p:spPr bwMode="auto">
              <a:xfrm>
                <a:off x="9287859" y="4958406"/>
                <a:ext cx="291156" cy="215702"/>
              </a:xfrm>
              <a:prstGeom prst="cube">
                <a:avLst>
                  <a:gd name="adj" fmla="val 33831"/>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54" name="正方形/長方形 353"/>
              <p:cNvSpPr/>
              <p:nvPr/>
            </p:nvSpPr>
            <p:spPr bwMode="auto">
              <a:xfrm>
                <a:off x="9268449" y="4919728"/>
                <a:ext cx="10451" cy="2677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55" name="正方形/長方形 354"/>
              <p:cNvSpPr/>
              <p:nvPr/>
            </p:nvSpPr>
            <p:spPr bwMode="auto">
              <a:xfrm>
                <a:off x="9407307" y="4919728"/>
                <a:ext cx="11945" cy="26777"/>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56" name="正方形/長方形 355"/>
              <p:cNvSpPr/>
              <p:nvPr/>
            </p:nvSpPr>
            <p:spPr bwMode="auto">
              <a:xfrm>
                <a:off x="9302790" y="5077414"/>
                <a:ext cx="16425"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57" name="正方形/長方形 356"/>
              <p:cNvSpPr/>
              <p:nvPr/>
            </p:nvSpPr>
            <p:spPr bwMode="auto">
              <a:xfrm>
                <a:off x="9337132" y="5077414"/>
                <a:ext cx="14931"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58" name="正方形/長方形 357"/>
              <p:cNvSpPr/>
              <p:nvPr/>
            </p:nvSpPr>
            <p:spPr bwMode="auto">
              <a:xfrm>
                <a:off x="9371473" y="5077414"/>
                <a:ext cx="16425"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59" name="正方形/長方形 358"/>
              <p:cNvSpPr/>
              <p:nvPr/>
            </p:nvSpPr>
            <p:spPr bwMode="auto">
              <a:xfrm>
                <a:off x="9405815" y="5077414"/>
                <a:ext cx="16424"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60" name="正方形/長方形 359"/>
              <p:cNvSpPr/>
              <p:nvPr/>
            </p:nvSpPr>
            <p:spPr bwMode="auto">
              <a:xfrm>
                <a:off x="9434183" y="5077414"/>
                <a:ext cx="16425"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61" name="正方形/長方形 360"/>
              <p:cNvSpPr/>
              <p:nvPr/>
            </p:nvSpPr>
            <p:spPr bwMode="auto">
              <a:xfrm>
                <a:off x="9468525" y="5077414"/>
                <a:ext cx="16424" cy="2975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62" name="正方形/長方形 361"/>
              <p:cNvSpPr/>
              <p:nvPr/>
            </p:nvSpPr>
            <p:spPr bwMode="auto">
              <a:xfrm>
                <a:off x="9113166" y="4997083"/>
                <a:ext cx="155283" cy="22314"/>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63" name="平行四辺形 362"/>
              <p:cNvSpPr/>
              <p:nvPr/>
            </p:nvSpPr>
            <p:spPr bwMode="auto">
              <a:xfrm rot="19735899">
                <a:off x="9623808" y="4858737"/>
                <a:ext cx="23890" cy="26777"/>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64" name="平行四辺形 363"/>
              <p:cNvSpPr/>
              <p:nvPr/>
            </p:nvSpPr>
            <p:spPr bwMode="auto">
              <a:xfrm rot="19735899">
                <a:off x="9623808" y="4925679"/>
                <a:ext cx="23890" cy="29752"/>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65" name="平行四辺形 364"/>
              <p:cNvSpPr/>
              <p:nvPr/>
            </p:nvSpPr>
            <p:spPr bwMode="auto">
              <a:xfrm rot="19735899">
                <a:off x="9623808" y="4986671"/>
                <a:ext cx="23890" cy="28264"/>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grpSp>
        <p:nvGrpSpPr>
          <p:cNvPr id="366" name="グループ化 163"/>
          <p:cNvGrpSpPr>
            <a:grpSpLocks/>
          </p:cNvGrpSpPr>
          <p:nvPr/>
        </p:nvGrpSpPr>
        <p:grpSpPr bwMode="auto">
          <a:xfrm>
            <a:off x="15511590" y="2798078"/>
            <a:ext cx="492125" cy="392112"/>
            <a:chOff x="9522443" y="4509120"/>
            <a:chExt cx="885383" cy="703879"/>
          </a:xfrm>
        </p:grpSpPr>
        <p:pic>
          <p:nvPicPr>
            <p:cNvPr id="367" name="図 165"/>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 name="正方形/長方形 367"/>
            <p:cNvSpPr/>
            <p:nvPr/>
          </p:nvSpPr>
          <p:spPr>
            <a:xfrm>
              <a:off x="9616693" y="4922328"/>
              <a:ext cx="222774" cy="151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sp>
        <p:nvSpPr>
          <p:cNvPr id="369" name="テキスト ボックス 359"/>
          <p:cNvSpPr txBox="1">
            <a:spLocks noChangeArrowheads="1"/>
          </p:cNvSpPr>
          <p:nvPr/>
        </p:nvSpPr>
        <p:spPr bwMode="auto">
          <a:xfrm>
            <a:off x="16468852" y="2750453"/>
            <a:ext cx="398463"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600">
                <a:solidFill>
                  <a:srgbClr val="FF0000"/>
                </a:solidFill>
                <a:latin typeface="HGｺﾞｼｯｸE" panose="020B0909000000000000" pitchFamily="49" charset="-128"/>
                <a:ea typeface="HGｺﾞｼｯｸE" panose="020B0909000000000000" pitchFamily="49" charset="-128"/>
              </a:rPr>
              <a:t>送 電</a:t>
            </a:r>
          </a:p>
        </p:txBody>
      </p:sp>
      <p:sp>
        <p:nvSpPr>
          <p:cNvPr id="370" name="テキスト ボックス 171"/>
          <p:cNvSpPr txBox="1">
            <a:spLocks noChangeArrowheads="1"/>
          </p:cNvSpPr>
          <p:nvPr/>
        </p:nvSpPr>
        <p:spPr bwMode="auto">
          <a:xfrm>
            <a:off x="16275177" y="2412315"/>
            <a:ext cx="6318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800">
                <a:latin typeface="HGｺﾞｼｯｸE" panose="020B0909000000000000" pitchFamily="49" charset="-128"/>
                <a:ea typeface="HGｺﾞｼｯｸE" panose="020B0909000000000000" pitchFamily="49" charset="-128"/>
              </a:rPr>
              <a:t>ごみ</a:t>
            </a:r>
            <a:endParaRPr lang="en-US" altLang="ja-JP" sz="800">
              <a:latin typeface="HGｺﾞｼｯｸE" panose="020B0909000000000000" pitchFamily="49" charset="-128"/>
              <a:ea typeface="HGｺﾞｼｯｸE" panose="020B0909000000000000" pitchFamily="49" charset="-128"/>
            </a:endParaRPr>
          </a:p>
          <a:p>
            <a:pPr>
              <a:spcBef>
                <a:spcPct val="0"/>
              </a:spcBef>
              <a:buFontTx/>
              <a:buNone/>
            </a:pPr>
            <a:r>
              <a:rPr lang="ja-JP" altLang="en-US" sz="800">
                <a:latin typeface="HGｺﾞｼｯｸE" panose="020B0909000000000000" pitchFamily="49" charset="-128"/>
                <a:ea typeface="HGｺﾞｼｯｸE" panose="020B0909000000000000" pitchFamily="49" charset="-128"/>
              </a:rPr>
              <a:t>焼却施設</a:t>
            </a:r>
          </a:p>
        </p:txBody>
      </p:sp>
      <p:grpSp>
        <p:nvGrpSpPr>
          <p:cNvPr id="371" name="グループ化 388"/>
          <p:cNvGrpSpPr>
            <a:grpSpLocks/>
          </p:cNvGrpSpPr>
          <p:nvPr/>
        </p:nvGrpSpPr>
        <p:grpSpPr bwMode="auto">
          <a:xfrm flipV="1">
            <a:off x="15570327" y="3031440"/>
            <a:ext cx="106363" cy="47625"/>
            <a:chOff x="9284458" y="6066181"/>
            <a:chExt cx="1029302" cy="201952"/>
          </a:xfrm>
        </p:grpSpPr>
        <p:sp>
          <p:nvSpPr>
            <p:cNvPr id="372" name="正方形/長方形 371"/>
            <p:cNvSpPr/>
            <p:nvPr/>
          </p:nvSpPr>
          <p:spPr>
            <a:xfrm>
              <a:off x="9299825" y="6066181"/>
              <a:ext cx="1013935" cy="2019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73" name="正方形/長方形 372"/>
            <p:cNvSpPr/>
            <p:nvPr/>
          </p:nvSpPr>
          <p:spPr>
            <a:xfrm>
              <a:off x="9284458" y="6066181"/>
              <a:ext cx="261170"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74" name="正方形/長方形 373"/>
            <p:cNvSpPr/>
            <p:nvPr/>
          </p:nvSpPr>
          <p:spPr>
            <a:xfrm>
              <a:off x="9284458" y="6066181"/>
              <a:ext cx="184352"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75" name="正方形/長方形 374"/>
            <p:cNvSpPr/>
            <p:nvPr/>
          </p:nvSpPr>
          <p:spPr>
            <a:xfrm rot="10800000">
              <a:off x="10052590" y="6066181"/>
              <a:ext cx="245802"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76" name="正方形/長方形 375"/>
            <p:cNvSpPr/>
            <p:nvPr/>
          </p:nvSpPr>
          <p:spPr>
            <a:xfrm rot="10800000">
              <a:off x="10129408" y="6066181"/>
              <a:ext cx="184352"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nvGrpSpPr>
          <p:cNvPr id="377" name="グループ化 400"/>
          <p:cNvGrpSpPr>
            <a:grpSpLocks/>
          </p:cNvGrpSpPr>
          <p:nvPr/>
        </p:nvGrpSpPr>
        <p:grpSpPr bwMode="auto">
          <a:xfrm flipV="1">
            <a:off x="16873665" y="3853765"/>
            <a:ext cx="106362" cy="47625"/>
            <a:chOff x="9284458" y="6066181"/>
            <a:chExt cx="1029302" cy="201952"/>
          </a:xfrm>
        </p:grpSpPr>
        <p:sp>
          <p:nvSpPr>
            <p:cNvPr id="378" name="正方形/長方形 377"/>
            <p:cNvSpPr/>
            <p:nvPr/>
          </p:nvSpPr>
          <p:spPr>
            <a:xfrm>
              <a:off x="9299816" y="6066181"/>
              <a:ext cx="1013944" cy="2019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79" name="正方形/長方形 378"/>
            <p:cNvSpPr/>
            <p:nvPr/>
          </p:nvSpPr>
          <p:spPr>
            <a:xfrm>
              <a:off x="9284458" y="6066181"/>
              <a:ext cx="261163"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80" name="正方形/長方形 379"/>
            <p:cNvSpPr/>
            <p:nvPr/>
          </p:nvSpPr>
          <p:spPr>
            <a:xfrm>
              <a:off x="9284458" y="6066181"/>
              <a:ext cx="184353"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81" name="正方形/長方形 380"/>
            <p:cNvSpPr/>
            <p:nvPr/>
          </p:nvSpPr>
          <p:spPr>
            <a:xfrm rot="10800000">
              <a:off x="10052597" y="6066181"/>
              <a:ext cx="245805"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82" name="正方形/長方形 381"/>
            <p:cNvSpPr/>
            <p:nvPr/>
          </p:nvSpPr>
          <p:spPr>
            <a:xfrm rot="10800000">
              <a:off x="10129407" y="6066181"/>
              <a:ext cx="184353"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nvGrpSpPr>
          <p:cNvPr id="383" name="グループ化 406"/>
          <p:cNvGrpSpPr>
            <a:grpSpLocks/>
          </p:cNvGrpSpPr>
          <p:nvPr/>
        </p:nvGrpSpPr>
        <p:grpSpPr bwMode="auto">
          <a:xfrm flipV="1">
            <a:off x="17402302" y="3201303"/>
            <a:ext cx="106363" cy="47625"/>
            <a:chOff x="9284458" y="6066181"/>
            <a:chExt cx="1029302" cy="201952"/>
          </a:xfrm>
        </p:grpSpPr>
        <p:sp>
          <p:nvSpPr>
            <p:cNvPr id="384" name="正方形/長方形 383"/>
            <p:cNvSpPr/>
            <p:nvPr/>
          </p:nvSpPr>
          <p:spPr>
            <a:xfrm>
              <a:off x="9299825" y="6066181"/>
              <a:ext cx="1013935" cy="2019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85" name="正方形/長方形 384"/>
            <p:cNvSpPr/>
            <p:nvPr/>
          </p:nvSpPr>
          <p:spPr>
            <a:xfrm>
              <a:off x="9284458" y="6066181"/>
              <a:ext cx="261170"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86" name="正方形/長方形 385"/>
            <p:cNvSpPr/>
            <p:nvPr/>
          </p:nvSpPr>
          <p:spPr>
            <a:xfrm>
              <a:off x="9284458" y="6066181"/>
              <a:ext cx="184352"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87" name="正方形/長方形 386"/>
            <p:cNvSpPr/>
            <p:nvPr/>
          </p:nvSpPr>
          <p:spPr>
            <a:xfrm rot="10800000">
              <a:off x="10052590" y="6066181"/>
              <a:ext cx="245802" cy="201952"/>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88" name="正方形/長方形 387"/>
            <p:cNvSpPr/>
            <p:nvPr/>
          </p:nvSpPr>
          <p:spPr>
            <a:xfrm rot="10800000">
              <a:off x="10129408" y="6066181"/>
              <a:ext cx="184352" cy="20195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sp>
        <p:nvSpPr>
          <p:cNvPr id="389" name="直方体 388"/>
          <p:cNvSpPr/>
          <p:nvPr/>
        </p:nvSpPr>
        <p:spPr bwMode="auto">
          <a:xfrm>
            <a:off x="16587915" y="3083828"/>
            <a:ext cx="566737" cy="317500"/>
          </a:xfrm>
          <a:prstGeom prst="cube">
            <a:avLst>
              <a:gd name="adj" fmla="val 28815"/>
            </a:avLst>
          </a:prstGeom>
          <a:solidFill>
            <a:srgbClr val="CEC49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dirty="0"/>
          </a:p>
        </p:txBody>
      </p:sp>
      <p:sp>
        <p:nvSpPr>
          <p:cNvPr id="390" name="正方形/長方形 389"/>
          <p:cNvSpPr/>
          <p:nvPr/>
        </p:nvSpPr>
        <p:spPr bwMode="auto">
          <a:xfrm>
            <a:off x="16608552" y="3204478"/>
            <a:ext cx="442913" cy="47625"/>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91" name="正方形/長方形 390"/>
          <p:cNvSpPr/>
          <p:nvPr/>
        </p:nvSpPr>
        <p:spPr bwMode="auto">
          <a:xfrm>
            <a:off x="16726027" y="3204478"/>
            <a:ext cx="47625" cy="4762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92" name="正方形/長方形 391"/>
          <p:cNvSpPr/>
          <p:nvPr/>
        </p:nvSpPr>
        <p:spPr bwMode="auto">
          <a:xfrm>
            <a:off x="16862552" y="3441015"/>
            <a:ext cx="47625" cy="4762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93" name="正方形/長方形 392"/>
          <p:cNvSpPr/>
          <p:nvPr/>
        </p:nvSpPr>
        <p:spPr bwMode="auto">
          <a:xfrm>
            <a:off x="16610140" y="3293378"/>
            <a:ext cx="153987" cy="49212"/>
          </a:xfrm>
          <a:prstGeom prst="rect">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94" name="平行四辺形 393"/>
          <p:cNvSpPr/>
          <p:nvPr/>
        </p:nvSpPr>
        <p:spPr bwMode="auto">
          <a:xfrm rot="19735899">
            <a:off x="17092740" y="3155265"/>
            <a:ext cx="47625" cy="47625"/>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95" name="平行四辺形 394"/>
          <p:cNvSpPr/>
          <p:nvPr/>
        </p:nvSpPr>
        <p:spPr bwMode="auto">
          <a:xfrm rot="19735899">
            <a:off x="17092740" y="3220353"/>
            <a:ext cx="47625" cy="47625"/>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396" name="平行四辺形 395"/>
          <p:cNvSpPr/>
          <p:nvPr/>
        </p:nvSpPr>
        <p:spPr bwMode="auto">
          <a:xfrm rot="19735899">
            <a:off x="17092740" y="3279090"/>
            <a:ext cx="47625" cy="47625"/>
          </a:xfrm>
          <a:prstGeom prst="parallelogram">
            <a:avLst>
              <a:gd name="adj" fmla="val 74540"/>
            </a:avLst>
          </a:prstGeom>
          <a:gradFill flip="none" rotWithShape="1">
            <a:gsLst>
              <a:gs pos="0">
                <a:schemeClr val="tx2">
                  <a:lumMod val="90000"/>
                  <a:lumOff val="10000"/>
                  <a:shade val="30000"/>
                  <a:satMod val="115000"/>
                </a:schemeClr>
              </a:gs>
              <a:gs pos="50000">
                <a:schemeClr val="tx2">
                  <a:lumMod val="90000"/>
                  <a:lumOff val="10000"/>
                  <a:shade val="67500"/>
                  <a:satMod val="115000"/>
                </a:schemeClr>
              </a:gs>
              <a:gs pos="100000">
                <a:schemeClr val="tx2">
                  <a:lumMod val="90000"/>
                  <a:lumOff val="1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397" name="グループ化 479"/>
          <p:cNvGrpSpPr>
            <a:grpSpLocks/>
          </p:cNvGrpSpPr>
          <p:nvPr/>
        </p:nvGrpSpPr>
        <p:grpSpPr bwMode="auto">
          <a:xfrm>
            <a:off x="15987840" y="3152090"/>
            <a:ext cx="454025" cy="360363"/>
            <a:chOff x="5573892" y="6001116"/>
            <a:chExt cx="419126" cy="332478"/>
          </a:xfrm>
        </p:grpSpPr>
        <p:grpSp>
          <p:nvGrpSpPr>
            <p:cNvPr id="398" name="グループ化 276"/>
            <p:cNvGrpSpPr>
              <a:grpSpLocks/>
            </p:cNvGrpSpPr>
            <p:nvPr/>
          </p:nvGrpSpPr>
          <p:grpSpPr bwMode="auto">
            <a:xfrm>
              <a:off x="5573892" y="6001116"/>
              <a:ext cx="419126" cy="332478"/>
              <a:chOff x="9522443" y="4509120"/>
              <a:chExt cx="885383" cy="703879"/>
            </a:xfrm>
          </p:grpSpPr>
          <p:pic>
            <p:nvPicPr>
              <p:cNvPr id="405" name="図 289"/>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9522443" y="4509120"/>
                <a:ext cx="885383" cy="70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6" name="正方形/長方形 405"/>
              <p:cNvSpPr/>
              <p:nvPr/>
            </p:nvSpPr>
            <p:spPr>
              <a:xfrm>
                <a:off x="9618410" y="4921525"/>
                <a:ext cx="222894" cy="148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nvGrpSpPr>
            <p:cNvPr id="399" name="グループ化 382"/>
            <p:cNvGrpSpPr>
              <a:grpSpLocks/>
            </p:cNvGrpSpPr>
            <p:nvPr/>
          </p:nvGrpSpPr>
          <p:grpSpPr bwMode="auto">
            <a:xfrm flipV="1">
              <a:off x="5615167" y="6214531"/>
              <a:ext cx="100013" cy="19050"/>
              <a:chOff x="9284458" y="6066181"/>
              <a:chExt cx="1029302" cy="201952"/>
            </a:xfrm>
          </p:grpSpPr>
          <p:sp>
            <p:nvSpPr>
              <p:cNvPr id="400" name="正方形/長方形 399"/>
              <p:cNvSpPr/>
              <p:nvPr/>
            </p:nvSpPr>
            <p:spPr>
              <a:xfrm>
                <a:off x="9297046" y="6061770"/>
                <a:ext cx="1010510" cy="20185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401" name="正方形/長方形 400"/>
              <p:cNvSpPr/>
              <p:nvPr/>
            </p:nvSpPr>
            <p:spPr>
              <a:xfrm>
                <a:off x="9281969" y="6061770"/>
                <a:ext cx="256392" cy="201854"/>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402" name="正方形/長方形 401"/>
              <p:cNvSpPr/>
              <p:nvPr/>
            </p:nvSpPr>
            <p:spPr>
              <a:xfrm>
                <a:off x="9281969" y="6061770"/>
                <a:ext cx="180986" cy="20185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403" name="正方形/長方形 402"/>
              <p:cNvSpPr/>
              <p:nvPr/>
            </p:nvSpPr>
            <p:spPr>
              <a:xfrm rot="10800000">
                <a:off x="10051155" y="6061770"/>
                <a:ext cx="241315" cy="201854"/>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404" name="正方形/長方形 403"/>
              <p:cNvSpPr/>
              <p:nvPr/>
            </p:nvSpPr>
            <p:spPr>
              <a:xfrm rot="10800000">
                <a:off x="10126570" y="6061770"/>
                <a:ext cx="180986" cy="20185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sp>
        <p:nvSpPr>
          <p:cNvPr id="407" name="テキスト ボックス 363"/>
          <p:cNvSpPr txBox="1">
            <a:spLocks noChangeArrowheads="1"/>
          </p:cNvSpPr>
          <p:nvPr/>
        </p:nvSpPr>
        <p:spPr bwMode="auto">
          <a:xfrm>
            <a:off x="16578390" y="3021915"/>
            <a:ext cx="5762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700">
                <a:latin typeface="HGｺﾞｼｯｸE" panose="020B0909000000000000" pitchFamily="49" charset="-128"/>
                <a:ea typeface="HGｺﾞｼｯｸE" panose="020B0909000000000000" pitchFamily="49" charset="-128"/>
              </a:rPr>
              <a:t>充電設備</a:t>
            </a:r>
          </a:p>
        </p:txBody>
      </p:sp>
      <p:sp>
        <p:nvSpPr>
          <p:cNvPr id="408" name="左矢印 407"/>
          <p:cNvSpPr/>
          <p:nvPr/>
        </p:nvSpPr>
        <p:spPr bwMode="auto">
          <a:xfrm>
            <a:off x="16276290" y="3276546"/>
            <a:ext cx="567647" cy="209753"/>
          </a:xfrm>
          <a:prstGeom prst="leftArrow">
            <a:avLst>
              <a:gd name="adj1" fmla="val 60704"/>
              <a:gd name="adj2" fmla="val 39297"/>
            </a:avLst>
          </a:prstGeom>
          <a:gradFill>
            <a:gsLst>
              <a:gs pos="86000">
                <a:schemeClr val="accent6">
                  <a:lumMod val="0"/>
                  <a:lumOff val="100000"/>
                </a:schemeClr>
              </a:gs>
              <a:gs pos="38000">
                <a:srgbClr val="FFC000"/>
              </a:gs>
            </a:gsLst>
            <a:path path="circle">
              <a:fillToRect r="100000" b="100000"/>
            </a:path>
          </a:grad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409" name="直方体 408"/>
          <p:cNvSpPr/>
          <p:nvPr/>
        </p:nvSpPr>
        <p:spPr bwMode="auto">
          <a:xfrm rot="5400000">
            <a:off x="16351351" y="3316420"/>
            <a:ext cx="77343" cy="118382"/>
          </a:xfrm>
          <a:prstGeom prst="cube">
            <a:avLst>
              <a:gd name="adj" fmla="val 26536"/>
            </a:avLst>
          </a:prstGeom>
          <a:solidFill>
            <a:schemeClr val="tx1">
              <a:lumMod val="85000"/>
              <a:lumOff val="15000"/>
            </a:schemeClr>
          </a:solidFill>
          <a:ln>
            <a:noFill/>
          </a:ln>
          <a:scene3d>
            <a:camera prst="perspective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410" name="テキスト ボックス 363"/>
          <p:cNvSpPr txBox="1">
            <a:spLocks noChangeArrowheads="1"/>
          </p:cNvSpPr>
          <p:nvPr/>
        </p:nvSpPr>
        <p:spPr bwMode="auto">
          <a:xfrm>
            <a:off x="16365665" y="3287028"/>
            <a:ext cx="534987"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a:spcBef>
                <a:spcPct val="0"/>
              </a:spcBef>
              <a:buFontTx/>
              <a:buNone/>
            </a:pPr>
            <a:r>
              <a:rPr lang="ja-JP" altLang="en-US" sz="500">
                <a:solidFill>
                  <a:srgbClr val="FF0000"/>
                </a:solidFill>
                <a:latin typeface="HGｺﾞｼｯｸE" panose="020B0909000000000000" pitchFamily="49" charset="-128"/>
                <a:ea typeface="HGｺﾞｼｯｸE" panose="020B0909000000000000" pitchFamily="49" charset="-128"/>
              </a:rPr>
              <a:t>充電済電池</a:t>
            </a:r>
          </a:p>
        </p:txBody>
      </p:sp>
      <p:grpSp>
        <p:nvGrpSpPr>
          <p:cNvPr id="411" name="グループ化 410"/>
          <p:cNvGrpSpPr/>
          <p:nvPr/>
        </p:nvGrpSpPr>
        <p:grpSpPr bwMode="auto">
          <a:xfrm rot="19954016">
            <a:off x="16250666" y="3159526"/>
            <a:ext cx="63626" cy="153147"/>
            <a:chOff x="12471802" y="3668802"/>
            <a:chExt cx="434170" cy="598160"/>
          </a:xfrm>
          <a:solidFill>
            <a:srgbClr val="D6BE10"/>
          </a:solidFill>
        </p:grpSpPr>
        <p:sp>
          <p:nvSpPr>
            <p:cNvPr id="412" name="二等辺三角形 411"/>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413" name="二等辺三角形 412"/>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nvGrpSpPr>
          <p:cNvPr id="414" name="グループ化 413"/>
          <p:cNvGrpSpPr/>
          <p:nvPr/>
        </p:nvGrpSpPr>
        <p:grpSpPr bwMode="auto">
          <a:xfrm rot="854517">
            <a:off x="16343631" y="3156338"/>
            <a:ext cx="67867" cy="140925"/>
            <a:chOff x="12471802" y="3668802"/>
            <a:chExt cx="434170" cy="598160"/>
          </a:xfrm>
          <a:solidFill>
            <a:srgbClr val="BEA90E"/>
          </a:solidFill>
        </p:grpSpPr>
        <p:sp>
          <p:nvSpPr>
            <p:cNvPr id="415" name="二等辺三角形 414"/>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416" name="二等辺三角形 415"/>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sp>
        <p:nvSpPr>
          <p:cNvPr id="417" name="直方体 416"/>
          <p:cNvSpPr/>
          <p:nvPr/>
        </p:nvSpPr>
        <p:spPr bwMode="auto">
          <a:xfrm>
            <a:off x="16810165" y="3258453"/>
            <a:ext cx="206375" cy="233362"/>
          </a:xfrm>
          <a:prstGeom prst="cube">
            <a:avLst>
              <a:gd name="adj" fmla="val 21566"/>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418" name="グループ化 257"/>
          <p:cNvGrpSpPr>
            <a:grpSpLocks/>
          </p:cNvGrpSpPr>
          <p:nvPr/>
        </p:nvGrpSpPr>
        <p:grpSpPr bwMode="auto">
          <a:xfrm>
            <a:off x="16827627" y="3342590"/>
            <a:ext cx="120650" cy="134938"/>
            <a:chOff x="12536824" y="4182647"/>
            <a:chExt cx="100432" cy="110926"/>
          </a:xfrm>
        </p:grpSpPr>
        <p:sp>
          <p:nvSpPr>
            <p:cNvPr id="419" name="楕円 418"/>
            <p:cNvSpPr/>
            <p:nvPr/>
          </p:nvSpPr>
          <p:spPr>
            <a:xfrm>
              <a:off x="12536824" y="4182647"/>
              <a:ext cx="100432" cy="99181"/>
            </a:xfrm>
            <a:prstGeom prst="ellipse">
              <a:avLst/>
            </a:prstGeom>
            <a:solidFill>
              <a:srgbClr val="FCF600"/>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420" name="グループ化 259"/>
            <p:cNvGrpSpPr>
              <a:grpSpLocks/>
            </p:cNvGrpSpPr>
            <p:nvPr/>
          </p:nvGrpSpPr>
          <p:grpSpPr bwMode="auto">
            <a:xfrm rot="731207">
              <a:off x="12564163" y="4183991"/>
              <a:ext cx="45719" cy="109582"/>
              <a:chOff x="12471802" y="3668802"/>
              <a:chExt cx="434170" cy="598160"/>
            </a:xfrm>
          </p:grpSpPr>
          <p:sp>
            <p:nvSpPr>
              <p:cNvPr id="421" name="二等辺三角形 420"/>
              <p:cNvSpPr/>
              <p:nvPr/>
            </p:nvSpPr>
            <p:spPr>
              <a:xfrm>
                <a:off x="12455831" y="3662091"/>
                <a:ext cx="163145" cy="320558"/>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422" name="二等辺三角形 421"/>
              <p:cNvSpPr/>
              <p:nvPr/>
            </p:nvSpPr>
            <p:spPr>
              <a:xfrm rot="10800000">
                <a:off x="12674283" y="3923907"/>
                <a:ext cx="213334" cy="334805"/>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grpSp>
        <p:nvGrpSpPr>
          <p:cNvPr id="424" name="グループ化 257"/>
          <p:cNvGrpSpPr>
            <a:grpSpLocks/>
          </p:cNvGrpSpPr>
          <p:nvPr/>
        </p:nvGrpSpPr>
        <p:grpSpPr bwMode="auto">
          <a:xfrm>
            <a:off x="15275052" y="2763153"/>
            <a:ext cx="119063" cy="134937"/>
            <a:chOff x="12536824" y="4182647"/>
            <a:chExt cx="100432" cy="110926"/>
          </a:xfrm>
        </p:grpSpPr>
        <p:sp>
          <p:nvSpPr>
            <p:cNvPr id="425" name="楕円 424"/>
            <p:cNvSpPr/>
            <p:nvPr/>
          </p:nvSpPr>
          <p:spPr>
            <a:xfrm>
              <a:off x="12536824" y="4182647"/>
              <a:ext cx="100432" cy="99181"/>
            </a:xfrm>
            <a:prstGeom prst="ellipse">
              <a:avLst/>
            </a:prstGeom>
            <a:solidFill>
              <a:srgbClr val="FCF600"/>
            </a:solidFill>
            <a:ln w="3175">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426" name="グループ化 259"/>
            <p:cNvGrpSpPr>
              <a:grpSpLocks/>
            </p:cNvGrpSpPr>
            <p:nvPr/>
          </p:nvGrpSpPr>
          <p:grpSpPr bwMode="auto">
            <a:xfrm rot="731207">
              <a:off x="12564163" y="4183991"/>
              <a:ext cx="45719" cy="109582"/>
              <a:chOff x="12471802" y="3668802"/>
              <a:chExt cx="434170" cy="598160"/>
            </a:xfrm>
          </p:grpSpPr>
          <p:sp>
            <p:nvSpPr>
              <p:cNvPr id="427" name="二等辺三角形 426"/>
              <p:cNvSpPr/>
              <p:nvPr/>
            </p:nvSpPr>
            <p:spPr>
              <a:xfrm>
                <a:off x="11745902" y="3553547"/>
                <a:ext cx="483234" cy="327682"/>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428" name="二等辺三角形 427"/>
              <p:cNvSpPr/>
              <p:nvPr/>
            </p:nvSpPr>
            <p:spPr>
              <a:xfrm rot="10800000">
                <a:off x="12667724" y="3923909"/>
                <a:ext cx="228901" cy="334803"/>
              </a:xfrm>
              <a:prstGeom prst="triangl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grpSp>
      <p:grpSp>
        <p:nvGrpSpPr>
          <p:cNvPr id="429" name="グループ化 17"/>
          <p:cNvGrpSpPr>
            <a:grpSpLocks/>
          </p:cNvGrpSpPr>
          <p:nvPr/>
        </p:nvGrpSpPr>
        <p:grpSpPr bwMode="auto">
          <a:xfrm>
            <a:off x="13460540" y="-594410"/>
            <a:ext cx="2179637" cy="1476375"/>
            <a:chOff x="6377202" y="4291521"/>
            <a:chExt cx="1653798" cy="1528701"/>
          </a:xfrm>
        </p:grpSpPr>
        <p:pic>
          <p:nvPicPr>
            <p:cNvPr id="430" name="Picture 2" descr="JFEstoka03"/>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6377202" y="4429416"/>
              <a:ext cx="1653798" cy="139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1" name="オブジェクト 3"/>
            <p:cNvPicPr>
              <a:picLocks noChangeArrowheads="1"/>
            </p:cNvPicPr>
            <p:nvPr/>
          </p:nvPicPr>
          <p:blipFill>
            <a:blip r:embed="rId34">
              <a:extLst>
                <a:ext uri="{28A0092B-C50C-407E-A947-70E740481C1C}">
                  <a14:useLocalDpi xmlns:a14="http://schemas.microsoft.com/office/drawing/2010/main" val="0"/>
                </a:ext>
              </a:extLst>
            </a:blip>
            <a:srcRect t="-1170" r="-1318" b="-722"/>
            <a:stretch>
              <a:fillRect/>
            </a:stretch>
          </p:blipFill>
          <p:spPr bwMode="auto">
            <a:xfrm>
              <a:off x="6784659" y="4291521"/>
              <a:ext cx="834622" cy="42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32" name="小波 431"/>
          <p:cNvSpPr/>
          <p:nvPr/>
        </p:nvSpPr>
        <p:spPr>
          <a:xfrm>
            <a:off x="13460540" y="1213753"/>
            <a:ext cx="4284662" cy="334962"/>
          </a:xfrm>
          <a:prstGeom prst="doubleWave">
            <a:avLst>
              <a:gd name="adj1" fmla="val 12500"/>
              <a:gd name="adj2" fmla="val 2997"/>
            </a:avLst>
          </a:prstGeom>
          <a:gradFill>
            <a:gsLst>
              <a:gs pos="24000">
                <a:schemeClr val="accent2">
                  <a:lumMod val="20000"/>
                  <a:lumOff val="80000"/>
                </a:schemeClr>
              </a:gs>
              <a:gs pos="50000">
                <a:schemeClr val="accent2">
                  <a:lumMod val="40000"/>
                  <a:lumOff val="60000"/>
                </a:schemeClr>
              </a:gs>
              <a:gs pos="75000">
                <a:schemeClr val="accent2">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fontAlgn="auto" hangingPunct="1">
              <a:spcBef>
                <a:spcPts val="0"/>
              </a:spcBef>
              <a:spcAft>
                <a:spcPts val="0"/>
              </a:spcAft>
              <a:defRPr/>
            </a:pPr>
            <a:r>
              <a:rPr lang="ja-JP" altLang="en-US" sz="1200" b="1" dirty="0">
                <a:solidFill>
                  <a:schemeClr val="tx1"/>
                </a:solidFill>
              </a:rPr>
              <a:t>廃棄物処理施設を中心とした自立・分散型の</a:t>
            </a:r>
            <a:endParaRPr lang="en-US" altLang="ja-JP" sz="1200" b="1" dirty="0">
              <a:solidFill>
                <a:schemeClr val="tx1"/>
              </a:solidFill>
            </a:endParaRPr>
          </a:p>
          <a:p>
            <a:pPr algn="ctr" eaLnBrk="1" fontAlgn="auto" hangingPunct="1">
              <a:spcBef>
                <a:spcPts val="0"/>
              </a:spcBef>
              <a:spcAft>
                <a:spcPts val="0"/>
              </a:spcAft>
              <a:defRPr/>
            </a:pPr>
            <a:r>
              <a:rPr lang="ja-JP" altLang="en-US" sz="1200" b="1" dirty="0">
                <a:solidFill>
                  <a:schemeClr val="tx1"/>
                </a:solidFill>
              </a:rPr>
              <a:t>「地域エネルギーセンター」の構築</a:t>
            </a:r>
            <a:endParaRPr lang="ja-JP" altLang="en-US" sz="1100" b="1" dirty="0">
              <a:solidFill>
                <a:schemeClr val="tx1"/>
              </a:solidFill>
            </a:endParaRPr>
          </a:p>
        </p:txBody>
      </p:sp>
      <p:sp>
        <p:nvSpPr>
          <p:cNvPr id="433" name="角丸四角形吹き出し 432"/>
          <p:cNvSpPr/>
          <p:nvPr/>
        </p:nvSpPr>
        <p:spPr>
          <a:xfrm rot="5400000">
            <a:off x="14409328" y="-2118546"/>
            <a:ext cx="541961" cy="2294387"/>
          </a:xfrm>
          <a:prstGeom prst="wedgeRoundRectCallout">
            <a:avLst>
              <a:gd name="adj1" fmla="val 78577"/>
              <a:gd name="adj2" fmla="val 17510"/>
              <a:gd name="adj3" fmla="val 16667"/>
            </a:avLst>
          </a:prstGeom>
        </p:spPr>
        <p:style>
          <a:lnRef idx="2">
            <a:schemeClr val="accent6"/>
          </a:lnRef>
          <a:fillRef idx="1">
            <a:schemeClr val="lt1"/>
          </a:fillRef>
          <a:effectRef idx="0">
            <a:schemeClr val="accent6"/>
          </a:effectRef>
          <a:fontRef idx="minor">
            <a:schemeClr val="dk1"/>
          </a:fontRef>
        </p:style>
        <p:txBody>
          <a:bodyPr vert="vert270" anchor="ctr"/>
          <a:lstStyle/>
          <a:p>
            <a:pPr eaLnBrk="1" hangingPunct="1">
              <a:defRPr/>
            </a:pPr>
            <a:r>
              <a:rPr lang="ja-JP" altLang="en-US" sz="900" dirty="0"/>
              <a:t>高効率ごみ発電設備等の導入により、</a:t>
            </a:r>
            <a:r>
              <a:rPr lang="en-US" altLang="ja-JP" sz="900" dirty="0"/>
              <a:t/>
            </a:r>
            <a:br>
              <a:rPr lang="en-US" altLang="ja-JP" sz="900" dirty="0"/>
            </a:br>
            <a:r>
              <a:rPr lang="ja-JP" altLang="en-US" sz="900" u="sng" dirty="0"/>
              <a:t>周辺施設への電気・熱供給を可能とする</a:t>
            </a:r>
            <a:r>
              <a:rPr lang="ja-JP" altLang="en-US" sz="900" dirty="0"/>
              <a:t>。</a:t>
            </a:r>
            <a:endParaRPr lang="en-US" altLang="ja-JP" sz="900" dirty="0"/>
          </a:p>
        </p:txBody>
      </p:sp>
      <p:sp>
        <p:nvSpPr>
          <p:cNvPr id="434" name="下矢印 433"/>
          <p:cNvSpPr/>
          <p:nvPr/>
        </p:nvSpPr>
        <p:spPr>
          <a:xfrm>
            <a:off x="14689265" y="823228"/>
            <a:ext cx="1436687" cy="2381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a:p>
        </p:txBody>
      </p:sp>
      <p:sp>
        <p:nvSpPr>
          <p:cNvPr id="436" name="右矢印 435"/>
          <p:cNvSpPr/>
          <p:nvPr/>
        </p:nvSpPr>
        <p:spPr>
          <a:xfrm rot="19632523">
            <a:off x="15975140" y="-645210"/>
            <a:ext cx="355600" cy="163513"/>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hangingPunct="1">
              <a:defRPr/>
            </a:pPr>
            <a:endParaRPr lang="ja-JP" altLang="en-US"/>
          </a:p>
        </p:txBody>
      </p:sp>
      <p:sp>
        <p:nvSpPr>
          <p:cNvPr id="437" name="角丸四角形 436"/>
          <p:cNvSpPr/>
          <p:nvPr/>
        </p:nvSpPr>
        <p:spPr>
          <a:xfrm>
            <a:off x="16989552" y="-1602472"/>
            <a:ext cx="819150" cy="871537"/>
          </a:xfrm>
          <a:prstGeom prst="roundRect">
            <a:avLst>
              <a:gd name="adj" fmla="val 236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bIns="0" anchor="b"/>
          <a:lstStyle/>
          <a:p>
            <a:pPr algn="ctr" fontAlgn="auto">
              <a:spcBef>
                <a:spcPts val="0"/>
              </a:spcBef>
              <a:spcAft>
                <a:spcPts val="0"/>
              </a:spcAft>
              <a:defRPr/>
            </a:pPr>
            <a:r>
              <a:rPr lang="ja-JP" altLang="en-US" sz="700" dirty="0">
                <a:solidFill>
                  <a:schemeClr val="tx1"/>
                </a:solidFill>
              </a:rPr>
              <a:t>公共施設への</a:t>
            </a:r>
            <a:endParaRPr lang="en-US" altLang="ja-JP" sz="700" dirty="0">
              <a:solidFill>
                <a:schemeClr val="tx1"/>
              </a:solidFill>
            </a:endParaRPr>
          </a:p>
          <a:p>
            <a:pPr algn="ctr" fontAlgn="auto">
              <a:spcBef>
                <a:spcPts val="0"/>
              </a:spcBef>
              <a:spcAft>
                <a:spcPts val="0"/>
              </a:spcAft>
              <a:defRPr/>
            </a:pPr>
            <a:r>
              <a:rPr lang="ja-JP" altLang="en-US" sz="700" dirty="0">
                <a:solidFill>
                  <a:schemeClr val="tx1"/>
                </a:solidFill>
              </a:rPr>
              <a:t>エネルギー供給</a:t>
            </a:r>
            <a:endParaRPr lang="en-US" altLang="ja-JP" sz="1200" dirty="0">
              <a:solidFill>
                <a:schemeClr val="tx1"/>
              </a:solidFill>
            </a:endParaRPr>
          </a:p>
        </p:txBody>
      </p:sp>
      <p:pic>
        <p:nvPicPr>
          <p:cNvPr id="438" name="Picture 25" descr="D:\Temporary Internet Files\Temporary Internet Files\Content.IE5\IV9487F8\MC900089326[1].wmf"/>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7086390" y="-1553260"/>
            <a:ext cx="674687"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9" name="右矢印 438"/>
          <p:cNvSpPr/>
          <p:nvPr/>
        </p:nvSpPr>
        <p:spPr>
          <a:xfrm>
            <a:off x="16059277" y="-30847"/>
            <a:ext cx="280988" cy="231775"/>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hangingPunct="1">
              <a:defRPr/>
            </a:pPr>
            <a:endParaRPr lang="ja-JP" altLang="en-US"/>
          </a:p>
        </p:txBody>
      </p:sp>
      <p:grpSp>
        <p:nvGrpSpPr>
          <p:cNvPr id="440" name="グループ化 485"/>
          <p:cNvGrpSpPr>
            <a:grpSpLocks/>
          </p:cNvGrpSpPr>
          <p:nvPr/>
        </p:nvGrpSpPr>
        <p:grpSpPr bwMode="auto">
          <a:xfrm>
            <a:off x="16010065" y="-1608822"/>
            <a:ext cx="858837" cy="877887"/>
            <a:chOff x="3429000" y="857250"/>
            <a:chExt cx="1472342" cy="1571625"/>
          </a:xfrm>
        </p:grpSpPr>
        <p:sp>
          <p:nvSpPr>
            <p:cNvPr id="441" name="角丸四角形 440"/>
            <p:cNvSpPr/>
            <p:nvPr/>
          </p:nvSpPr>
          <p:spPr>
            <a:xfrm>
              <a:off x="3429000" y="857250"/>
              <a:ext cx="1472342" cy="1571625"/>
            </a:xfrm>
            <a:prstGeom prst="roundRect">
              <a:avLst>
                <a:gd name="adj" fmla="val 688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bIns="0" anchor="b"/>
            <a:lstStyle/>
            <a:p>
              <a:pPr algn="ctr" eaLnBrk="1" fontAlgn="auto" hangingPunct="1">
                <a:spcBef>
                  <a:spcPts val="0"/>
                </a:spcBef>
                <a:spcAft>
                  <a:spcPts val="0"/>
                </a:spcAft>
                <a:defRPr/>
              </a:pPr>
              <a:r>
                <a:rPr lang="ja-JP" altLang="en-US" sz="700" dirty="0">
                  <a:solidFill>
                    <a:schemeClr val="tx1"/>
                  </a:solidFill>
                </a:rPr>
                <a:t>熱供給</a:t>
              </a:r>
              <a:r>
                <a:rPr lang="en-US" altLang="ja-JP" sz="700" dirty="0">
                  <a:solidFill>
                    <a:schemeClr val="tx1"/>
                  </a:solidFill>
                </a:rPr>
                <a:t>(</a:t>
              </a:r>
              <a:r>
                <a:rPr lang="ja-JP" altLang="en-US" sz="700" dirty="0">
                  <a:solidFill>
                    <a:schemeClr val="tx1"/>
                  </a:solidFill>
                </a:rPr>
                <a:t>プール、浴場、冷暖房等</a:t>
              </a:r>
              <a:r>
                <a:rPr lang="en-US" altLang="ja-JP" sz="700" dirty="0">
                  <a:solidFill>
                    <a:schemeClr val="tx1"/>
                  </a:solidFill>
                </a:rPr>
                <a:t>)</a:t>
              </a:r>
              <a:endParaRPr lang="en-US" altLang="ja-JP" sz="1400" dirty="0">
                <a:solidFill>
                  <a:schemeClr val="tx1"/>
                </a:solidFill>
              </a:endParaRPr>
            </a:p>
          </p:txBody>
        </p:sp>
        <p:grpSp>
          <p:nvGrpSpPr>
            <p:cNvPr id="442" name="グループ化 76"/>
            <p:cNvGrpSpPr>
              <a:grpSpLocks/>
            </p:cNvGrpSpPr>
            <p:nvPr/>
          </p:nvGrpSpPr>
          <p:grpSpPr bwMode="auto">
            <a:xfrm>
              <a:off x="3570288" y="928688"/>
              <a:ext cx="1073150" cy="1071562"/>
              <a:chOff x="1428728" y="2071678"/>
              <a:chExt cx="1645241" cy="2116148"/>
            </a:xfrm>
          </p:grpSpPr>
          <p:sp>
            <p:nvSpPr>
              <p:cNvPr id="443" name="正方形/長方形 442"/>
              <p:cNvSpPr/>
              <p:nvPr/>
            </p:nvSpPr>
            <p:spPr>
              <a:xfrm>
                <a:off x="1641871" y="2070911"/>
                <a:ext cx="1356015" cy="9990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a:p>
            </p:txBody>
          </p:sp>
          <p:grpSp>
            <p:nvGrpSpPr>
              <p:cNvPr id="444" name="グループ化 89"/>
              <p:cNvGrpSpPr>
                <a:grpSpLocks/>
              </p:cNvGrpSpPr>
              <p:nvPr/>
            </p:nvGrpSpPr>
            <p:grpSpPr bwMode="auto">
              <a:xfrm>
                <a:off x="1428728" y="3071810"/>
                <a:ext cx="1571636" cy="1071570"/>
                <a:chOff x="1643042" y="4143380"/>
                <a:chExt cx="1428760" cy="928694"/>
              </a:xfrm>
            </p:grpSpPr>
            <p:sp>
              <p:nvSpPr>
                <p:cNvPr id="535" name="台形 534"/>
                <p:cNvSpPr/>
                <p:nvPr/>
              </p:nvSpPr>
              <p:spPr>
                <a:xfrm>
                  <a:off x="1643365" y="4141750"/>
                  <a:ext cx="1316185" cy="929049"/>
                </a:xfrm>
                <a:prstGeom prst="trapezoid">
                  <a:avLst>
                    <a:gd name="adj" fmla="val 75103"/>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a:p>
              </p:txBody>
            </p:sp>
            <p:sp>
              <p:nvSpPr>
                <p:cNvPr id="536" name="直角三角形 535"/>
                <p:cNvSpPr/>
                <p:nvPr/>
              </p:nvSpPr>
              <p:spPr>
                <a:xfrm flipH="1" flipV="1">
                  <a:off x="2356457" y="4141750"/>
                  <a:ext cx="603093" cy="929049"/>
                </a:xfrm>
                <a:prstGeom prst="r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a:p>
              </p:txBody>
            </p:sp>
          </p:grpSp>
          <p:sp>
            <p:nvSpPr>
              <p:cNvPr id="445" name="Freeform 8"/>
              <p:cNvSpPr>
                <a:spLocks/>
              </p:cNvSpPr>
              <p:nvPr/>
            </p:nvSpPr>
            <p:spPr bwMode="auto">
              <a:xfrm>
                <a:off x="2298701" y="3475038"/>
                <a:ext cx="755650" cy="644525"/>
              </a:xfrm>
              <a:custGeom>
                <a:avLst/>
                <a:gdLst>
                  <a:gd name="T0" fmla="*/ 2147483646 w 952"/>
                  <a:gd name="T1" fmla="*/ 2147483646 h 812"/>
                  <a:gd name="T2" fmla="*/ 2147483646 w 952"/>
                  <a:gd name="T3" fmla="*/ 2147483646 h 812"/>
                  <a:gd name="T4" fmla="*/ 2147483646 w 952"/>
                  <a:gd name="T5" fmla="*/ 2147483646 h 812"/>
                  <a:gd name="T6" fmla="*/ 2147483646 w 952"/>
                  <a:gd name="T7" fmla="*/ 2147483646 h 812"/>
                  <a:gd name="T8" fmla="*/ 2147483646 w 952"/>
                  <a:gd name="T9" fmla="*/ 2147483646 h 812"/>
                  <a:gd name="T10" fmla="*/ 2147483646 w 952"/>
                  <a:gd name="T11" fmla="*/ 2147483646 h 812"/>
                  <a:gd name="T12" fmla="*/ 2147483646 w 952"/>
                  <a:gd name="T13" fmla="*/ 2147483646 h 812"/>
                  <a:gd name="T14" fmla="*/ 2147483646 w 952"/>
                  <a:gd name="T15" fmla="*/ 2147483646 h 812"/>
                  <a:gd name="T16" fmla="*/ 2147483646 w 952"/>
                  <a:gd name="T17" fmla="*/ 2147483646 h 812"/>
                  <a:gd name="T18" fmla="*/ 2147483646 w 952"/>
                  <a:gd name="T19" fmla="*/ 2147483646 h 812"/>
                  <a:gd name="T20" fmla="*/ 2147483646 w 952"/>
                  <a:gd name="T21" fmla="*/ 2147483646 h 812"/>
                  <a:gd name="T22" fmla="*/ 2147483646 w 952"/>
                  <a:gd name="T23" fmla="*/ 2147483646 h 812"/>
                  <a:gd name="T24" fmla="*/ 2147483646 w 952"/>
                  <a:gd name="T25" fmla="*/ 2147483646 h 812"/>
                  <a:gd name="T26" fmla="*/ 2147483646 w 952"/>
                  <a:gd name="T27" fmla="*/ 2147483646 h 812"/>
                  <a:gd name="T28" fmla="*/ 2147483646 w 952"/>
                  <a:gd name="T29" fmla="*/ 2147483646 h 812"/>
                  <a:gd name="T30" fmla="*/ 2147483646 w 952"/>
                  <a:gd name="T31" fmla="*/ 2147483646 h 812"/>
                  <a:gd name="T32" fmla="*/ 2147483646 w 952"/>
                  <a:gd name="T33" fmla="*/ 2147483646 h 812"/>
                  <a:gd name="T34" fmla="*/ 2147483646 w 952"/>
                  <a:gd name="T35" fmla="*/ 2147483646 h 812"/>
                  <a:gd name="T36" fmla="*/ 2147483646 w 952"/>
                  <a:gd name="T37" fmla="*/ 2147483646 h 812"/>
                  <a:gd name="T38" fmla="*/ 2147483646 w 952"/>
                  <a:gd name="T39" fmla="*/ 2147483646 h 812"/>
                  <a:gd name="T40" fmla="*/ 2147483646 w 952"/>
                  <a:gd name="T41" fmla="*/ 2147483646 h 812"/>
                  <a:gd name="T42" fmla="*/ 2147483646 w 952"/>
                  <a:gd name="T43" fmla="*/ 2147483646 h 812"/>
                  <a:gd name="T44" fmla="*/ 2147483646 w 952"/>
                  <a:gd name="T45" fmla="*/ 2147483646 h 812"/>
                  <a:gd name="T46" fmla="*/ 2147483646 w 952"/>
                  <a:gd name="T47" fmla="*/ 2147483646 h 812"/>
                  <a:gd name="T48" fmla="*/ 2147483646 w 952"/>
                  <a:gd name="T49" fmla="*/ 2147483646 h 812"/>
                  <a:gd name="T50" fmla="*/ 2147483646 w 952"/>
                  <a:gd name="T51" fmla="*/ 2147483646 h 812"/>
                  <a:gd name="T52" fmla="*/ 2147483646 w 952"/>
                  <a:gd name="T53" fmla="*/ 2147483646 h 812"/>
                  <a:gd name="T54" fmla="*/ 2147483646 w 952"/>
                  <a:gd name="T55" fmla="*/ 2147483646 h 812"/>
                  <a:gd name="T56" fmla="*/ 2147483646 w 952"/>
                  <a:gd name="T57" fmla="*/ 2147483646 h 812"/>
                  <a:gd name="T58" fmla="*/ 2147483646 w 952"/>
                  <a:gd name="T59" fmla="*/ 2147483646 h 812"/>
                  <a:gd name="T60" fmla="*/ 2147483646 w 952"/>
                  <a:gd name="T61" fmla="*/ 2147483646 h 812"/>
                  <a:gd name="T62" fmla="*/ 2147483646 w 952"/>
                  <a:gd name="T63" fmla="*/ 2147483646 h 812"/>
                  <a:gd name="T64" fmla="*/ 2147483646 w 952"/>
                  <a:gd name="T65" fmla="*/ 2147483646 h 812"/>
                  <a:gd name="T66" fmla="*/ 2147483646 w 952"/>
                  <a:gd name="T67" fmla="*/ 2147483646 h 812"/>
                  <a:gd name="T68" fmla="*/ 2147483646 w 952"/>
                  <a:gd name="T69" fmla="*/ 2147483646 h 812"/>
                  <a:gd name="T70" fmla="*/ 2147483646 w 952"/>
                  <a:gd name="T71" fmla="*/ 2147483646 h 812"/>
                  <a:gd name="T72" fmla="*/ 2147483646 w 952"/>
                  <a:gd name="T73" fmla="*/ 2147483646 h 812"/>
                  <a:gd name="T74" fmla="*/ 2147483646 w 952"/>
                  <a:gd name="T75" fmla="*/ 2147483646 h 812"/>
                  <a:gd name="T76" fmla="*/ 2147483646 w 952"/>
                  <a:gd name="T77" fmla="*/ 2147483646 h 812"/>
                  <a:gd name="T78" fmla="*/ 2147483646 w 952"/>
                  <a:gd name="T79" fmla="*/ 2147483646 h 812"/>
                  <a:gd name="T80" fmla="*/ 2147483646 w 952"/>
                  <a:gd name="T81" fmla="*/ 2147483646 h 812"/>
                  <a:gd name="T82" fmla="*/ 2147483646 w 952"/>
                  <a:gd name="T83" fmla="*/ 2147483646 h 812"/>
                  <a:gd name="T84" fmla="*/ 2147483646 w 952"/>
                  <a:gd name="T85" fmla="*/ 2147483646 h 812"/>
                  <a:gd name="T86" fmla="*/ 2147483646 w 952"/>
                  <a:gd name="T87" fmla="*/ 2147483646 h 812"/>
                  <a:gd name="T88" fmla="*/ 2147483646 w 952"/>
                  <a:gd name="T89" fmla="*/ 2147483646 h 812"/>
                  <a:gd name="T90" fmla="*/ 2147483646 w 952"/>
                  <a:gd name="T91" fmla="*/ 2147483646 h 812"/>
                  <a:gd name="T92" fmla="*/ 2147483646 w 952"/>
                  <a:gd name="T93" fmla="*/ 2147483646 h 812"/>
                  <a:gd name="T94" fmla="*/ 2147483646 w 952"/>
                  <a:gd name="T95" fmla="*/ 2147483646 h 812"/>
                  <a:gd name="T96" fmla="*/ 2147483646 w 952"/>
                  <a:gd name="T97" fmla="*/ 2147483646 h 812"/>
                  <a:gd name="T98" fmla="*/ 2147483646 w 952"/>
                  <a:gd name="T99" fmla="*/ 2147483646 h 812"/>
                  <a:gd name="T100" fmla="*/ 2147483646 w 952"/>
                  <a:gd name="T101" fmla="*/ 2147483646 h 812"/>
                  <a:gd name="T102" fmla="*/ 2147483646 w 952"/>
                  <a:gd name="T103" fmla="*/ 2147483646 h 812"/>
                  <a:gd name="T104" fmla="*/ 2147483646 w 952"/>
                  <a:gd name="T105" fmla="*/ 2147483646 h 812"/>
                  <a:gd name="T106" fmla="*/ 2147483646 w 952"/>
                  <a:gd name="T107" fmla="*/ 2147483646 h 812"/>
                  <a:gd name="T108" fmla="*/ 2147483646 w 952"/>
                  <a:gd name="T109" fmla="*/ 2147483646 h 812"/>
                  <a:gd name="T110" fmla="*/ 2147483646 w 952"/>
                  <a:gd name="T111" fmla="*/ 2147483646 h 812"/>
                  <a:gd name="T112" fmla="*/ 2147483646 w 952"/>
                  <a:gd name="T113" fmla="*/ 2147483646 h 812"/>
                  <a:gd name="T114" fmla="*/ 2147483646 w 952"/>
                  <a:gd name="T115" fmla="*/ 2147483646 h 812"/>
                  <a:gd name="T116" fmla="*/ 2147483646 w 952"/>
                  <a:gd name="T117" fmla="*/ 2147483646 h 812"/>
                  <a:gd name="T118" fmla="*/ 2147483646 w 952"/>
                  <a:gd name="T119" fmla="*/ 2147483646 h 812"/>
                  <a:gd name="T120" fmla="*/ 2147483646 w 952"/>
                  <a:gd name="T121" fmla="*/ 2147483646 h 81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2"/>
                  <a:gd name="T184" fmla="*/ 0 h 812"/>
                  <a:gd name="T185" fmla="*/ 952 w 952"/>
                  <a:gd name="T186" fmla="*/ 812 h 81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2" h="812">
                    <a:moveTo>
                      <a:pt x="382" y="509"/>
                    </a:moveTo>
                    <a:lnTo>
                      <a:pt x="382" y="508"/>
                    </a:lnTo>
                    <a:lnTo>
                      <a:pt x="382" y="504"/>
                    </a:lnTo>
                    <a:lnTo>
                      <a:pt x="382" y="500"/>
                    </a:lnTo>
                    <a:lnTo>
                      <a:pt x="382" y="496"/>
                    </a:lnTo>
                    <a:lnTo>
                      <a:pt x="382" y="490"/>
                    </a:lnTo>
                    <a:lnTo>
                      <a:pt x="382" y="483"/>
                    </a:lnTo>
                    <a:lnTo>
                      <a:pt x="384" y="477"/>
                    </a:lnTo>
                    <a:lnTo>
                      <a:pt x="384" y="471"/>
                    </a:lnTo>
                    <a:lnTo>
                      <a:pt x="384" y="468"/>
                    </a:lnTo>
                    <a:lnTo>
                      <a:pt x="384" y="464"/>
                    </a:lnTo>
                    <a:lnTo>
                      <a:pt x="384" y="460"/>
                    </a:lnTo>
                    <a:lnTo>
                      <a:pt x="384" y="454"/>
                    </a:lnTo>
                    <a:lnTo>
                      <a:pt x="384" y="450"/>
                    </a:lnTo>
                    <a:lnTo>
                      <a:pt x="384" y="447"/>
                    </a:lnTo>
                    <a:lnTo>
                      <a:pt x="384" y="441"/>
                    </a:lnTo>
                    <a:lnTo>
                      <a:pt x="384" y="435"/>
                    </a:lnTo>
                    <a:lnTo>
                      <a:pt x="384" y="430"/>
                    </a:lnTo>
                    <a:lnTo>
                      <a:pt x="384" y="424"/>
                    </a:lnTo>
                    <a:lnTo>
                      <a:pt x="384" y="420"/>
                    </a:lnTo>
                    <a:lnTo>
                      <a:pt x="384" y="414"/>
                    </a:lnTo>
                    <a:lnTo>
                      <a:pt x="384" y="409"/>
                    </a:lnTo>
                    <a:lnTo>
                      <a:pt x="384" y="403"/>
                    </a:lnTo>
                    <a:lnTo>
                      <a:pt x="384" y="397"/>
                    </a:lnTo>
                    <a:lnTo>
                      <a:pt x="384" y="390"/>
                    </a:lnTo>
                    <a:lnTo>
                      <a:pt x="384" y="384"/>
                    </a:lnTo>
                    <a:lnTo>
                      <a:pt x="382" y="378"/>
                    </a:lnTo>
                    <a:lnTo>
                      <a:pt x="382" y="373"/>
                    </a:lnTo>
                    <a:lnTo>
                      <a:pt x="382" y="365"/>
                    </a:lnTo>
                    <a:lnTo>
                      <a:pt x="382" y="359"/>
                    </a:lnTo>
                    <a:lnTo>
                      <a:pt x="382" y="354"/>
                    </a:lnTo>
                    <a:lnTo>
                      <a:pt x="382" y="348"/>
                    </a:lnTo>
                    <a:lnTo>
                      <a:pt x="380" y="340"/>
                    </a:lnTo>
                    <a:lnTo>
                      <a:pt x="380" y="333"/>
                    </a:lnTo>
                    <a:lnTo>
                      <a:pt x="378" y="327"/>
                    </a:lnTo>
                    <a:lnTo>
                      <a:pt x="378" y="321"/>
                    </a:lnTo>
                    <a:lnTo>
                      <a:pt x="378" y="314"/>
                    </a:lnTo>
                    <a:lnTo>
                      <a:pt x="378" y="308"/>
                    </a:lnTo>
                    <a:lnTo>
                      <a:pt x="376" y="300"/>
                    </a:lnTo>
                    <a:lnTo>
                      <a:pt x="376" y="295"/>
                    </a:lnTo>
                    <a:lnTo>
                      <a:pt x="374" y="289"/>
                    </a:lnTo>
                    <a:lnTo>
                      <a:pt x="374" y="281"/>
                    </a:lnTo>
                    <a:lnTo>
                      <a:pt x="373" y="276"/>
                    </a:lnTo>
                    <a:lnTo>
                      <a:pt x="373" y="270"/>
                    </a:lnTo>
                    <a:lnTo>
                      <a:pt x="371" y="262"/>
                    </a:lnTo>
                    <a:lnTo>
                      <a:pt x="369" y="257"/>
                    </a:lnTo>
                    <a:lnTo>
                      <a:pt x="369" y="251"/>
                    </a:lnTo>
                    <a:lnTo>
                      <a:pt x="367" y="243"/>
                    </a:lnTo>
                    <a:lnTo>
                      <a:pt x="365" y="238"/>
                    </a:lnTo>
                    <a:lnTo>
                      <a:pt x="365" y="232"/>
                    </a:lnTo>
                    <a:lnTo>
                      <a:pt x="363" y="226"/>
                    </a:lnTo>
                    <a:lnTo>
                      <a:pt x="361" y="220"/>
                    </a:lnTo>
                    <a:lnTo>
                      <a:pt x="359" y="215"/>
                    </a:lnTo>
                    <a:lnTo>
                      <a:pt x="357" y="209"/>
                    </a:lnTo>
                    <a:lnTo>
                      <a:pt x="357" y="203"/>
                    </a:lnTo>
                    <a:lnTo>
                      <a:pt x="355" y="200"/>
                    </a:lnTo>
                    <a:lnTo>
                      <a:pt x="352" y="192"/>
                    </a:lnTo>
                    <a:lnTo>
                      <a:pt x="350" y="188"/>
                    </a:lnTo>
                    <a:lnTo>
                      <a:pt x="348" y="182"/>
                    </a:lnTo>
                    <a:lnTo>
                      <a:pt x="346" y="177"/>
                    </a:lnTo>
                    <a:lnTo>
                      <a:pt x="344" y="173"/>
                    </a:lnTo>
                    <a:lnTo>
                      <a:pt x="342" y="167"/>
                    </a:lnTo>
                    <a:lnTo>
                      <a:pt x="338" y="162"/>
                    </a:lnTo>
                    <a:lnTo>
                      <a:pt x="336" y="158"/>
                    </a:lnTo>
                    <a:lnTo>
                      <a:pt x="335" y="152"/>
                    </a:lnTo>
                    <a:lnTo>
                      <a:pt x="331" y="146"/>
                    </a:lnTo>
                    <a:lnTo>
                      <a:pt x="329" y="143"/>
                    </a:lnTo>
                    <a:lnTo>
                      <a:pt x="327" y="137"/>
                    </a:lnTo>
                    <a:lnTo>
                      <a:pt x="323" y="133"/>
                    </a:lnTo>
                    <a:lnTo>
                      <a:pt x="321" y="127"/>
                    </a:lnTo>
                    <a:lnTo>
                      <a:pt x="317" y="124"/>
                    </a:lnTo>
                    <a:lnTo>
                      <a:pt x="316" y="118"/>
                    </a:lnTo>
                    <a:lnTo>
                      <a:pt x="312" y="114"/>
                    </a:lnTo>
                    <a:lnTo>
                      <a:pt x="308" y="108"/>
                    </a:lnTo>
                    <a:lnTo>
                      <a:pt x="304" y="105"/>
                    </a:lnTo>
                    <a:lnTo>
                      <a:pt x="302" y="101"/>
                    </a:lnTo>
                    <a:lnTo>
                      <a:pt x="298" y="95"/>
                    </a:lnTo>
                    <a:lnTo>
                      <a:pt x="295" y="91"/>
                    </a:lnTo>
                    <a:lnTo>
                      <a:pt x="291" y="87"/>
                    </a:lnTo>
                    <a:lnTo>
                      <a:pt x="289" y="84"/>
                    </a:lnTo>
                    <a:lnTo>
                      <a:pt x="283" y="80"/>
                    </a:lnTo>
                    <a:lnTo>
                      <a:pt x="281" y="74"/>
                    </a:lnTo>
                    <a:lnTo>
                      <a:pt x="276" y="70"/>
                    </a:lnTo>
                    <a:lnTo>
                      <a:pt x="274" y="66"/>
                    </a:lnTo>
                    <a:lnTo>
                      <a:pt x="268" y="63"/>
                    </a:lnTo>
                    <a:lnTo>
                      <a:pt x="264" y="59"/>
                    </a:lnTo>
                    <a:lnTo>
                      <a:pt x="260" y="57"/>
                    </a:lnTo>
                    <a:lnTo>
                      <a:pt x="257" y="53"/>
                    </a:lnTo>
                    <a:lnTo>
                      <a:pt x="253" y="49"/>
                    </a:lnTo>
                    <a:lnTo>
                      <a:pt x="249" y="46"/>
                    </a:lnTo>
                    <a:lnTo>
                      <a:pt x="243" y="42"/>
                    </a:lnTo>
                    <a:lnTo>
                      <a:pt x="240" y="40"/>
                    </a:lnTo>
                    <a:lnTo>
                      <a:pt x="236" y="36"/>
                    </a:lnTo>
                    <a:lnTo>
                      <a:pt x="232" y="34"/>
                    </a:lnTo>
                    <a:lnTo>
                      <a:pt x="226" y="30"/>
                    </a:lnTo>
                    <a:lnTo>
                      <a:pt x="222" y="28"/>
                    </a:lnTo>
                    <a:lnTo>
                      <a:pt x="217" y="27"/>
                    </a:lnTo>
                    <a:lnTo>
                      <a:pt x="213" y="23"/>
                    </a:lnTo>
                    <a:lnTo>
                      <a:pt x="207" y="21"/>
                    </a:lnTo>
                    <a:lnTo>
                      <a:pt x="203" y="19"/>
                    </a:lnTo>
                    <a:lnTo>
                      <a:pt x="198" y="17"/>
                    </a:lnTo>
                    <a:lnTo>
                      <a:pt x="194" y="15"/>
                    </a:lnTo>
                    <a:lnTo>
                      <a:pt x="188" y="13"/>
                    </a:lnTo>
                    <a:lnTo>
                      <a:pt x="184" y="13"/>
                    </a:lnTo>
                    <a:lnTo>
                      <a:pt x="179" y="9"/>
                    </a:lnTo>
                    <a:lnTo>
                      <a:pt x="175" y="9"/>
                    </a:lnTo>
                    <a:lnTo>
                      <a:pt x="169" y="8"/>
                    </a:lnTo>
                    <a:lnTo>
                      <a:pt x="164" y="8"/>
                    </a:lnTo>
                    <a:lnTo>
                      <a:pt x="158" y="6"/>
                    </a:lnTo>
                    <a:lnTo>
                      <a:pt x="154" y="6"/>
                    </a:lnTo>
                    <a:lnTo>
                      <a:pt x="148" y="4"/>
                    </a:lnTo>
                    <a:lnTo>
                      <a:pt x="145" y="4"/>
                    </a:lnTo>
                    <a:lnTo>
                      <a:pt x="139" y="4"/>
                    </a:lnTo>
                    <a:lnTo>
                      <a:pt x="133" y="4"/>
                    </a:lnTo>
                    <a:lnTo>
                      <a:pt x="127" y="4"/>
                    </a:lnTo>
                    <a:lnTo>
                      <a:pt x="124" y="4"/>
                    </a:lnTo>
                    <a:lnTo>
                      <a:pt x="118" y="4"/>
                    </a:lnTo>
                    <a:lnTo>
                      <a:pt x="112" y="4"/>
                    </a:lnTo>
                    <a:lnTo>
                      <a:pt x="107" y="6"/>
                    </a:lnTo>
                    <a:lnTo>
                      <a:pt x="103" y="6"/>
                    </a:lnTo>
                    <a:lnTo>
                      <a:pt x="99" y="6"/>
                    </a:lnTo>
                    <a:lnTo>
                      <a:pt x="95" y="8"/>
                    </a:lnTo>
                    <a:lnTo>
                      <a:pt x="91" y="8"/>
                    </a:lnTo>
                    <a:lnTo>
                      <a:pt x="88" y="8"/>
                    </a:lnTo>
                    <a:lnTo>
                      <a:pt x="80" y="9"/>
                    </a:lnTo>
                    <a:lnTo>
                      <a:pt x="72" y="13"/>
                    </a:lnTo>
                    <a:lnTo>
                      <a:pt x="65" y="15"/>
                    </a:lnTo>
                    <a:lnTo>
                      <a:pt x="59" y="19"/>
                    </a:lnTo>
                    <a:lnTo>
                      <a:pt x="51" y="23"/>
                    </a:lnTo>
                    <a:lnTo>
                      <a:pt x="46" y="27"/>
                    </a:lnTo>
                    <a:lnTo>
                      <a:pt x="38" y="30"/>
                    </a:lnTo>
                    <a:lnTo>
                      <a:pt x="32" y="34"/>
                    </a:lnTo>
                    <a:lnTo>
                      <a:pt x="27" y="40"/>
                    </a:lnTo>
                    <a:lnTo>
                      <a:pt x="23" y="47"/>
                    </a:lnTo>
                    <a:lnTo>
                      <a:pt x="19" y="49"/>
                    </a:lnTo>
                    <a:lnTo>
                      <a:pt x="17" y="53"/>
                    </a:lnTo>
                    <a:lnTo>
                      <a:pt x="15" y="57"/>
                    </a:lnTo>
                    <a:lnTo>
                      <a:pt x="13" y="61"/>
                    </a:lnTo>
                    <a:lnTo>
                      <a:pt x="12" y="65"/>
                    </a:lnTo>
                    <a:lnTo>
                      <a:pt x="12" y="68"/>
                    </a:lnTo>
                    <a:lnTo>
                      <a:pt x="10" y="72"/>
                    </a:lnTo>
                    <a:lnTo>
                      <a:pt x="10" y="78"/>
                    </a:lnTo>
                    <a:lnTo>
                      <a:pt x="8" y="84"/>
                    </a:lnTo>
                    <a:lnTo>
                      <a:pt x="8" y="89"/>
                    </a:lnTo>
                    <a:lnTo>
                      <a:pt x="8" y="95"/>
                    </a:lnTo>
                    <a:lnTo>
                      <a:pt x="8" y="101"/>
                    </a:lnTo>
                    <a:lnTo>
                      <a:pt x="8" y="105"/>
                    </a:lnTo>
                    <a:lnTo>
                      <a:pt x="10" y="110"/>
                    </a:lnTo>
                    <a:lnTo>
                      <a:pt x="10" y="114"/>
                    </a:lnTo>
                    <a:lnTo>
                      <a:pt x="12" y="118"/>
                    </a:lnTo>
                    <a:lnTo>
                      <a:pt x="13" y="125"/>
                    </a:lnTo>
                    <a:lnTo>
                      <a:pt x="19" y="131"/>
                    </a:lnTo>
                    <a:lnTo>
                      <a:pt x="23" y="137"/>
                    </a:lnTo>
                    <a:lnTo>
                      <a:pt x="27" y="141"/>
                    </a:lnTo>
                    <a:lnTo>
                      <a:pt x="31" y="144"/>
                    </a:lnTo>
                    <a:lnTo>
                      <a:pt x="36" y="146"/>
                    </a:lnTo>
                    <a:lnTo>
                      <a:pt x="40" y="148"/>
                    </a:lnTo>
                    <a:lnTo>
                      <a:pt x="44" y="150"/>
                    </a:lnTo>
                    <a:lnTo>
                      <a:pt x="48" y="152"/>
                    </a:lnTo>
                    <a:lnTo>
                      <a:pt x="51" y="152"/>
                    </a:lnTo>
                    <a:lnTo>
                      <a:pt x="53" y="154"/>
                    </a:lnTo>
                    <a:lnTo>
                      <a:pt x="51" y="150"/>
                    </a:lnTo>
                    <a:lnTo>
                      <a:pt x="51" y="144"/>
                    </a:lnTo>
                    <a:lnTo>
                      <a:pt x="50" y="141"/>
                    </a:lnTo>
                    <a:lnTo>
                      <a:pt x="48" y="137"/>
                    </a:lnTo>
                    <a:lnTo>
                      <a:pt x="48" y="131"/>
                    </a:lnTo>
                    <a:lnTo>
                      <a:pt x="46" y="125"/>
                    </a:lnTo>
                    <a:lnTo>
                      <a:pt x="46" y="120"/>
                    </a:lnTo>
                    <a:lnTo>
                      <a:pt x="44" y="114"/>
                    </a:lnTo>
                    <a:lnTo>
                      <a:pt x="44" y="108"/>
                    </a:lnTo>
                    <a:lnTo>
                      <a:pt x="46" y="103"/>
                    </a:lnTo>
                    <a:lnTo>
                      <a:pt x="46" y="97"/>
                    </a:lnTo>
                    <a:lnTo>
                      <a:pt x="46" y="91"/>
                    </a:lnTo>
                    <a:lnTo>
                      <a:pt x="48" y="85"/>
                    </a:lnTo>
                    <a:lnTo>
                      <a:pt x="51" y="82"/>
                    </a:lnTo>
                    <a:lnTo>
                      <a:pt x="53" y="78"/>
                    </a:lnTo>
                    <a:lnTo>
                      <a:pt x="55" y="74"/>
                    </a:lnTo>
                    <a:lnTo>
                      <a:pt x="57" y="68"/>
                    </a:lnTo>
                    <a:lnTo>
                      <a:pt x="59" y="65"/>
                    </a:lnTo>
                    <a:lnTo>
                      <a:pt x="61" y="61"/>
                    </a:lnTo>
                    <a:lnTo>
                      <a:pt x="65" y="59"/>
                    </a:lnTo>
                    <a:lnTo>
                      <a:pt x="69" y="55"/>
                    </a:lnTo>
                    <a:lnTo>
                      <a:pt x="72" y="53"/>
                    </a:lnTo>
                    <a:lnTo>
                      <a:pt x="78" y="49"/>
                    </a:lnTo>
                    <a:lnTo>
                      <a:pt x="84" y="47"/>
                    </a:lnTo>
                    <a:lnTo>
                      <a:pt x="88" y="47"/>
                    </a:lnTo>
                    <a:lnTo>
                      <a:pt x="91" y="46"/>
                    </a:lnTo>
                    <a:lnTo>
                      <a:pt x="95" y="46"/>
                    </a:lnTo>
                    <a:lnTo>
                      <a:pt x="99" y="46"/>
                    </a:lnTo>
                    <a:lnTo>
                      <a:pt x="105" y="46"/>
                    </a:lnTo>
                    <a:lnTo>
                      <a:pt x="108" y="44"/>
                    </a:lnTo>
                    <a:lnTo>
                      <a:pt x="114" y="44"/>
                    </a:lnTo>
                    <a:lnTo>
                      <a:pt x="120" y="46"/>
                    </a:lnTo>
                    <a:lnTo>
                      <a:pt x="127" y="46"/>
                    </a:lnTo>
                    <a:lnTo>
                      <a:pt x="133" y="46"/>
                    </a:lnTo>
                    <a:lnTo>
                      <a:pt x="137" y="46"/>
                    </a:lnTo>
                    <a:lnTo>
                      <a:pt x="141" y="47"/>
                    </a:lnTo>
                    <a:lnTo>
                      <a:pt x="145" y="47"/>
                    </a:lnTo>
                    <a:lnTo>
                      <a:pt x="148" y="47"/>
                    </a:lnTo>
                    <a:lnTo>
                      <a:pt x="152" y="47"/>
                    </a:lnTo>
                    <a:lnTo>
                      <a:pt x="156" y="49"/>
                    </a:lnTo>
                    <a:lnTo>
                      <a:pt x="160" y="49"/>
                    </a:lnTo>
                    <a:lnTo>
                      <a:pt x="165" y="51"/>
                    </a:lnTo>
                    <a:lnTo>
                      <a:pt x="169" y="53"/>
                    </a:lnTo>
                    <a:lnTo>
                      <a:pt x="175" y="55"/>
                    </a:lnTo>
                    <a:lnTo>
                      <a:pt x="181" y="57"/>
                    </a:lnTo>
                    <a:lnTo>
                      <a:pt x="186" y="61"/>
                    </a:lnTo>
                    <a:lnTo>
                      <a:pt x="192" y="63"/>
                    </a:lnTo>
                    <a:lnTo>
                      <a:pt x="198" y="66"/>
                    </a:lnTo>
                    <a:lnTo>
                      <a:pt x="203" y="70"/>
                    </a:lnTo>
                    <a:lnTo>
                      <a:pt x="209" y="74"/>
                    </a:lnTo>
                    <a:lnTo>
                      <a:pt x="217" y="78"/>
                    </a:lnTo>
                    <a:lnTo>
                      <a:pt x="222" y="84"/>
                    </a:lnTo>
                    <a:lnTo>
                      <a:pt x="230" y="87"/>
                    </a:lnTo>
                    <a:lnTo>
                      <a:pt x="236" y="93"/>
                    </a:lnTo>
                    <a:lnTo>
                      <a:pt x="241" y="99"/>
                    </a:lnTo>
                    <a:lnTo>
                      <a:pt x="247" y="105"/>
                    </a:lnTo>
                    <a:lnTo>
                      <a:pt x="255" y="112"/>
                    </a:lnTo>
                    <a:lnTo>
                      <a:pt x="260" y="118"/>
                    </a:lnTo>
                    <a:lnTo>
                      <a:pt x="266" y="124"/>
                    </a:lnTo>
                    <a:lnTo>
                      <a:pt x="272" y="131"/>
                    </a:lnTo>
                    <a:lnTo>
                      <a:pt x="274" y="137"/>
                    </a:lnTo>
                    <a:lnTo>
                      <a:pt x="276" y="141"/>
                    </a:lnTo>
                    <a:lnTo>
                      <a:pt x="278" y="144"/>
                    </a:lnTo>
                    <a:lnTo>
                      <a:pt x="281" y="148"/>
                    </a:lnTo>
                    <a:lnTo>
                      <a:pt x="283" y="152"/>
                    </a:lnTo>
                    <a:lnTo>
                      <a:pt x="285" y="156"/>
                    </a:lnTo>
                    <a:lnTo>
                      <a:pt x="287" y="162"/>
                    </a:lnTo>
                    <a:lnTo>
                      <a:pt x="289" y="165"/>
                    </a:lnTo>
                    <a:lnTo>
                      <a:pt x="291" y="169"/>
                    </a:lnTo>
                    <a:lnTo>
                      <a:pt x="293" y="175"/>
                    </a:lnTo>
                    <a:lnTo>
                      <a:pt x="297" y="179"/>
                    </a:lnTo>
                    <a:lnTo>
                      <a:pt x="298" y="184"/>
                    </a:lnTo>
                    <a:lnTo>
                      <a:pt x="298" y="188"/>
                    </a:lnTo>
                    <a:lnTo>
                      <a:pt x="300" y="194"/>
                    </a:lnTo>
                    <a:lnTo>
                      <a:pt x="302" y="200"/>
                    </a:lnTo>
                    <a:lnTo>
                      <a:pt x="304" y="205"/>
                    </a:lnTo>
                    <a:lnTo>
                      <a:pt x="304" y="209"/>
                    </a:lnTo>
                    <a:lnTo>
                      <a:pt x="306" y="215"/>
                    </a:lnTo>
                    <a:lnTo>
                      <a:pt x="306" y="220"/>
                    </a:lnTo>
                    <a:lnTo>
                      <a:pt x="308" y="226"/>
                    </a:lnTo>
                    <a:lnTo>
                      <a:pt x="304" y="222"/>
                    </a:lnTo>
                    <a:lnTo>
                      <a:pt x="300" y="217"/>
                    </a:lnTo>
                    <a:lnTo>
                      <a:pt x="298" y="213"/>
                    </a:lnTo>
                    <a:lnTo>
                      <a:pt x="295" y="209"/>
                    </a:lnTo>
                    <a:lnTo>
                      <a:pt x="291" y="205"/>
                    </a:lnTo>
                    <a:lnTo>
                      <a:pt x="287" y="201"/>
                    </a:lnTo>
                    <a:lnTo>
                      <a:pt x="283" y="198"/>
                    </a:lnTo>
                    <a:lnTo>
                      <a:pt x="279" y="194"/>
                    </a:lnTo>
                    <a:lnTo>
                      <a:pt x="274" y="190"/>
                    </a:lnTo>
                    <a:lnTo>
                      <a:pt x="270" y="184"/>
                    </a:lnTo>
                    <a:lnTo>
                      <a:pt x="266" y="182"/>
                    </a:lnTo>
                    <a:lnTo>
                      <a:pt x="260" y="179"/>
                    </a:lnTo>
                    <a:lnTo>
                      <a:pt x="257" y="175"/>
                    </a:lnTo>
                    <a:lnTo>
                      <a:pt x="251" y="173"/>
                    </a:lnTo>
                    <a:lnTo>
                      <a:pt x="247" y="169"/>
                    </a:lnTo>
                    <a:lnTo>
                      <a:pt x="241" y="167"/>
                    </a:lnTo>
                    <a:lnTo>
                      <a:pt x="236" y="163"/>
                    </a:lnTo>
                    <a:lnTo>
                      <a:pt x="230" y="162"/>
                    </a:lnTo>
                    <a:lnTo>
                      <a:pt x="224" y="158"/>
                    </a:lnTo>
                    <a:lnTo>
                      <a:pt x="221" y="156"/>
                    </a:lnTo>
                    <a:lnTo>
                      <a:pt x="213" y="154"/>
                    </a:lnTo>
                    <a:lnTo>
                      <a:pt x="207" y="150"/>
                    </a:lnTo>
                    <a:lnTo>
                      <a:pt x="202" y="148"/>
                    </a:lnTo>
                    <a:lnTo>
                      <a:pt x="198" y="148"/>
                    </a:lnTo>
                    <a:lnTo>
                      <a:pt x="190" y="146"/>
                    </a:lnTo>
                    <a:lnTo>
                      <a:pt x="184" y="144"/>
                    </a:lnTo>
                    <a:lnTo>
                      <a:pt x="179" y="143"/>
                    </a:lnTo>
                    <a:lnTo>
                      <a:pt x="173" y="141"/>
                    </a:lnTo>
                    <a:lnTo>
                      <a:pt x="167" y="139"/>
                    </a:lnTo>
                    <a:lnTo>
                      <a:pt x="162" y="139"/>
                    </a:lnTo>
                    <a:lnTo>
                      <a:pt x="154" y="137"/>
                    </a:lnTo>
                    <a:lnTo>
                      <a:pt x="148" y="137"/>
                    </a:lnTo>
                    <a:lnTo>
                      <a:pt x="150" y="139"/>
                    </a:lnTo>
                    <a:lnTo>
                      <a:pt x="156" y="144"/>
                    </a:lnTo>
                    <a:lnTo>
                      <a:pt x="160" y="146"/>
                    </a:lnTo>
                    <a:lnTo>
                      <a:pt x="164" y="150"/>
                    </a:lnTo>
                    <a:lnTo>
                      <a:pt x="169" y="156"/>
                    </a:lnTo>
                    <a:lnTo>
                      <a:pt x="175" y="162"/>
                    </a:lnTo>
                    <a:lnTo>
                      <a:pt x="179" y="165"/>
                    </a:lnTo>
                    <a:lnTo>
                      <a:pt x="184" y="171"/>
                    </a:lnTo>
                    <a:lnTo>
                      <a:pt x="190" y="177"/>
                    </a:lnTo>
                    <a:lnTo>
                      <a:pt x="196" y="184"/>
                    </a:lnTo>
                    <a:lnTo>
                      <a:pt x="200" y="190"/>
                    </a:lnTo>
                    <a:lnTo>
                      <a:pt x="203" y="196"/>
                    </a:lnTo>
                    <a:lnTo>
                      <a:pt x="207" y="203"/>
                    </a:lnTo>
                    <a:lnTo>
                      <a:pt x="211" y="209"/>
                    </a:lnTo>
                    <a:lnTo>
                      <a:pt x="209" y="209"/>
                    </a:lnTo>
                    <a:lnTo>
                      <a:pt x="207" y="205"/>
                    </a:lnTo>
                    <a:lnTo>
                      <a:pt x="203" y="203"/>
                    </a:lnTo>
                    <a:lnTo>
                      <a:pt x="202" y="201"/>
                    </a:lnTo>
                    <a:lnTo>
                      <a:pt x="198" y="200"/>
                    </a:lnTo>
                    <a:lnTo>
                      <a:pt x="194" y="198"/>
                    </a:lnTo>
                    <a:lnTo>
                      <a:pt x="188" y="196"/>
                    </a:lnTo>
                    <a:lnTo>
                      <a:pt x="183" y="194"/>
                    </a:lnTo>
                    <a:lnTo>
                      <a:pt x="179" y="192"/>
                    </a:lnTo>
                    <a:lnTo>
                      <a:pt x="175" y="192"/>
                    </a:lnTo>
                    <a:lnTo>
                      <a:pt x="171" y="190"/>
                    </a:lnTo>
                    <a:lnTo>
                      <a:pt x="167" y="190"/>
                    </a:lnTo>
                    <a:lnTo>
                      <a:pt x="164" y="190"/>
                    </a:lnTo>
                    <a:lnTo>
                      <a:pt x="160" y="188"/>
                    </a:lnTo>
                    <a:lnTo>
                      <a:pt x="154" y="188"/>
                    </a:lnTo>
                    <a:lnTo>
                      <a:pt x="150" y="188"/>
                    </a:lnTo>
                    <a:lnTo>
                      <a:pt x="145" y="188"/>
                    </a:lnTo>
                    <a:lnTo>
                      <a:pt x="139" y="188"/>
                    </a:lnTo>
                    <a:lnTo>
                      <a:pt x="133" y="190"/>
                    </a:lnTo>
                    <a:lnTo>
                      <a:pt x="127" y="190"/>
                    </a:lnTo>
                    <a:lnTo>
                      <a:pt x="120" y="190"/>
                    </a:lnTo>
                    <a:lnTo>
                      <a:pt x="114" y="190"/>
                    </a:lnTo>
                    <a:lnTo>
                      <a:pt x="107" y="192"/>
                    </a:lnTo>
                    <a:lnTo>
                      <a:pt x="103" y="192"/>
                    </a:lnTo>
                    <a:lnTo>
                      <a:pt x="95" y="194"/>
                    </a:lnTo>
                    <a:lnTo>
                      <a:pt x="89" y="196"/>
                    </a:lnTo>
                    <a:lnTo>
                      <a:pt x="84" y="198"/>
                    </a:lnTo>
                    <a:lnTo>
                      <a:pt x="80" y="200"/>
                    </a:lnTo>
                    <a:lnTo>
                      <a:pt x="74" y="201"/>
                    </a:lnTo>
                    <a:lnTo>
                      <a:pt x="70" y="203"/>
                    </a:lnTo>
                    <a:lnTo>
                      <a:pt x="65" y="207"/>
                    </a:lnTo>
                    <a:lnTo>
                      <a:pt x="61" y="209"/>
                    </a:lnTo>
                    <a:lnTo>
                      <a:pt x="55" y="213"/>
                    </a:lnTo>
                    <a:lnTo>
                      <a:pt x="51" y="217"/>
                    </a:lnTo>
                    <a:lnTo>
                      <a:pt x="48" y="220"/>
                    </a:lnTo>
                    <a:lnTo>
                      <a:pt x="46" y="224"/>
                    </a:lnTo>
                    <a:lnTo>
                      <a:pt x="40" y="228"/>
                    </a:lnTo>
                    <a:lnTo>
                      <a:pt x="36" y="232"/>
                    </a:lnTo>
                    <a:lnTo>
                      <a:pt x="32" y="236"/>
                    </a:lnTo>
                    <a:lnTo>
                      <a:pt x="31" y="239"/>
                    </a:lnTo>
                    <a:lnTo>
                      <a:pt x="27" y="243"/>
                    </a:lnTo>
                    <a:lnTo>
                      <a:pt x="25" y="249"/>
                    </a:lnTo>
                    <a:lnTo>
                      <a:pt x="23" y="253"/>
                    </a:lnTo>
                    <a:lnTo>
                      <a:pt x="21" y="258"/>
                    </a:lnTo>
                    <a:lnTo>
                      <a:pt x="17" y="262"/>
                    </a:lnTo>
                    <a:lnTo>
                      <a:pt x="15" y="268"/>
                    </a:lnTo>
                    <a:lnTo>
                      <a:pt x="13" y="272"/>
                    </a:lnTo>
                    <a:lnTo>
                      <a:pt x="12" y="277"/>
                    </a:lnTo>
                    <a:lnTo>
                      <a:pt x="10" y="283"/>
                    </a:lnTo>
                    <a:lnTo>
                      <a:pt x="8" y="289"/>
                    </a:lnTo>
                    <a:lnTo>
                      <a:pt x="6" y="295"/>
                    </a:lnTo>
                    <a:lnTo>
                      <a:pt x="6" y="300"/>
                    </a:lnTo>
                    <a:lnTo>
                      <a:pt x="4" y="304"/>
                    </a:lnTo>
                    <a:lnTo>
                      <a:pt x="4" y="310"/>
                    </a:lnTo>
                    <a:lnTo>
                      <a:pt x="2" y="314"/>
                    </a:lnTo>
                    <a:lnTo>
                      <a:pt x="2" y="319"/>
                    </a:lnTo>
                    <a:lnTo>
                      <a:pt x="2" y="323"/>
                    </a:lnTo>
                    <a:lnTo>
                      <a:pt x="2" y="327"/>
                    </a:lnTo>
                    <a:lnTo>
                      <a:pt x="2" y="331"/>
                    </a:lnTo>
                    <a:lnTo>
                      <a:pt x="2" y="336"/>
                    </a:lnTo>
                    <a:lnTo>
                      <a:pt x="0" y="340"/>
                    </a:lnTo>
                    <a:lnTo>
                      <a:pt x="0" y="344"/>
                    </a:lnTo>
                    <a:lnTo>
                      <a:pt x="0" y="348"/>
                    </a:lnTo>
                    <a:lnTo>
                      <a:pt x="2" y="350"/>
                    </a:lnTo>
                    <a:lnTo>
                      <a:pt x="2" y="357"/>
                    </a:lnTo>
                    <a:lnTo>
                      <a:pt x="4" y="363"/>
                    </a:lnTo>
                    <a:lnTo>
                      <a:pt x="4" y="367"/>
                    </a:lnTo>
                    <a:lnTo>
                      <a:pt x="6" y="373"/>
                    </a:lnTo>
                    <a:lnTo>
                      <a:pt x="6" y="374"/>
                    </a:lnTo>
                    <a:lnTo>
                      <a:pt x="8" y="378"/>
                    </a:lnTo>
                    <a:lnTo>
                      <a:pt x="8" y="382"/>
                    </a:lnTo>
                    <a:lnTo>
                      <a:pt x="10" y="384"/>
                    </a:lnTo>
                    <a:lnTo>
                      <a:pt x="10" y="382"/>
                    </a:lnTo>
                    <a:lnTo>
                      <a:pt x="10" y="380"/>
                    </a:lnTo>
                    <a:lnTo>
                      <a:pt x="8" y="373"/>
                    </a:lnTo>
                    <a:lnTo>
                      <a:pt x="8" y="367"/>
                    </a:lnTo>
                    <a:lnTo>
                      <a:pt x="8" y="363"/>
                    </a:lnTo>
                    <a:lnTo>
                      <a:pt x="8" y="357"/>
                    </a:lnTo>
                    <a:lnTo>
                      <a:pt x="8" y="354"/>
                    </a:lnTo>
                    <a:lnTo>
                      <a:pt x="10" y="348"/>
                    </a:lnTo>
                    <a:lnTo>
                      <a:pt x="10" y="342"/>
                    </a:lnTo>
                    <a:lnTo>
                      <a:pt x="10" y="338"/>
                    </a:lnTo>
                    <a:lnTo>
                      <a:pt x="12" y="333"/>
                    </a:lnTo>
                    <a:lnTo>
                      <a:pt x="12" y="327"/>
                    </a:lnTo>
                    <a:lnTo>
                      <a:pt x="13" y="321"/>
                    </a:lnTo>
                    <a:lnTo>
                      <a:pt x="13" y="314"/>
                    </a:lnTo>
                    <a:lnTo>
                      <a:pt x="15" y="308"/>
                    </a:lnTo>
                    <a:lnTo>
                      <a:pt x="19" y="302"/>
                    </a:lnTo>
                    <a:lnTo>
                      <a:pt x="21" y="297"/>
                    </a:lnTo>
                    <a:lnTo>
                      <a:pt x="23" y="289"/>
                    </a:lnTo>
                    <a:lnTo>
                      <a:pt x="25" y="283"/>
                    </a:lnTo>
                    <a:lnTo>
                      <a:pt x="29" y="277"/>
                    </a:lnTo>
                    <a:lnTo>
                      <a:pt x="32" y="272"/>
                    </a:lnTo>
                    <a:lnTo>
                      <a:pt x="36" y="266"/>
                    </a:lnTo>
                    <a:lnTo>
                      <a:pt x="40" y="260"/>
                    </a:lnTo>
                    <a:lnTo>
                      <a:pt x="46" y="255"/>
                    </a:lnTo>
                    <a:lnTo>
                      <a:pt x="51" y="249"/>
                    </a:lnTo>
                    <a:lnTo>
                      <a:pt x="57" y="243"/>
                    </a:lnTo>
                    <a:lnTo>
                      <a:pt x="63" y="239"/>
                    </a:lnTo>
                    <a:lnTo>
                      <a:pt x="70" y="236"/>
                    </a:lnTo>
                    <a:lnTo>
                      <a:pt x="76" y="232"/>
                    </a:lnTo>
                    <a:lnTo>
                      <a:pt x="84" y="228"/>
                    </a:lnTo>
                    <a:lnTo>
                      <a:pt x="89" y="224"/>
                    </a:lnTo>
                    <a:lnTo>
                      <a:pt x="97" y="222"/>
                    </a:lnTo>
                    <a:lnTo>
                      <a:pt x="103" y="220"/>
                    </a:lnTo>
                    <a:lnTo>
                      <a:pt x="108" y="219"/>
                    </a:lnTo>
                    <a:lnTo>
                      <a:pt x="116" y="217"/>
                    </a:lnTo>
                    <a:lnTo>
                      <a:pt x="122" y="215"/>
                    </a:lnTo>
                    <a:lnTo>
                      <a:pt x="127" y="215"/>
                    </a:lnTo>
                    <a:lnTo>
                      <a:pt x="131" y="213"/>
                    </a:lnTo>
                    <a:lnTo>
                      <a:pt x="137" y="213"/>
                    </a:lnTo>
                    <a:lnTo>
                      <a:pt x="143" y="213"/>
                    </a:lnTo>
                    <a:lnTo>
                      <a:pt x="148" y="213"/>
                    </a:lnTo>
                    <a:lnTo>
                      <a:pt x="152" y="213"/>
                    </a:lnTo>
                    <a:lnTo>
                      <a:pt x="156" y="213"/>
                    </a:lnTo>
                    <a:lnTo>
                      <a:pt x="162" y="215"/>
                    </a:lnTo>
                    <a:lnTo>
                      <a:pt x="165" y="215"/>
                    </a:lnTo>
                    <a:lnTo>
                      <a:pt x="169" y="215"/>
                    </a:lnTo>
                    <a:lnTo>
                      <a:pt x="173" y="215"/>
                    </a:lnTo>
                    <a:lnTo>
                      <a:pt x="175" y="217"/>
                    </a:lnTo>
                    <a:lnTo>
                      <a:pt x="183" y="219"/>
                    </a:lnTo>
                    <a:lnTo>
                      <a:pt x="188" y="220"/>
                    </a:lnTo>
                    <a:lnTo>
                      <a:pt x="190" y="222"/>
                    </a:lnTo>
                    <a:lnTo>
                      <a:pt x="194" y="224"/>
                    </a:lnTo>
                    <a:lnTo>
                      <a:pt x="196" y="224"/>
                    </a:lnTo>
                    <a:lnTo>
                      <a:pt x="198" y="226"/>
                    </a:lnTo>
                    <a:lnTo>
                      <a:pt x="196" y="224"/>
                    </a:lnTo>
                    <a:lnTo>
                      <a:pt x="192" y="224"/>
                    </a:lnTo>
                    <a:lnTo>
                      <a:pt x="188" y="224"/>
                    </a:lnTo>
                    <a:lnTo>
                      <a:pt x="184" y="226"/>
                    </a:lnTo>
                    <a:lnTo>
                      <a:pt x="181" y="226"/>
                    </a:lnTo>
                    <a:lnTo>
                      <a:pt x="177" y="228"/>
                    </a:lnTo>
                    <a:lnTo>
                      <a:pt x="173" y="230"/>
                    </a:lnTo>
                    <a:lnTo>
                      <a:pt x="167" y="232"/>
                    </a:lnTo>
                    <a:lnTo>
                      <a:pt x="162" y="236"/>
                    </a:lnTo>
                    <a:lnTo>
                      <a:pt x="156" y="239"/>
                    </a:lnTo>
                    <a:lnTo>
                      <a:pt x="148" y="245"/>
                    </a:lnTo>
                    <a:lnTo>
                      <a:pt x="141" y="251"/>
                    </a:lnTo>
                    <a:lnTo>
                      <a:pt x="137" y="255"/>
                    </a:lnTo>
                    <a:lnTo>
                      <a:pt x="133" y="258"/>
                    </a:lnTo>
                    <a:lnTo>
                      <a:pt x="131" y="262"/>
                    </a:lnTo>
                    <a:lnTo>
                      <a:pt x="127" y="266"/>
                    </a:lnTo>
                    <a:lnTo>
                      <a:pt x="164" y="268"/>
                    </a:lnTo>
                    <a:lnTo>
                      <a:pt x="160" y="268"/>
                    </a:lnTo>
                    <a:lnTo>
                      <a:pt x="156" y="270"/>
                    </a:lnTo>
                    <a:lnTo>
                      <a:pt x="150" y="272"/>
                    </a:lnTo>
                    <a:lnTo>
                      <a:pt x="145" y="276"/>
                    </a:lnTo>
                    <a:lnTo>
                      <a:pt x="139" y="277"/>
                    </a:lnTo>
                    <a:lnTo>
                      <a:pt x="133" y="281"/>
                    </a:lnTo>
                    <a:lnTo>
                      <a:pt x="127" y="285"/>
                    </a:lnTo>
                    <a:lnTo>
                      <a:pt x="124" y="291"/>
                    </a:lnTo>
                    <a:lnTo>
                      <a:pt x="118" y="295"/>
                    </a:lnTo>
                    <a:lnTo>
                      <a:pt x="114" y="300"/>
                    </a:lnTo>
                    <a:lnTo>
                      <a:pt x="108" y="308"/>
                    </a:lnTo>
                    <a:lnTo>
                      <a:pt x="107" y="316"/>
                    </a:lnTo>
                    <a:lnTo>
                      <a:pt x="103" y="321"/>
                    </a:lnTo>
                    <a:lnTo>
                      <a:pt x="101" y="329"/>
                    </a:lnTo>
                    <a:lnTo>
                      <a:pt x="99" y="335"/>
                    </a:lnTo>
                    <a:lnTo>
                      <a:pt x="99" y="342"/>
                    </a:lnTo>
                    <a:lnTo>
                      <a:pt x="99" y="348"/>
                    </a:lnTo>
                    <a:lnTo>
                      <a:pt x="101" y="354"/>
                    </a:lnTo>
                    <a:lnTo>
                      <a:pt x="103" y="357"/>
                    </a:lnTo>
                    <a:lnTo>
                      <a:pt x="105" y="363"/>
                    </a:lnTo>
                    <a:lnTo>
                      <a:pt x="107" y="367"/>
                    </a:lnTo>
                    <a:lnTo>
                      <a:pt x="110" y="373"/>
                    </a:lnTo>
                    <a:lnTo>
                      <a:pt x="114" y="374"/>
                    </a:lnTo>
                    <a:lnTo>
                      <a:pt x="120" y="378"/>
                    </a:lnTo>
                    <a:lnTo>
                      <a:pt x="124" y="382"/>
                    </a:lnTo>
                    <a:lnTo>
                      <a:pt x="127" y="384"/>
                    </a:lnTo>
                    <a:lnTo>
                      <a:pt x="131" y="386"/>
                    </a:lnTo>
                    <a:lnTo>
                      <a:pt x="137" y="390"/>
                    </a:lnTo>
                    <a:lnTo>
                      <a:pt x="135" y="388"/>
                    </a:lnTo>
                    <a:lnTo>
                      <a:pt x="131" y="382"/>
                    </a:lnTo>
                    <a:lnTo>
                      <a:pt x="129" y="378"/>
                    </a:lnTo>
                    <a:lnTo>
                      <a:pt x="127" y="374"/>
                    </a:lnTo>
                    <a:lnTo>
                      <a:pt x="126" y="369"/>
                    </a:lnTo>
                    <a:lnTo>
                      <a:pt x="124" y="365"/>
                    </a:lnTo>
                    <a:lnTo>
                      <a:pt x="122" y="357"/>
                    </a:lnTo>
                    <a:lnTo>
                      <a:pt x="120" y="352"/>
                    </a:lnTo>
                    <a:lnTo>
                      <a:pt x="118" y="344"/>
                    </a:lnTo>
                    <a:lnTo>
                      <a:pt x="120" y="338"/>
                    </a:lnTo>
                    <a:lnTo>
                      <a:pt x="120" y="333"/>
                    </a:lnTo>
                    <a:lnTo>
                      <a:pt x="120" y="331"/>
                    </a:lnTo>
                    <a:lnTo>
                      <a:pt x="120" y="325"/>
                    </a:lnTo>
                    <a:lnTo>
                      <a:pt x="120" y="323"/>
                    </a:lnTo>
                    <a:lnTo>
                      <a:pt x="122" y="319"/>
                    </a:lnTo>
                    <a:lnTo>
                      <a:pt x="122" y="316"/>
                    </a:lnTo>
                    <a:lnTo>
                      <a:pt x="124" y="312"/>
                    </a:lnTo>
                    <a:lnTo>
                      <a:pt x="127" y="308"/>
                    </a:lnTo>
                    <a:lnTo>
                      <a:pt x="129" y="304"/>
                    </a:lnTo>
                    <a:lnTo>
                      <a:pt x="131" y="298"/>
                    </a:lnTo>
                    <a:lnTo>
                      <a:pt x="135" y="297"/>
                    </a:lnTo>
                    <a:lnTo>
                      <a:pt x="139" y="293"/>
                    </a:lnTo>
                    <a:lnTo>
                      <a:pt x="143" y="291"/>
                    </a:lnTo>
                    <a:lnTo>
                      <a:pt x="146" y="287"/>
                    </a:lnTo>
                    <a:lnTo>
                      <a:pt x="150" y="285"/>
                    </a:lnTo>
                    <a:lnTo>
                      <a:pt x="156" y="283"/>
                    </a:lnTo>
                    <a:lnTo>
                      <a:pt x="160" y="281"/>
                    </a:lnTo>
                    <a:lnTo>
                      <a:pt x="164" y="281"/>
                    </a:lnTo>
                    <a:lnTo>
                      <a:pt x="169" y="279"/>
                    </a:lnTo>
                    <a:lnTo>
                      <a:pt x="175" y="279"/>
                    </a:lnTo>
                    <a:lnTo>
                      <a:pt x="179" y="279"/>
                    </a:lnTo>
                    <a:lnTo>
                      <a:pt x="184" y="279"/>
                    </a:lnTo>
                    <a:lnTo>
                      <a:pt x="190" y="279"/>
                    </a:lnTo>
                    <a:lnTo>
                      <a:pt x="196" y="279"/>
                    </a:lnTo>
                    <a:lnTo>
                      <a:pt x="202" y="279"/>
                    </a:lnTo>
                    <a:lnTo>
                      <a:pt x="207" y="281"/>
                    </a:lnTo>
                    <a:lnTo>
                      <a:pt x="211" y="281"/>
                    </a:lnTo>
                    <a:lnTo>
                      <a:pt x="217" y="283"/>
                    </a:lnTo>
                    <a:lnTo>
                      <a:pt x="222" y="283"/>
                    </a:lnTo>
                    <a:lnTo>
                      <a:pt x="226" y="287"/>
                    </a:lnTo>
                    <a:lnTo>
                      <a:pt x="232" y="289"/>
                    </a:lnTo>
                    <a:lnTo>
                      <a:pt x="238" y="291"/>
                    </a:lnTo>
                    <a:lnTo>
                      <a:pt x="241" y="293"/>
                    </a:lnTo>
                    <a:lnTo>
                      <a:pt x="245" y="295"/>
                    </a:lnTo>
                    <a:lnTo>
                      <a:pt x="249" y="297"/>
                    </a:lnTo>
                    <a:lnTo>
                      <a:pt x="255" y="300"/>
                    </a:lnTo>
                    <a:lnTo>
                      <a:pt x="257" y="302"/>
                    </a:lnTo>
                    <a:lnTo>
                      <a:pt x="260" y="306"/>
                    </a:lnTo>
                    <a:lnTo>
                      <a:pt x="264" y="310"/>
                    </a:lnTo>
                    <a:lnTo>
                      <a:pt x="268" y="314"/>
                    </a:lnTo>
                    <a:lnTo>
                      <a:pt x="270" y="317"/>
                    </a:lnTo>
                    <a:lnTo>
                      <a:pt x="272" y="321"/>
                    </a:lnTo>
                    <a:lnTo>
                      <a:pt x="276" y="325"/>
                    </a:lnTo>
                    <a:lnTo>
                      <a:pt x="278" y="329"/>
                    </a:lnTo>
                    <a:lnTo>
                      <a:pt x="279" y="333"/>
                    </a:lnTo>
                    <a:lnTo>
                      <a:pt x="283" y="336"/>
                    </a:lnTo>
                    <a:lnTo>
                      <a:pt x="285" y="340"/>
                    </a:lnTo>
                    <a:lnTo>
                      <a:pt x="289" y="346"/>
                    </a:lnTo>
                    <a:lnTo>
                      <a:pt x="291" y="350"/>
                    </a:lnTo>
                    <a:lnTo>
                      <a:pt x="293" y="355"/>
                    </a:lnTo>
                    <a:lnTo>
                      <a:pt x="297" y="359"/>
                    </a:lnTo>
                    <a:lnTo>
                      <a:pt x="298" y="365"/>
                    </a:lnTo>
                    <a:lnTo>
                      <a:pt x="300" y="369"/>
                    </a:lnTo>
                    <a:lnTo>
                      <a:pt x="304" y="374"/>
                    </a:lnTo>
                    <a:lnTo>
                      <a:pt x="306" y="380"/>
                    </a:lnTo>
                    <a:lnTo>
                      <a:pt x="310" y="384"/>
                    </a:lnTo>
                    <a:lnTo>
                      <a:pt x="312" y="390"/>
                    </a:lnTo>
                    <a:lnTo>
                      <a:pt x="314" y="395"/>
                    </a:lnTo>
                    <a:lnTo>
                      <a:pt x="316" y="399"/>
                    </a:lnTo>
                    <a:lnTo>
                      <a:pt x="317" y="405"/>
                    </a:lnTo>
                    <a:lnTo>
                      <a:pt x="319" y="409"/>
                    </a:lnTo>
                    <a:lnTo>
                      <a:pt x="321" y="414"/>
                    </a:lnTo>
                    <a:lnTo>
                      <a:pt x="323" y="420"/>
                    </a:lnTo>
                    <a:lnTo>
                      <a:pt x="325" y="424"/>
                    </a:lnTo>
                    <a:lnTo>
                      <a:pt x="327" y="430"/>
                    </a:lnTo>
                    <a:lnTo>
                      <a:pt x="329" y="433"/>
                    </a:lnTo>
                    <a:lnTo>
                      <a:pt x="331" y="439"/>
                    </a:lnTo>
                    <a:lnTo>
                      <a:pt x="333" y="443"/>
                    </a:lnTo>
                    <a:lnTo>
                      <a:pt x="333" y="447"/>
                    </a:lnTo>
                    <a:lnTo>
                      <a:pt x="335" y="452"/>
                    </a:lnTo>
                    <a:lnTo>
                      <a:pt x="335" y="456"/>
                    </a:lnTo>
                    <a:lnTo>
                      <a:pt x="336" y="462"/>
                    </a:lnTo>
                    <a:lnTo>
                      <a:pt x="336" y="466"/>
                    </a:lnTo>
                    <a:lnTo>
                      <a:pt x="338" y="469"/>
                    </a:lnTo>
                    <a:lnTo>
                      <a:pt x="338" y="473"/>
                    </a:lnTo>
                    <a:lnTo>
                      <a:pt x="340" y="479"/>
                    </a:lnTo>
                    <a:lnTo>
                      <a:pt x="340" y="483"/>
                    </a:lnTo>
                    <a:lnTo>
                      <a:pt x="340" y="487"/>
                    </a:lnTo>
                    <a:lnTo>
                      <a:pt x="342" y="490"/>
                    </a:lnTo>
                    <a:lnTo>
                      <a:pt x="342" y="494"/>
                    </a:lnTo>
                    <a:lnTo>
                      <a:pt x="342" y="498"/>
                    </a:lnTo>
                    <a:lnTo>
                      <a:pt x="344" y="502"/>
                    </a:lnTo>
                    <a:lnTo>
                      <a:pt x="344" y="506"/>
                    </a:lnTo>
                    <a:lnTo>
                      <a:pt x="344" y="509"/>
                    </a:lnTo>
                    <a:lnTo>
                      <a:pt x="346" y="517"/>
                    </a:lnTo>
                    <a:lnTo>
                      <a:pt x="348" y="525"/>
                    </a:lnTo>
                    <a:lnTo>
                      <a:pt x="348" y="530"/>
                    </a:lnTo>
                    <a:lnTo>
                      <a:pt x="350" y="536"/>
                    </a:lnTo>
                    <a:lnTo>
                      <a:pt x="350" y="540"/>
                    </a:lnTo>
                    <a:lnTo>
                      <a:pt x="352" y="546"/>
                    </a:lnTo>
                    <a:lnTo>
                      <a:pt x="352" y="549"/>
                    </a:lnTo>
                    <a:lnTo>
                      <a:pt x="352" y="551"/>
                    </a:lnTo>
                    <a:lnTo>
                      <a:pt x="352" y="553"/>
                    </a:lnTo>
                    <a:lnTo>
                      <a:pt x="352" y="555"/>
                    </a:lnTo>
                    <a:lnTo>
                      <a:pt x="350" y="555"/>
                    </a:lnTo>
                    <a:lnTo>
                      <a:pt x="346" y="555"/>
                    </a:lnTo>
                    <a:lnTo>
                      <a:pt x="342" y="555"/>
                    </a:lnTo>
                    <a:lnTo>
                      <a:pt x="336" y="557"/>
                    </a:lnTo>
                    <a:lnTo>
                      <a:pt x="331" y="557"/>
                    </a:lnTo>
                    <a:lnTo>
                      <a:pt x="323" y="559"/>
                    </a:lnTo>
                    <a:lnTo>
                      <a:pt x="317" y="563"/>
                    </a:lnTo>
                    <a:lnTo>
                      <a:pt x="312" y="563"/>
                    </a:lnTo>
                    <a:lnTo>
                      <a:pt x="308" y="565"/>
                    </a:lnTo>
                    <a:lnTo>
                      <a:pt x="304" y="566"/>
                    </a:lnTo>
                    <a:lnTo>
                      <a:pt x="300" y="568"/>
                    </a:lnTo>
                    <a:lnTo>
                      <a:pt x="295" y="570"/>
                    </a:lnTo>
                    <a:lnTo>
                      <a:pt x="291" y="572"/>
                    </a:lnTo>
                    <a:lnTo>
                      <a:pt x="285" y="574"/>
                    </a:lnTo>
                    <a:lnTo>
                      <a:pt x="281" y="576"/>
                    </a:lnTo>
                    <a:lnTo>
                      <a:pt x="276" y="580"/>
                    </a:lnTo>
                    <a:lnTo>
                      <a:pt x="272" y="582"/>
                    </a:lnTo>
                    <a:lnTo>
                      <a:pt x="266" y="584"/>
                    </a:lnTo>
                    <a:lnTo>
                      <a:pt x="260" y="587"/>
                    </a:lnTo>
                    <a:lnTo>
                      <a:pt x="257" y="591"/>
                    </a:lnTo>
                    <a:lnTo>
                      <a:pt x="251" y="595"/>
                    </a:lnTo>
                    <a:lnTo>
                      <a:pt x="245" y="599"/>
                    </a:lnTo>
                    <a:lnTo>
                      <a:pt x="241" y="603"/>
                    </a:lnTo>
                    <a:lnTo>
                      <a:pt x="236" y="606"/>
                    </a:lnTo>
                    <a:lnTo>
                      <a:pt x="232" y="610"/>
                    </a:lnTo>
                    <a:lnTo>
                      <a:pt x="226" y="614"/>
                    </a:lnTo>
                    <a:lnTo>
                      <a:pt x="222" y="620"/>
                    </a:lnTo>
                    <a:lnTo>
                      <a:pt x="217" y="623"/>
                    </a:lnTo>
                    <a:lnTo>
                      <a:pt x="213" y="629"/>
                    </a:lnTo>
                    <a:lnTo>
                      <a:pt x="209" y="633"/>
                    </a:lnTo>
                    <a:lnTo>
                      <a:pt x="205" y="641"/>
                    </a:lnTo>
                    <a:lnTo>
                      <a:pt x="202" y="646"/>
                    </a:lnTo>
                    <a:lnTo>
                      <a:pt x="200" y="650"/>
                    </a:lnTo>
                    <a:lnTo>
                      <a:pt x="196" y="658"/>
                    </a:lnTo>
                    <a:lnTo>
                      <a:pt x="194" y="663"/>
                    </a:lnTo>
                    <a:lnTo>
                      <a:pt x="190" y="671"/>
                    </a:lnTo>
                    <a:lnTo>
                      <a:pt x="188" y="677"/>
                    </a:lnTo>
                    <a:lnTo>
                      <a:pt x="186" y="682"/>
                    </a:lnTo>
                    <a:lnTo>
                      <a:pt x="186" y="690"/>
                    </a:lnTo>
                    <a:lnTo>
                      <a:pt x="184" y="696"/>
                    </a:lnTo>
                    <a:lnTo>
                      <a:pt x="183" y="701"/>
                    </a:lnTo>
                    <a:lnTo>
                      <a:pt x="183" y="709"/>
                    </a:lnTo>
                    <a:lnTo>
                      <a:pt x="183" y="717"/>
                    </a:lnTo>
                    <a:lnTo>
                      <a:pt x="183" y="722"/>
                    </a:lnTo>
                    <a:lnTo>
                      <a:pt x="184" y="728"/>
                    </a:lnTo>
                    <a:lnTo>
                      <a:pt x="184" y="736"/>
                    </a:lnTo>
                    <a:lnTo>
                      <a:pt x="188" y="741"/>
                    </a:lnTo>
                    <a:lnTo>
                      <a:pt x="190" y="747"/>
                    </a:lnTo>
                    <a:lnTo>
                      <a:pt x="192" y="755"/>
                    </a:lnTo>
                    <a:lnTo>
                      <a:pt x="196" y="760"/>
                    </a:lnTo>
                    <a:lnTo>
                      <a:pt x="200" y="766"/>
                    </a:lnTo>
                    <a:lnTo>
                      <a:pt x="203" y="772"/>
                    </a:lnTo>
                    <a:lnTo>
                      <a:pt x="207" y="777"/>
                    </a:lnTo>
                    <a:lnTo>
                      <a:pt x="213" y="783"/>
                    </a:lnTo>
                    <a:lnTo>
                      <a:pt x="221" y="789"/>
                    </a:lnTo>
                    <a:lnTo>
                      <a:pt x="226" y="793"/>
                    </a:lnTo>
                    <a:lnTo>
                      <a:pt x="232" y="796"/>
                    </a:lnTo>
                    <a:lnTo>
                      <a:pt x="240" y="800"/>
                    </a:lnTo>
                    <a:lnTo>
                      <a:pt x="245" y="804"/>
                    </a:lnTo>
                    <a:lnTo>
                      <a:pt x="253" y="806"/>
                    </a:lnTo>
                    <a:lnTo>
                      <a:pt x="260" y="808"/>
                    </a:lnTo>
                    <a:lnTo>
                      <a:pt x="266" y="808"/>
                    </a:lnTo>
                    <a:lnTo>
                      <a:pt x="274" y="810"/>
                    </a:lnTo>
                    <a:lnTo>
                      <a:pt x="281" y="810"/>
                    </a:lnTo>
                    <a:lnTo>
                      <a:pt x="289" y="810"/>
                    </a:lnTo>
                    <a:lnTo>
                      <a:pt x="295" y="810"/>
                    </a:lnTo>
                    <a:lnTo>
                      <a:pt x="302" y="812"/>
                    </a:lnTo>
                    <a:lnTo>
                      <a:pt x="310" y="810"/>
                    </a:lnTo>
                    <a:lnTo>
                      <a:pt x="316" y="808"/>
                    </a:lnTo>
                    <a:lnTo>
                      <a:pt x="323" y="808"/>
                    </a:lnTo>
                    <a:lnTo>
                      <a:pt x="331" y="808"/>
                    </a:lnTo>
                    <a:lnTo>
                      <a:pt x="335" y="806"/>
                    </a:lnTo>
                    <a:lnTo>
                      <a:pt x="342" y="804"/>
                    </a:lnTo>
                    <a:lnTo>
                      <a:pt x="346" y="802"/>
                    </a:lnTo>
                    <a:lnTo>
                      <a:pt x="352" y="800"/>
                    </a:lnTo>
                    <a:lnTo>
                      <a:pt x="357" y="798"/>
                    </a:lnTo>
                    <a:lnTo>
                      <a:pt x="363" y="796"/>
                    </a:lnTo>
                    <a:lnTo>
                      <a:pt x="367" y="796"/>
                    </a:lnTo>
                    <a:lnTo>
                      <a:pt x="371" y="795"/>
                    </a:lnTo>
                    <a:lnTo>
                      <a:pt x="374" y="793"/>
                    </a:lnTo>
                    <a:lnTo>
                      <a:pt x="378" y="791"/>
                    </a:lnTo>
                    <a:lnTo>
                      <a:pt x="382" y="789"/>
                    </a:lnTo>
                    <a:lnTo>
                      <a:pt x="384" y="789"/>
                    </a:lnTo>
                    <a:lnTo>
                      <a:pt x="388" y="787"/>
                    </a:lnTo>
                    <a:lnTo>
                      <a:pt x="390" y="787"/>
                    </a:lnTo>
                    <a:lnTo>
                      <a:pt x="393" y="787"/>
                    </a:lnTo>
                    <a:lnTo>
                      <a:pt x="395" y="785"/>
                    </a:lnTo>
                    <a:lnTo>
                      <a:pt x="399" y="783"/>
                    </a:lnTo>
                    <a:lnTo>
                      <a:pt x="401" y="783"/>
                    </a:lnTo>
                    <a:lnTo>
                      <a:pt x="407" y="783"/>
                    </a:lnTo>
                    <a:lnTo>
                      <a:pt x="409" y="781"/>
                    </a:lnTo>
                    <a:lnTo>
                      <a:pt x="414" y="779"/>
                    </a:lnTo>
                    <a:lnTo>
                      <a:pt x="418" y="779"/>
                    </a:lnTo>
                    <a:lnTo>
                      <a:pt x="424" y="777"/>
                    </a:lnTo>
                    <a:lnTo>
                      <a:pt x="428" y="776"/>
                    </a:lnTo>
                    <a:lnTo>
                      <a:pt x="433" y="774"/>
                    </a:lnTo>
                    <a:lnTo>
                      <a:pt x="441" y="774"/>
                    </a:lnTo>
                    <a:lnTo>
                      <a:pt x="447" y="772"/>
                    </a:lnTo>
                    <a:lnTo>
                      <a:pt x="452" y="770"/>
                    </a:lnTo>
                    <a:lnTo>
                      <a:pt x="458" y="770"/>
                    </a:lnTo>
                    <a:lnTo>
                      <a:pt x="464" y="768"/>
                    </a:lnTo>
                    <a:lnTo>
                      <a:pt x="469" y="766"/>
                    </a:lnTo>
                    <a:lnTo>
                      <a:pt x="477" y="766"/>
                    </a:lnTo>
                    <a:lnTo>
                      <a:pt x="483" y="764"/>
                    </a:lnTo>
                    <a:lnTo>
                      <a:pt x="490" y="764"/>
                    </a:lnTo>
                    <a:lnTo>
                      <a:pt x="496" y="762"/>
                    </a:lnTo>
                    <a:lnTo>
                      <a:pt x="502" y="762"/>
                    </a:lnTo>
                    <a:lnTo>
                      <a:pt x="507" y="760"/>
                    </a:lnTo>
                    <a:lnTo>
                      <a:pt x="513" y="758"/>
                    </a:lnTo>
                    <a:lnTo>
                      <a:pt x="521" y="758"/>
                    </a:lnTo>
                    <a:lnTo>
                      <a:pt x="526" y="758"/>
                    </a:lnTo>
                    <a:lnTo>
                      <a:pt x="530" y="758"/>
                    </a:lnTo>
                    <a:lnTo>
                      <a:pt x="536" y="758"/>
                    </a:lnTo>
                    <a:lnTo>
                      <a:pt x="542" y="758"/>
                    </a:lnTo>
                    <a:lnTo>
                      <a:pt x="545" y="758"/>
                    </a:lnTo>
                    <a:lnTo>
                      <a:pt x="551" y="758"/>
                    </a:lnTo>
                    <a:lnTo>
                      <a:pt x="555" y="758"/>
                    </a:lnTo>
                    <a:lnTo>
                      <a:pt x="561" y="760"/>
                    </a:lnTo>
                    <a:lnTo>
                      <a:pt x="564" y="760"/>
                    </a:lnTo>
                    <a:lnTo>
                      <a:pt x="570" y="760"/>
                    </a:lnTo>
                    <a:lnTo>
                      <a:pt x="574" y="762"/>
                    </a:lnTo>
                    <a:lnTo>
                      <a:pt x="580" y="762"/>
                    </a:lnTo>
                    <a:lnTo>
                      <a:pt x="583" y="762"/>
                    </a:lnTo>
                    <a:lnTo>
                      <a:pt x="587" y="762"/>
                    </a:lnTo>
                    <a:lnTo>
                      <a:pt x="593" y="764"/>
                    </a:lnTo>
                    <a:lnTo>
                      <a:pt x="597" y="764"/>
                    </a:lnTo>
                    <a:lnTo>
                      <a:pt x="602" y="764"/>
                    </a:lnTo>
                    <a:lnTo>
                      <a:pt x="606" y="764"/>
                    </a:lnTo>
                    <a:lnTo>
                      <a:pt x="612" y="766"/>
                    </a:lnTo>
                    <a:lnTo>
                      <a:pt x="616" y="766"/>
                    </a:lnTo>
                    <a:lnTo>
                      <a:pt x="620" y="766"/>
                    </a:lnTo>
                    <a:lnTo>
                      <a:pt x="625" y="768"/>
                    </a:lnTo>
                    <a:lnTo>
                      <a:pt x="629" y="768"/>
                    </a:lnTo>
                    <a:lnTo>
                      <a:pt x="635" y="770"/>
                    </a:lnTo>
                    <a:lnTo>
                      <a:pt x="639" y="770"/>
                    </a:lnTo>
                    <a:lnTo>
                      <a:pt x="644" y="772"/>
                    </a:lnTo>
                    <a:lnTo>
                      <a:pt x="648" y="772"/>
                    </a:lnTo>
                    <a:lnTo>
                      <a:pt x="654" y="772"/>
                    </a:lnTo>
                    <a:lnTo>
                      <a:pt x="658" y="772"/>
                    </a:lnTo>
                    <a:lnTo>
                      <a:pt x="663" y="774"/>
                    </a:lnTo>
                    <a:lnTo>
                      <a:pt x="667" y="774"/>
                    </a:lnTo>
                    <a:lnTo>
                      <a:pt x="673" y="776"/>
                    </a:lnTo>
                    <a:lnTo>
                      <a:pt x="678" y="776"/>
                    </a:lnTo>
                    <a:lnTo>
                      <a:pt x="684" y="777"/>
                    </a:lnTo>
                    <a:lnTo>
                      <a:pt x="688" y="777"/>
                    </a:lnTo>
                    <a:lnTo>
                      <a:pt x="694" y="777"/>
                    </a:lnTo>
                    <a:lnTo>
                      <a:pt x="699" y="777"/>
                    </a:lnTo>
                    <a:lnTo>
                      <a:pt x="705" y="777"/>
                    </a:lnTo>
                    <a:lnTo>
                      <a:pt x="709" y="777"/>
                    </a:lnTo>
                    <a:lnTo>
                      <a:pt x="715" y="777"/>
                    </a:lnTo>
                    <a:lnTo>
                      <a:pt x="720" y="777"/>
                    </a:lnTo>
                    <a:lnTo>
                      <a:pt x="726" y="777"/>
                    </a:lnTo>
                    <a:lnTo>
                      <a:pt x="730" y="776"/>
                    </a:lnTo>
                    <a:lnTo>
                      <a:pt x="737" y="776"/>
                    </a:lnTo>
                    <a:lnTo>
                      <a:pt x="741" y="774"/>
                    </a:lnTo>
                    <a:lnTo>
                      <a:pt x="747" y="774"/>
                    </a:lnTo>
                    <a:lnTo>
                      <a:pt x="753" y="772"/>
                    </a:lnTo>
                    <a:lnTo>
                      <a:pt x="758" y="772"/>
                    </a:lnTo>
                    <a:lnTo>
                      <a:pt x="762" y="770"/>
                    </a:lnTo>
                    <a:lnTo>
                      <a:pt x="768" y="768"/>
                    </a:lnTo>
                    <a:lnTo>
                      <a:pt x="773" y="766"/>
                    </a:lnTo>
                    <a:lnTo>
                      <a:pt x="779" y="766"/>
                    </a:lnTo>
                    <a:lnTo>
                      <a:pt x="783" y="762"/>
                    </a:lnTo>
                    <a:lnTo>
                      <a:pt x="787" y="760"/>
                    </a:lnTo>
                    <a:lnTo>
                      <a:pt x="791" y="758"/>
                    </a:lnTo>
                    <a:lnTo>
                      <a:pt x="796" y="757"/>
                    </a:lnTo>
                    <a:lnTo>
                      <a:pt x="800" y="753"/>
                    </a:lnTo>
                    <a:lnTo>
                      <a:pt x="804" y="751"/>
                    </a:lnTo>
                    <a:lnTo>
                      <a:pt x="808" y="747"/>
                    </a:lnTo>
                    <a:lnTo>
                      <a:pt x="813" y="745"/>
                    </a:lnTo>
                    <a:lnTo>
                      <a:pt x="815" y="741"/>
                    </a:lnTo>
                    <a:lnTo>
                      <a:pt x="819" y="738"/>
                    </a:lnTo>
                    <a:lnTo>
                      <a:pt x="821" y="734"/>
                    </a:lnTo>
                    <a:lnTo>
                      <a:pt x="825" y="730"/>
                    </a:lnTo>
                    <a:lnTo>
                      <a:pt x="827" y="726"/>
                    </a:lnTo>
                    <a:lnTo>
                      <a:pt x="830" y="722"/>
                    </a:lnTo>
                    <a:lnTo>
                      <a:pt x="832" y="717"/>
                    </a:lnTo>
                    <a:lnTo>
                      <a:pt x="834" y="713"/>
                    </a:lnTo>
                    <a:lnTo>
                      <a:pt x="834" y="709"/>
                    </a:lnTo>
                    <a:lnTo>
                      <a:pt x="836" y="703"/>
                    </a:lnTo>
                    <a:lnTo>
                      <a:pt x="838" y="700"/>
                    </a:lnTo>
                    <a:lnTo>
                      <a:pt x="838" y="696"/>
                    </a:lnTo>
                    <a:lnTo>
                      <a:pt x="838" y="690"/>
                    </a:lnTo>
                    <a:lnTo>
                      <a:pt x="838" y="684"/>
                    </a:lnTo>
                    <a:lnTo>
                      <a:pt x="838" y="681"/>
                    </a:lnTo>
                    <a:lnTo>
                      <a:pt x="838" y="677"/>
                    </a:lnTo>
                    <a:lnTo>
                      <a:pt x="838" y="673"/>
                    </a:lnTo>
                    <a:lnTo>
                      <a:pt x="836" y="667"/>
                    </a:lnTo>
                    <a:lnTo>
                      <a:pt x="834" y="663"/>
                    </a:lnTo>
                    <a:lnTo>
                      <a:pt x="834" y="661"/>
                    </a:lnTo>
                    <a:lnTo>
                      <a:pt x="832" y="656"/>
                    </a:lnTo>
                    <a:lnTo>
                      <a:pt x="832" y="652"/>
                    </a:lnTo>
                    <a:lnTo>
                      <a:pt x="830" y="648"/>
                    </a:lnTo>
                    <a:lnTo>
                      <a:pt x="830" y="646"/>
                    </a:lnTo>
                    <a:lnTo>
                      <a:pt x="827" y="639"/>
                    </a:lnTo>
                    <a:lnTo>
                      <a:pt x="823" y="633"/>
                    </a:lnTo>
                    <a:lnTo>
                      <a:pt x="819" y="627"/>
                    </a:lnTo>
                    <a:lnTo>
                      <a:pt x="817" y="623"/>
                    </a:lnTo>
                    <a:lnTo>
                      <a:pt x="813" y="618"/>
                    </a:lnTo>
                    <a:lnTo>
                      <a:pt x="811" y="616"/>
                    </a:lnTo>
                    <a:lnTo>
                      <a:pt x="789" y="593"/>
                    </a:lnTo>
                    <a:lnTo>
                      <a:pt x="789" y="591"/>
                    </a:lnTo>
                    <a:lnTo>
                      <a:pt x="789" y="587"/>
                    </a:lnTo>
                    <a:lnTo>
                      <a:pt x="789" y="584"/>
                    </a:lnTo>
                    <a:lnTo>
                      <a:pt x="789" y="582"/>
                    </a:lnTo>
                    <a:lnTo>
                      <a:pt x="789" y="576"/>
                    </a:lnTo>
                    <a:lnTo>
                      <a:pt x="789" y="572"/>
                    </a:lnTo>
                    <a:lnTo>
                      <a:pt x="789" y="566"/>
                    </a:lnTo>
                    <a:lnTo>
                      <a:pt x="789" y="563"/>
                    </a:lnTo>
                    <a:lnTo>
                      <a:pt x="789" y="557"/>
                    </a:lnTo>
                    <a:lnTo>
                      <a:pt x="789" y="551"/>
                    </a:lnTo>
                    <a:lnTo>
                      <a:pt x="789" y="546"/>
                    </a:lnTo>
                    <a:lnTo>
                      <a:pt x="789" y="538"/>
                    </a:lnTo>
                    <a:lnTo>
                      <a:pt x="791" y="532"/>
                    </a:lnTo>
                    <a:lnTo>
                      <a:pt x="791" y="525"/>
                    </a:lnTo>
                    <a:lnTo>
                      <a:pt x="791" y="517"/>
                    </a:lnTo>
                    <a:lnTo>
                      <a:pt x="792" y="511"/>
                    </a:lnTo>
                    <a:lnTo>
                      <a:pt x="792" y="504"/>
                    </a:lnTo>
                    <a:lnTo>
                      <a:pt x="794" y="496"/>
                    </a:lnTo>
                    <a:lnTo>
                      <a:pt x="794" y="489"/>
                    </a:lnTo>
                    <a:lnTo>
                      <a:pt x="796" y="483"/>
                    </a:lnTo>
                    <a:lnTo>
                      <a:pt x="798" y="475"/>
                    </a:lnTo>
                    <a:lnTo>
                      <a:pt x="800" y="469"/>
                    </a:lnTo>
                    <a:lnTo>
                      <a:pt x="800" y="462"/>
                    </a:lnTo>
                    <a:lnTo>
                      <a:pt x="802" y="454"/>
                    </a:lnTo>
                    <a:lnTo>
                      <a:pt x="804" y="449"/>
                    </a:lnTo>
                    <a:lnTo>
                      <a:pt x="806" y="441"/>
                    </a:lnTo>
                    <a:lnTo>
                      <a:pt x="808" y="435"/>
                    </a:lnTo>
                    <a:lnTo>
                      <a:pt x="811" y="430"/>
                    </a:lnTo>
                    <a:lnTo>
                      <a:pt x="813" y="424"/>
                    </a:lnTo>
                    <a:lnTo>
                      <a:pt x="817" y="420"/>
                    </a:lnTo>
                    <a:lnTo>
                      <a:pt x="819" y="414"/>
                    </a:lnTo>
                    <a:lnTo>
                      <a:pt x="823" y="409"/>
                    </a:lnTo>
                    <a:lnTo>
                      <a:pt x="825" y="405"/>
                    </a:lnTo>
                    <a:lnTo>
                      <a:pt x="829" y="401"/>
                    </a:lnTo>
                    <a:lnTo>
                      <a:pt x="830" y="397"/>
                    </a:lnTo>
                    <a:lnTo>
                      <a:pt x="834" y="393"/>
                    </a:lnTo>
                    <a:lnTo>
                      <a:pt x="836" y="390"/>
                    </a:lnTo>
                    <a:lnTo>
                      <a:pt x="840" y="388"/>
                    </a:lnTo>
                    <a:lnTo>
                      <a:pt x="846" y="382"/>
                    </a:lnTo>
                    <a:lnTo>
                      <a:pt x="851" y="376"/>
                    </a:lnTo>
                    <a:lnTo>
                      <a:pt x="857" y="373"/>
                    </a:lnTo>
                    <a:lnTo>
                      <a:pt x="863" y="371"/>
                    </a:lnTo>
                    <a:lnTo>
                      <a:pt x="868" y="367"/>
                    </a:lnTo>
                    <a:lnTo>
                      <a:pt x="874" y="367"/>
                    </a:lnTo>
                    <a:lnTo>
                      <a:pt x="878" y="365"/>
                    </a:lnTo>
                    <a:lnTo>
                      <a:pt x="884" y="365"/>
                    </a:lnTo>
                    <a:lnTo>
                      <a:pt x="889" y="363"/>
                    </a:lnTo>
                    <a:lnTo>
                      <a:pt x="893" y="363"/>
                    </a:lnTo>
                    <a:lnTo>
                      <a:pt x="897" y="363"/>
                    </a:lnTo>
                    <a:lnTo>
                      <a:pt x="903" y="365"/>
                    </a:lnTo>
                    <a:lnTo>
                      <a:pt x="908" y="365"/>
                    </a:lnTo>
                    <a:lnTo>
                      <a:pt x="916" y="369"/>
                    </a:lnTo>
                    <a:lnTo>
                      <a:pt x="922" y="373"/>
                    </a:lnTo>
                    <a:lnTo>
                      <a:pt x="929" y="376"/>
                    </a:lnTo>
                    <a:lnTo>
                      <a:pt x="933" y="382"/>
                    </a:lnTo>
                    <a:lnTo>
                      <a:pt x="939" y="388"/>
                    </a:lnTo>
                    <a:lnTo>
                      <a:pt x="941" y="392"/>
                    </a:lnTo>
                    <a:lnTo>
                      <a:pt x="944" y="399"/>
                    </a:lnTo>
                    <a:lnTo>
                      <a:pt x="943" y="397"/>
                    </a:lnTo>
                    <a:lnTo>
                      <a:pt x="943" y="392"/>
                    </a:lnTo>
                    <a:lnTo>
                      <a:pt x="943" y="388"/>
                    </a:lnTo>
                    <a:lnTo>
                      <a:pt x="943" y="384"/>
                    </a:lnTo>
                    <a:lnTo>
                      <a:pt x="943" y="380"/>
                    </a:lnTo>
                    <a:lnTo>
                      <a:pt x="941" y="374"/>
                    </a:lnTo>
                    <a:lnTo>
                      <a:pt x="939" y="369"/>
                    </a:lnTo>
                    <a:lnTo>
                      <a:pt x="939" y="365"/>
                    </a:lnTo>
                    <a:lnTo>
                      <a:pt x="935" y="361"/>
                    </a:lnTo>
                    <a:lnTo>
                      <a:pt x="933" y="357"/>
                    </a:lnTo>
                    <a:lnTo>
                      <a:pt x="929" y="352"/>
                    </a:lnTo>
                    <a:lnTo>
                      <a:pt x="925" y="348"/>
                    </a:lnTo>
                    <a:lnTo>
                      <a:pt x="922" y="346"/>
                    </a:lnTo>
                    <a:lnTo>
                      <a:pt x="918" y="342"/>
                    </a:lnTo>
                    <a:lnTo>
                      <a:pt x="912" y="340"/>
                    </a:lnTo>
                    <a:lnTo>
                      <a:pt x="906" y="338"/>
                    </a:lnTo>
                    <a:lnTo>
                      <a:pt x="901" y="336"/>
                    </a:lnTo>
                    <a:lnTo>
                      <a:pt x="895" y="336"/>
                    </a:lnTo>
                    <a:lnTo>
                      <a:pt x="889" y="335"/>
                    </a:lnTo>
                    <a:lnTo>
                      <a:pt x="884" y="335"/>
                    </a:lnTo>
                    <a:lnTo>
                      <a:pt x="878" y="336"/>
                    </a:lnTo>
                    <a:lnTo>
                      <a:pt x="872" y="338"/>
                    </a:lnTo>
                    <a:lnTo>
                      <a:pt x="867" y="338"/>
                    </a:lnTo>
                    <a:lnTo>
                      <a:pt x="863" y="338"/>
                    </a:lnTo>
                    <a:lnTo>
                      <a:pt x="857" y="338"/>
                    </a:lnTo>
                    <a:lnTo>
                      <a:pt x="855" y="340"/>
                    </a:lnTo>
                    <a:lnTo>
                      <a:pt x="849" y="342"/>
                    </a:lnTo>
                    <a:lnTo>
                      <a:pt x="848" y="342"/>
                    </a:lnTo>
                    <a:lnTo>
                      <a:pt x="844" y="344"/>
                    </a:lnTo>
                    <a:lnTo>
                      <a:pt x="840" y="346"/>
                    </a:lnTo>
                    <a:lnTo>
                      <a:pt x="834" y="350"/>
                    </a:lnTo>
                    <a:lnTo>
                      <a:pt x="827" y="352"/>
                    </a:lnTo>
                    <a:lnTo>
                      <a:pt x="821" y="359"/>
                    </a:lnTo>
                    <a:lnTo>
                      <a:pt x="815" y="361"/>
                    </a:lnTo>
                    <a:lnTo>
                      <a:pt x="813" y="365"/>
                    </a:lnTo>
                    <a:lnTo>
                      <a:pt x="808" y="369"/>
                    </a:lnTo>
                    <a:lnTo>
                      <a:pt x="806" y="374"/>
                    </a:lnTo>
                    <a:lnTo>
                      <a:pt x="806" y="373"/>
                    </a:lnTo>
                    <a:lnTo>
                      <a:pt x="808" y="367"/>
                    </a:lnTo>
                    <a:lnTo>
                      <a:pt x="810" y="363"/>
                    </a:lnTo>
                    <a:lnTo>
                      <a:pt x="811" y="359"/>
                    </a:lnTo>
                    <a:lnTo>
                      <a:pt x="813" y="355"/>
                    </a:lnTo>
                    <a:lnTo>
                      <a:pt x="817" y="350"/>
                    </a:lnTo>
                    <a:lnTo>
                      <a:pt x="821" y="344"/>
                    </a:lnTo>
                    <a:lnTo>
                      <a:pt x="823" y="338"/>
                    </a:lnTo>
                    <a:lnTo>
                      <a:pt x="829" y="331"/>
                    </a:lnTo>
                    <a:lnTo>
                      <a:pt x="832" y="325"/>
                    </a:lnTo>
                    <a:lnTo>
                      <a:pt x="834" y="321"/>
                    </a:lnTo>
                    <a:lnTo>
                      <a:pt x="836" y="317"/>
                    </a:lnTo>
                    <a:lnTo>
                      <a:pt x="838" y="314"/>
                    </a:lnTo>
                    <a:lnTo>
                      <a:pt x="840" y="310"/>
                    </a:lnTo>
                    <a:lnTo>
                      <a:pt x="842" y="306"/>
                    </a:lnTo>
                    <a:lnTo>
                      <a:pt x="846" y="302"/>
                    </a:lnTo>
                    <a:lnTo>
                      <a:pt x="848" y="298"/>
                    </a:lnTo>
                    <a:lnTo>
                      <a:pt x="851" y="295"/>
                    </a:lnTo>
                    <a:lnTo>
                      <a:pt x="853" y="289"/>
                    </a:lnTo>
                    <a:lnTo>
                      <a:pt x="855" y="285"/>
                    </a:lnTo>
                    <a:lnTo>
                      <a:pt x="857" y="281"/>
                    </a:lnTo>
                    <a:lnTo>
                      <a:pt x="861" y="276"/>
                    </a:lnTo>
                    <a:lnTo>
                      <a:pt x="863" y="272"/>
                    </a:lnTo>
                    <a:lnTo>
                      <a:pt x="865" y="268"/>
                    </a:lnTo>
                    <a:lnTo>
                      <a:pt x="868" y="262"/>
                    </a:lnTo>
                    <a:lnTo>
                      <a:pt x="870" y="258"/>
                    </a:lnTo>
                    <a:lnTo>
                      <a:pt x="872" y="255"/>
                    </a:lnTo>
                    <a:lnTo>
                      <a:pt x="876" y="249"/>
                    </a:lnTo>
                    <a:lnTo>
                      <a:pt x="878" y="243"/>
                    </a:lnTo>
                    <a:lnTo>
                      <a:pt x="882" y="239"/>
                    </a:lnTo>
                    <a:lnTo>
                      <a:pt x="884" y="236"/>
                    </a:lnTo>
                    <a:lnTo>
                      <a:pt x="887" y="232"/>
                    </a:lnTo>
                    <a:lnTo>
                      <a:pt x="889" y="226"/>
                    </a:lnTo>
                    <a:lnTo>
                      <a:pt x="893" y="222"/>
                    </a:lnTo>
                    <a:lnTo>
                      <a:pt x="895" y="217"/>
                    </a:lnTo>
                    <a:lnTo>
                      <a:pt x="899" y="213"/>
                    </a:lnTo>
                    <a:lnTo>
                      <a:pt x="901" y="207"/>
                    </a:lnTo>
                    <a:lnTo>
                      <a:pt x="903" y="203"/>
                    </a:lnTo>
                    <a:lnTo>
                      <a:pt x="906" y="200"/>
                    </a:lnTo>
                    <a:lnTo>
                      <a:pt x="908" y="194"/>
                    </a:lnTo>
                    <a:lnTo>
                      <a:pt x="910" y="190"/>
                    </a:lnTo>
                    <a:lnTo>
                      <a:pt x="914" y="186"/>
                    </a:lnTo>
                    <a:lnTo>
                      <a:pt x="916" y="182"/>
                    </a:lnTo>
                    <a:lnTo>
                      <a:pt x="920" y="177"/>
                    </a:lnTo>
                    <a:lnTo>
                      <a:pt x="922" y="173"/>
                    </a:lnTo>
                    <a:lnTo>
                      <a:pt x="925" y="169"/>
                    </a:lnTo>
                    <a:lnTo>
                      <a:pt x="927" y="165"/>
                    </a:lnTo>
                    <a:lnTo>
                      <a:pt x="931" y="162"/>
                    </a:lnTo>
                    <a:lnTo>
                      <a:pt x="933" y="158"/>
                    </a:lnTo>
                    <a:lnTo>
                      <a:pt x="937" y="154"/>
                    </a:lnTo>
                    <a:lnTo>
                      <a:pt x="939" y="150"/>
                    </a:lnTo>
                    <a:lnTo>
                      <a:pt x="941" y="146"/>
                    </a:lnTo>
                    <a:lnTo>
                      <a:pt x="943" y="143"/>
                    </a:lnTo>
                    <a:lnTo>
                      <a:pt x="944" y="139"/>
                    </a:lnTo>
                    <a:lnTo>
                      <a:pt x="946" y="133"/>
                    </a:lnTo>
                    <a:lnTo>
                      <a:pt x="946" y="129"/>
                    </a:lnTo>
                    <a:lnTo>
                      <a:pt x="948" y="125"/>
                    </a:lnTo>
                    <a:lnTo>
                      <a:pt x="950" y="122"/>
                    </a:lnTo>
                    <a:lnTo>
                      <a:pt x="950" y="118"/>
                    </a:lnTo>
                    <a:lnTo>
                      <a:pt x="950" y="114"/>
                    </a:lnTo>
                    <a:lnTo>
                      <a:pt x="950" y="110"/>
                    </a:lnTo>
                    <a:lnTo>
                      <a:pt x="952" y="106"/>
                    </a:lnTo>
                    <a:lnTo>
                      <a:pt x="952" y="99"/>
                    </a:lnTo>
                    <a:lnTo>
                      <a:pt x="952" y="91"/>
                    </a:lnTo>
                    <a:lnTo>
                      <a:pt x="952" y="87"/>
                    </a:lnTo>
                    <a:lnTo>
                      <a:pt x="950" y="84"/>
                    </a:lnTo>
                    <a:lnTo>
                      <a:pt x="950" y="80"/>
                    </a:lnTo>
                    <a:lnTo>
                      <a:pt x="950" y="76"/>
                    </a:lnTo>
                    <a:lnTo>
                      <a:pt x="948" y="68"/>
                    </a:lnTo>
                    <a:lnTo>
                      <a:pt x="946" y="63"/>
                    </a:lnTo>
                    <a:lnTo>
                      <a:pt x="943" y="55"/>
                    </a:lnTo>
                    <a:lnTo>
                      <a:pt x="939" y="47"/>
                    </a:lnTo>
                    <a:lnTo>
                      <a:pt x="935" y="42"/>
                    </a:lnTo>
                    <a:lnTo>
                      <a:pt x="931" y="36"/>
                    </a:lnTo>
                    <a:lnTo>
                      <a:pt x="925" y="30"/>
                    </a:lnTo>
                    <a:lnTo>
                      <a:pt x="922" y="25"/>
                    </a:lnTo>
                    <a:lnTo>
                      <a:pt x="916" y="19"/>
                    </a:lnTo>
                    <a:lnTo>
                      <a:pt x="910" y="15"/>
                    </a:lnTo>
                    <a:lnTo>
                      <a:pt x="905" y="11"/>
                    </a:lnTo>
                    <a:lnTo>
                      <a:pt x="899" y="8"/>
                    </a:lnTo>
                    <a:lnTo>
                      <a:pt x="893" y="6"/>
                    </a:lnTo>
                    <a:lnTo>
                      <a:pt x="887" y="4"/>
                    </a:lnTo>
                    <a:lnTo>
                      <a:pt x="880" y="2"/>
                    </a:lnTo>
                    <a:lnTo>
                      <a:pt x="874" y="0"/>
                    </a:lnTo>
                    <a:lnTo>
                      <a:pt x="867" y="0"/>
                    </a:lnTo>
                    <a:lnTo>
                      <a:pt x="861" y="0"/>
                    </a:lnTo>
                    <a:lnTo>
                      <a:pt x="853" y="0"/>
                    </a:lnTo>
                    <a:lnTo>
                      <a:pt x="848" y="2"/>
                    </a:lnTo>
                    <a:lnTo>
                      <a:pt x="840" y="4"/>
                    </a:lnTo>
                    <a:lnTo>
                      <a:pt x="832" y="8"/>
                    </a:lnTo>
                    <a:lnTo>
                      <a:pt x="825" y="9"/>
                    </a:lnTo>
                    <a:lnTo>
                      <a:pt x="819" y="13"/>
                    </a:lnTo>
                    <a:lnTo>
                      <a:pt x="813" y="17"/>
                    </a:lnTo>
                    <a:lnTo>
                      <a:pt x="808" y="23"/>
                    </a:lnTo>
                    <a:lnTo>
                      <a:pt x="802" y="25"/>
                    </a:lnTo>
                    <a:lnTo>
                      <a:pt x="798" y="30"/>
                    </a:lnTo>
                    <a:lnTo>
                      <a:pt x="794" y="34"/>
                    </a:lnTo>
                    <a:lnTo>
                      <a:pt x="791" y="38"/>
                    </a:lnTo>
                    <a:lnTo>
                      <a:pt x="787" y="42"/>
                    </a:lnTo>
                    <a:lnTo>
                      <a:pt x="783" y="47"/>
                    </a:lnTo>
                    <a:lnTo>
                      <a:pt x="779" y="51"/>
                    </a:lnTo>
                    <a:lnTo>
                      <a:pt x="777" y="57"/>
                    </a:lnTo>
                    <a:lnTo>
                      <a:pt x="775" y="61"/>
                    </a:lnTo>
                    <a:lnTo>
                      <a:pt x="773" y="65"/>
                    </a:lnTo>
                    <a:lnTo>
                      <a:pt x="772" y="70"/>
                    </a:lnTo>
                    <a:lnTo>
                      <a:pt x="772" y="74"/>
                    </a:lnTo>
                    <a:lnTo>
                      <a:pt x="770" y="80"/>
                    </a:lnTo>
                    <a:lnTo>
                      <a:pt x="768" y="84"/>
                    </a:lnTo>
                    <a:lnTo>
                      <a:pt x="766" y="87"/>
                    </a:lnTo>
                    <a:lnTo>
                      <a:pt x="766" y="91"/>
                    </a:lnTo>
                    <a:lnTo>
                      <a:pt x="766" y="97"/>
                    </a:lnTo>
                    <a:lnTo>
                      <a:pt x="766" y="101"/>
                    </a:lnTo>
                    <a:lnTo>
                      <a:pt x="766" y="105"/>
                    </a:lnTo>
                    <a:lnTo>
                      <a:pt x="766" y="108"/>
                    </a:lnTo>
                    <a:lnTo>
                      <a:pt x="766" y="116"/>
                    </a:lnTo>
                    <a:lnTo>
                      <a:pt x="766" y="122"/>
                    </a:lnTo>
                    <a:lnTo>
                      <a:pt x="766" y="127"/>
                    </a:lnTo>
                    <a:lnTo>
                      <a:pt x="768" y="133"/>
                    </a:lnTo>
                    <a:lnTo>
                      <a:pt x="768" y="137"/>
                    </a:lnTo>
                    <a:lnTo>
                      <a:pt x="770" y="141"/>
                    </a:lnTo>
                    <a:lnTo>
                      <a:pt x="772" y="146"/>
                    </a:lnTo>
                    <a:lnTo>
                      <a:pt x="773" y="150"/>
                    </a:lnTo>
                    <a:lnTo>
                      <a:pt x="775" y="154"/>
                    </a:lnTo>
                    <a:lnTo>
                      <a:pt x="779" y="156"/>
                    </a:lnTo>
                    <a:lnTo>
                      <a:pt x="781" y="160"/>
                    </a:lnTo>
                    <a:lnTo>
                      <a:pt x="785" y="163"/>
                    </a:lnTo>
                    <a:lnTo>
                      <a:pt x="789" y="167"/>
                    </a:lnTo>
                    <a:lnTo>
                      <a:pt x="791" y="169"/>
                    </a:lnTo>
                    <a:lnTo>
                      <a:pt x="796" y="171"/>
                    </a:lnTo>
                    <a:lnTo>
                      <a:pt x="800" y="175"/>
                    </a:lnTo>
                    <a:lnTo>
                      <a:pt x="804" y="175"/>
                    </a:lnTo>
                    <a:lnTo>
                      <a:pt x="808" y="177"/>
                    </a:lnTo>
                    <a:lnTo>
                      <a:pt x="813" y="177"/>
                    </a:lnTo>
                    <a:lnTo>
                      <a:pt x="817" y="177"/>
                    </a:lnTo>
                    <a:lnTo>
                      <a:pt x="810" y="87"/>
                    </a:lnTo>
                    <a:lnTo>
                      <a:pt x="857" y="51"/>
                    </a:lnTo>
                    <a:lnTo>
                      <a:pt x="903" y="65"/>
                    </a:lnTo>
                    <a:lnTo>
                      <a:pt x="905" y="66"/>
                    </a:lnTo>
                    <a:lnTo>
                      <a:pt x="908" y="72"/>
                    </a:lnTo>
                    <a:lnTo>
                      <a:pt x="908" y="76"/>
                    </a:lnTo>
                    <a:lnTo>
                      <a:pt x="910" y="80"/>
                    </a:lnTo>
                    <a:lnTo>
                      <a:pt x="912" y="85"/>
                    </a:lnTo>
                    <a:lnTo>
                      <a:pt x="914" y="91"/>
                    </a:lnTo>
                    <a:lnTo>
                      <a:pt x="914" y="99"/>
                    </a:lnTo>
                    <a:lnTo>
                      <a:pt x="914" y="105"/>
                    </a:lnTo>
                    <a:lnTo>
                      <a:pt x="914" y="108"/>
                    </a:lnTo>
                    <a:lnTo>
                      <a:pt x="912" y="112"/>
                    </a:lnTo>
                    <a:lnTo>
                      <a:pt x="912" y="116"/>
                    </a:lnTo>
                    <a:lnTo>
                      <a:pt x="910" y="122"/>
                    </a:lnTo>
                    <a:lnTo>
                      <a:pt x="908" y="125"/>
                    </a:lnTo>
                    <a:lnTo>
                      <a:pt x="908" y="129"/>
                    </a:lnTo>
                    <a:lnTo>
                      <a:pt x="906" y="133"/>
                    </a:lnTo>
                    <a:lnTo>
                      <a:pt x="903" y="139"/>
                    </a:lnTo>
                    <a:lnTo>
                      <a:pt x="901" y="143"/>
                    </a:lnTo>
                    <a:lnTo>
                      <a:pt x="897" y="148"/>
                    </a:lnTo>
                    <a:lnTo>
                      <a:pt x="893" y="152"/>
                    </a:lnTo>
                    <a:lnTo>
                      <a:pt x="889" y="158"/>
                    </a:lnTo>
                    <a:lnTo>
                      <a:pt x="886" y="162"/>
                    </a:lnTo>
                    <a:lnTo>
                      <a:pt x="880" y="165"/>
                    </a:lnTo>
                    <a:lnTo>
                      <a:pt x="876" y="171"/>
                    </a:lnTo>
                    <a:lnTo>
                      <a:pt x="872" y="175"/>
                    </a:lnTo>
                    <a:lnTo>
                      <a:pt x="867" y="179"/>
                    </a:lnTo>
                    <a:lnTo>
                      <a:pt x="863" y="182"/>
                    </a:lnTo>
                    <a:lnTo>
                      <a:pt x="859" y="188"/>
                    </a:lnTo>
                    <a:lnTo>
                      <a:pt x="855" y="192"/>
                    </a:lnTo>
                    <a:lnTo>
                      <a:pt x="851" y="196"/>
                    </a:lnTo>
                    <a:lnTo>
                      <a:pt x="848" y="200"/>
                    </a:lnTo>
                    <a:lnTo>
                      <a:pt x="842" y="205"/>
                    </a:lnTo>
                    <a:lnTo>
                      <a:pt x="838" y="209"/>
                    </a:lnTo>
                    <a:lnTo>
                      <a:pt x="834" y="213"/>
                    </a:lnTo>
                    <a:lnTo>
                      <a:pt x="830" y="217"/>
                    </a:lnTo>
                    <a:lnTo>
                      <a:pt x="827" y="222"/>
                    </a:lnTo>
                    <a:lnTo>
                      <a:pt x="823" y="226"/>
                    </a:lnTo>
                    <a:lnTo>
                      <a:pt x="819" y="230"/>
                    </a:lnTo>
                    <a:lnTo>
                      <a:pt x="815" y="234"/>
                    </a:lnTo>
                    <a:lnTo>
                      <a:pt x="811" y="239"/>
                    </a:lnTo>
                    <a:lnTo>
                      <a:pt x="808" y="245"/>
                    </a:lnTo>
                    <a:lnTo>
                      <a:pt x="804" y="249"/>
                    </a:lnTo>
                    <a:lnTo>
                      <a:pt x="800" y="255"/>
                    </a:lnTo>
                    <a:lnTo>
                      <a:pt x="798" y="260"/>
                    </a:lnTo>
                    <a:lnTo>
                      <a:pt x="794" y="266"/>
                    </a:lnTo>
                    <a:lnTo>
                      <a:pt x="791" y="274"/>
                    </a:lnTo>
                    <a:lnTo>
                      <a:pt x="789" y="279"/>
                    </a:lnTo>
                    <a:lnTo>
                      <a:pt x="785" y="285"/>
                    </a:lnTo>
                    <a:lnTo>
                      <a:pt x="781" y="293"/>
                    </a:lnTo>
                    <a:lnTo>
                      <a:pt x="779" y="300"/>
                    </a:lnTo>
                    <a:lnTo>
                      <a:pt x="775" y="308"/>
                    </a:lnTo>
                    <a:lnTo>
                      <a:pt x="773" y="312"/>
                    </a:lnTo>
                    <a:lnTo>
                      <a:pt x="772" y="316"/>
                    </a:lnTo>
                    <a:lnTo>
                      <a:pt x="772" y="319"/>
                    </a:lnTo>
                    <a:lnTo>
                      <a:pt x="770" y="325"/>
                    </a:lnTo>
                    <a:lnTo>
                      <a:pt x="770" y="319"/>
                    </a:lnTo>
                    <a:lnTo>
                      <a:pt x="770" y="314"/>
                    </a:lnTo>
                    <a:lnTo>
                      <a:pt x="770" y="310"/>
                    </a:lnTo>
                    <a:lnTo>
                      <a:pt x="770" y="306"/>
                    </a:lnTo>
                    <a:lnTo>
                      <a:pt x="770" y="300"/>
                    </a:lnTo>
                    <a:lnTo>
                      <a:pt x="770" y="297"/>
                    </a:lnTo>
                    <a:lnTo>
                      <a:pt x="770" y="295"/>
                    </a:lnTo>
                    <a:lnTo>
                      <a:pt x="770" y="291"/>
                    </a:lnTo>
                    <a:lnTo>
                      <a:pt x="770" y="283"/>
                    </a:lnTo>
                    <a:lnTo>
                      <a:pt x="772" y="277"/>
                    </a:lnTo>
                    <a:lnTo>
                      <a:pt x="773" y="272"/>
                    </a:lnTo>
                    <a:lnTo>
                      <a:pt x="775" y="264"/>
                    </a:lnTo>
                    <a:lnTo>
                      <a:pt x="777" y="258"/>
                    </a:lnTo>
                    <a:lnTo>
                      <a:pt x="779" y="251"/>
                    </a:lnTo>
                    <a:lnTo>
                      <a:pt x="783" y="243"/>
                    </a:lnTo>
                    <a:lnTo>
                      <a:pt x="789" y="238"/>
                    </a:lnTo>
                    <a:lnTo>
                      <a:pt x="791" y="232"/>
                    </a:lnTo>
                    <a:lnTo>
                      <a:pt x="792" y="228"/>
                    </a:lnTo>
                    <a:lnTo>
                      <a:pt x="794" y="224"/>
                    </a:lnTo>
                    <a:lnTo>
                      <a:pt x="798" y="220"/>
                    </a:lnTo>
                    <a:lnTo>
                      <a:pt x="800" y="215"/>
                    </a:lnTo>
                    <a:lnTo>
                      <a:pt x="804" y="211"/>
                    </a:lnTo>
                    <a:lnTo>
                      <a:pt x="808" y="205"/>
                    </a:lnTo>
                    <a:lnTo>
                      <a:pt x="811" y="201"/>
                    </a:lnTo>
                    <a:lnTo>
                      <a:pt x="808" y="201"/>
                    </a:lnTo>
                    <a:lnTo>
                      <a:pt x="806" y="201"/>
                    </a:lnTo>
                    <a:lnTo>
                      <a:pt x="800" y="203"/>
                    </a:lnTo>
                    <a:lnTo>
                      <a:pt x="796" y="207"/>
                    </a:lnTo>
                    <a:lnTo>
                      <a:pt x="791" y="209"/>
                    </a:lnTo>
                    <a:lnTo>
                      <a:pt x="787" y="213"/>
                    </a:lnTo>
                    <a:lnTo>
                      <a:pt x="781" y="215"/>
                    </a:lnTo>
                    <a:lnTo>
                      <a:pt x="777" y="220"/>
                    </a:lnTo>
                    <a:lnTo>
                      <a:pt x="772" y="224"/>
                    </a:lnTo>
                    <a:lnTo>
                      <a:pt x="766" y="230"/>
                    </a:lnTo>
                    <a:lnTo>
                      <a:pt x="762" y="234"/>
                    </a:lnTo>
                    <a:lnTo>
                      <a:pt x="758" y="241"/>
                    </a:lnTo>
                    <a:lnTo>
                      <a:pt x="754" y="247"/>
                    </a:lnTo>
                    <a:lnTo>
                      <a:pt x="751" y="255"/>
                    </a:lnTo>
                    <a:lnTo>
                      <a:pt x="749" y="257"/>
                    </a:lnTo>
                    <a:lnTo>
                      <a:pt x="749" y="260"/>
                    </a:lnTo>
                    <a:lnTo>
                      <a:pt x="747" y="264"/>
                    </a:lnTo>
                    <a:lnTo>
                      <a:pt x="747" y="270"/>
                    </a:lnTo>
                    <a:lnTo>
                      <a:pt x="747" y="274"/>
                    </a:lnTo>
                    <a:lnTo>
                      <a:pt x="747" y="276"/>
                    </a:lnTo>
                    <a:lnTo>
                      <a:pt x="747" y="281"/>
                    </a:lnTo>
                    <a:lnTo>
                      <a:pt x="749" y="283"/>
                    </a:lnTo>
                    <a:lnTo>
                      <a:pt x="749" y="289"/>
                    </a:lnTo>
                    <a:lnTo>
                      <a:pt x="749" y="295"/>
                    </a:lnTo>
                    <a:lnTo>
                      <a:pt x="751" y="300"/>
                    </a:lnTo>
                    <a:lnTo>
                      <a:pt x="751" y="306"/>
                    </a:lnTo>
                    <a:lnTo>
                      <a:pt x="753" y="312"/>
                    </a:lnTo>
                    <a:lnTo>
                      <a:pt x="753" y="319"/>
                    </a:lnTo>
                    <a:lnTo>
                      <a:pt x="753" y="325"/>
                    </a:lnTo>
                    <a:lnTo>
                      <a:pt x="753" y="329"/>
                    </a:lnTo>
                    <a:lnTo>
                      <a:pt x="753" y="333"/>
                    </a:lnTo>
                    <a:lnTo>
                      <a:pt x="754" y="336"/>
                    </a:lnTo>
                    <a:lnTo>
                      <a:pt x="754" y="340"/>
                    </a:lnTo>
                    <a:lnTo>
                      <a:pt x="754" y="344"/>
                    </a:lnTo>
                    <a:lnTo>
                      <a:pt x="754" y="348"/>
                    </a:lnTo>
                    <a:lnTo>
                      <a:pt x="754" y="352"/>
                    </a:lnTo>
                    <a:lnTo>
                      <a:pt x="754" y="357"/>
                    </a:lnTo>
                    <a:lnTo>
                      <a:pt x="754" y="361"/>
                    </a:lnTo>
                    <a:lnTo>
                      <a:pt x="754" y="367"/>
                    </a:lnTo>
                    <a:lnTo>
                      <a:pt x="754" y="373"/>
                    </a:lnTo>
                    <a:lnTo>
                      <a:pt x="754" y="378"/>
                    </a:lnTo>
                    <a:lnTo>
                      <a:pt x="754" y="384"/>
                    </a:lnTo>
                    <a:lnTo>
                      <a:pt x="754" y="390"/>
                    </a:lnTo>
                    <a:lnTo>
                      <a:pt x="754" y="395"/>
                    </a:lnTo>
                    <a:lnTo>
                      <a:pt x="754" y="401"/>
                    </a:lnTo>
                    <a:lnTo>
                      <a:pt x="754" y="407"/>
                    </a:lnTo>
                    <a:lnTo>
                      <a:pt x="754" y="414"/>
                    </a:lnTo>
                    <a:lnTo>
                      <a:pt x="754" y="420"/>
                    </a:lnTo>
                    <a:lnTo>
                      <a:pt x="754" y="426"/>
                    </a:lnTo>
                    <a:lnTo>
                      <a:pt x="754" y="431"/>
                    </a:lnTo>
                    <a:lnTo>
                      <a:pt x="754" y="437"/>
                    </a:lnTo>
                    <a:lnTo>
                      <a:pt x="754" y="445"/>
                    </a:lnTo>
                    <a:lnTo>
                      <a:pt x="754" y="450"/>
                    </a:lnTo>
                    <a:lnTo>
                      <a:pt x="754" y="456"/>
                    </a:lnTo>
                    <a:lnTo>
                      <a:pt x="754" y="462"/>
                    </a:lnTo>
                    <a:lnTo>
                      <a:pt x="754" y="468"/>
                    </a:lnTo>
                    <a:lnTo>
                      <a:pt x="754" y="473"/>
                    </a:lnTo>
                    <a:lnTo>
                      <a:pt x="754" y="479"/>
                    </a:lnTo>
                    <a:lnTo>
                      <a:pt x="754" y="483"/>
                    </a:lnTo>
                    <a:lnTo>
                      <a:pt x="754" y="489"/>
                    </a:lnTo>
                    <a:lnTo>
                      <a:pt x="754" y="492"/>
                    </a:lnTo>
                    <a:lnTo>
                      <a:pt x="754" y="498"/>
                    </a:lnTo>
                    <a:lnTo>
                      <a:pt x="754" y="502"/>
                    </a:lnTo>
                    <a:lnTo>
                      <a:pt x="754" y="506"/>
                    </a:lnTo>
                    <a:lnTo>
                      <a:pt x="754" y="509"/>
                    </a:lnTo>
                    <a:lnTo>
                      <a:pt x="754" y="515"/>
                    </a:lnTo>
                    <a:lnTo>
                      <a:pt x="754" y="523"/>
                    </a:lnTo>
                    <a:lnTo>
                      <a:pt x="754" y="527"/>
                    </a:lnTo>
                    <a:lnTo>
                      <a:pt x="754" y="530"/>
                    </a:lnTo>
                    <a:lnTo>
                      <a:pt x="754" y="534"/>
                    </a:lnTo>
                    <a:lnTo>
                      <a:pt x="754" y="538"/>
                    </a:lnTo>
                    <a:lnTo>
                      <a:pt x="754" y="542"/>
                    </a:lnTo>
                    <a:lnTo>
                      <a:pt x="754" y="546"/>
                    </a:lnTo>
                    <a:lnTo>
                      <a:pt x="754" y="549"/>
                    </a:lnTo>
                    <a:lnTo>
                      <a:pt x="756" y="553"/>
                    </a:lnTo>
                    <a:lnTo>
                      <a:pt x="756" y="557"/>
                    </a:lnTo>
                    <a:lnTo>
                      <a:pt x="756" y="561"/>
                    </a:lnTo>
                    <a:lnTo>
                      <a:pt x="756" y="565"/>
                    </a:lnTo>
                    <a:lnTo>
                      <a:pt x="758" y="568"/>
                    </a:lnTo>
                    <a:lnTo>
                      <a:pt x="758" y="574"/>
                    </a:lnTo>
                    <a:lnTo>
                      <a:pt x="760" y="582"/>
                    </a:lnTo>
                    <a:lnTo>
                      <a:pt x="760" y="587"/>
                    </a:lnTo>
                    <a:lnTo>
                      <a:pt x="760" y="595"/>
                    </a:lnTo>
                    <a:lnTo>
                      <a:pt x="760" y="599"/>
                    </a:lnTo>
                    <a:lnTo>
                      <a:pt x="762" y="604"/>
                    </a:lnTo>
                    <a:lnTo>
                      <a:pt x="762" y="606"/>
                    </a:lnTo>
                    <a:lnTo>
                      <a:pt x="762" y="612"/>
                    </a:lnTo>
                    <a:lnTo>
                      <a:pt x="762" y="614"/>
                    </a:lnTo>
                    <a:lnTo>
                      <a:pt x="762" y="616"/>
                    </a:lnTo>
                    <a:lnTo>
                      <a:pt x="762" y="622"/>
                    </a:lnTo>
                    <a:lnTo>
                      <a:pt x="762" y="625"/>
                    </a:lnTo>
                    <a:lnTo>
                      <a:pt x="762" y="629"/>
                    </a:lnTo>
                    <a:lnTo>
                      <a:pt x="762" y="633"/>
                    </a:lnTo>
                    <a:lnTo>
                      <a:pt x="762" y="639"/>
                    </a:lnTo>
                    <a:lnTo>
                      <a:pt x="762" y="642"/>
                    </a:lnTo>
                    <a:lnTo>
                      <a:pt x="762" y="646"/>
                    </a:lnTo>
                    <a:lnTo>
                      <a:pt x="760" y="650"/>
                    </a:lnTo>
                    <a:lnTo>
                      <a:pt x="760" y="656"/>
                    </a:lnTo>
                    <a:lnTo>
                      <a:pt x="760" y="660"/>
                    </a:lnTo>
                    <a:lnTo>
                      <a:pt x="758" y="663"/>
                    </a:lnTo>
                    <a:lnTo>
                      <a:pt x="756" y="667"/>
                    </a:lnTo>
                    <a:lnTo>
                      <a:pt x="756" y="669"/>
                    </a:lnTo>
                    <a:lnTo>
                      <a:pt x="754" y="673"/>
                    </a:lnTo>
                    <a:lnTo>
                      <a:pt x="749" y="677"/>
                    </a:lnTo>
                    <a:lnTo>
                      <a:pt x="743" y="681"/>
                    </a:lnTo>
                    <a:lnTo>
                      <a:pt x="739" y="682"/>
                    </a:lnTo>
                    <a:lnTo>
                      <a:pt x="734" y="682"/>
                    </a:lnTo>
                    <a:lnTo>
                      <a:pt x="730" y="684"/>
                    </a:lnTo>
                    <a:lnTo>
                      <a:pt x="726" y="686"/>
                    </a:lnTo>
                    <a:lnTo>
                      <a:pt x="720" y="686"/>
                    </a:lnTo>
                    <a:lnTo>
                      <a:pt x="716" y="688"/>
                    </a:lnTo>
                    <a:lnTo>
                      <a:pt x="711" y="688"/>
                    </a:lnTo>
                    <a:lnTo>
                      <a:pt x="707" y="688"/>
                    </a:lnTo>
                    <a:lnTo>
                      <a:pt x="701" y="688"/>
                    </a:lnTo>
                    <a:lnTo>
                      <a:pt x="696" y="688"/>
                    </a:lnTo>
                    <a:lnTo>
                      <a:pt x="690" y="688"/>
                    </a:lnTo>
                    <a:lnTo>
                      <a:pt x="686" y="688"/>
                    </a:lnTo>
                    <a:lnTo>
                      <a:pt x="678" y="688"/>
                    </a:lnTo>
                    <a:lnTo>
                      <a:pt x="673" y="686"/>
                    </a:lnTo>
                    <a:lnTo>
                      <a:pt x="669" y="686"/>
                    </a:lnTo>
                    <a:lnTo>
                      <a:pt x="665" y="684"/>
                    </a:lnTo>
                    <a:lnTo>
                      <a:pt x="661" y="684"/>
                    </a:lnTo>
                    <a:lnTo>
                      <a:pt x="658" y="682"/>
                    </a:lnTo>
                    <a:lnTo>
                      <a:pt x="654" y="682"/>
                    </a:lnTo>
                    <a:lnTo>
                      <a:pt x="652" y="681"/>
                    </a:lnTo>
                    <a:lnTo>
                      <a:pt x="644" y="677"/>
                    </a:lnTo>
                    <a:lnTo>
                      <a:pt x="640" y="675"/>
                    </a:lnTo>
                    <a:lnTo>
                      <a:pt x="637" y="673"/>
                    </a:lnTo>
                    <a:lnTo>
                      <a:pt x="633" y="671"/>
                    </a:lnTo>
                    <a:lnTo>
                      <a:pt x="627" y="667"/>
                    </a:lnTo>
                    <a:lnTo>
                      <a:pt x="621" y="665"/>
                    </a:lnTo>
                    <a:lnTo>
                      <a:pt x="620" y="665"/>
                    </a:lnTo>
                    <a:lnTo>
                      <a:pt x="616" y="663"/>
                    </a:lnTo>
                    <a:lnTo>
                      <a:pt x="612" y="663"/>
                    </a:lnTo>
                    <a:lnTo>
                      <a:pt x="608" y="663"/>
                    </a:lnTo>
                    <a:lnTo>
                      <a:pt x="602" y="663"/>
                    </a:lnTo>
                    <a:lnTo>
                      <a:pt x="599" y="663"/>
                    </a:lnTo>
                    <a:lnTo>
                      <a:pt x="593" y="663"/>
                    </a:lnTo>
                    <a:lnTo>
                      <a:pt x="587" y="663"/>
                    </a:lnTo>
                    <a:lnTo>
                      <a:pt x="580" y="663"/>
                    </a:lnTo>
                    <a:lnTo>
                      <a:pt x="574" y="663"/>
                    </a:lnTo>
                    <a:lnTo>
                      <a:pt x="570" y="663"/>
                    </a:lnTo>
                    <a:lnTo>
                      <a:pt x="566" y="665"/>
                    </a:lnTo>
                    <a:lnTo>
                      <a:pt x="563" y="665"/>
                    </a:lnTo>
                    <a:lnTo>
                      <a:pt x="559" y="667"/>
                    </a:lnTo>
                    <a:lnTo>
                      <a:pt x="553" y="667"/>
                    </a:lnTo>
                    <a:lnTo>
                      <a:pt x="551" y="667"/>
                    </a:lnTo>
                    <a:lnTo>
                      <a:pt x="545" y="667"/>
                    </a:lnTo>
                    <a:lnTo>
                      <a:pt x="544" y="669"/>
                    </a:lnTo>
                    <a:lnTo>
                      <a:pt x="538" y="671"/>
                    </a:lnTo>
                    <a:lnTo>
                      <a:pt x="534" y="671"/>
                    </a:lnTo>
                    <a:lnTo>
                      <a:pt x="530" y="673"/>
                    </a:lnTo>
                    <a:lnTo>
                      <a:pt x="526" y="675"/>
                    </a:lnTo>
                    <a:lnTo>
                      <a:pt x="525" y="675"/>
                    </a:lnTo>
                    <a:lnTo>
                      <a:pt x="521" y="677"/>
                    </a:lnTo>
                    <a:lnTo>
                      <a:pt x="517" y="677"/>
                    </a:lnTo>
                    <a:lnTo>
                      <a:pt x="513" y="679"/>
                    </a:lnTo>
                    <a:lnTo>
                      <a:pt x="509" y="679"/>
                    </a:lnTo>
                    <a:lnTo>
                      <a:pt x="506" y="681"/>
                    </a:lnTo>
                    <a:lnTo>
                      <a:pt x="502" y="681"/>
                    </a:lnTo>
                    <a:lnTo>
                      <a:pt x="498" y="681"/>
                    </a:lnTo>
                    <a:lnTo>
                      <a:pt x="494" y="681"/>
                    </a:lnTo>
                    <a:lnTo>
                      <a:pt x="492" y="682"/>
                    </a:lnTo>
                    <a:lnTo>
                      <a:pt x="487" y="682"/>
                    </a:lnTo>
                    <a:lnTo>
                      <a:pt x="483" y="682"/>
                    </a:lnTo>
                    <a:lnTo>
                      <a:pt x="477" y="682"/>
                    </a:lnTo>
                    <a:lnTo>
                      <a:pt x="471" y="682"/>
                    </a:lnTo>
                    <a:lnTo>
                      <a:pt x="466" y="682"/>
                    </a:lnTo>
                    <a:lnTo>
                      <a:pt x="460" y="682"/>
                    </a:lnTo>
                    <a:lnTo>
                      <a:pt x="454" y="682"/>
                    </a:lnTo>
                    <a:lnTo>
                      <a:pt x="450" y="682"/>
                    </a:lnTo>
                    <a:lnTo>
                      <a:pt x="447" y="681"/>
                    </a:lnTo>
                    <a:lnTo>
                      <a:pt x="443" y="681"/>
                    </a:lnTo>
                    <a:lnTo>
                      <a:pt x="439" y="681"/>
                    </a:lnTo>
                    <a:lnTo>
                      <a:pt x="435" y="681"/>
                    </a:lnTo>
                    <a:lnTo>
                      <a:pt x="430" y="677"/>
                    </a:lnTo>
                    <a:lnTo>
                      <a:pt x="424" y="675"/>
                    </a:lnTo>
                    <a:lnTo>
                      <a:pt x="418" y="671"/>
                    </a:lnTo>
                    <a:lnTo>
                      <a:pt x="416" y="669"/>
                    </a:lnTo>
                    <a:lnTo>
                      <a:pt x="411" y="663"/>
                    </a:lnTo>
                    <a:lnTo>
                      <a:pt x="409" y="660"/>
                    </a:lnTo>
                    <a:lnTo>
                      <a:pt x="407" y="654"/>
                    </a:lnTo>
                    <a:lnTo>
                      <a:pt x="405" y="648"/>
                    </a:lnTo>
                    <a:lnTo>
                      <a:pt x="403" y="646"/>
                    </a:lnTo>
                    <a:lnTo>
                      <a:pt x="401" y="642"/>
                    </a:lnTo>
                    <a:lnTo>
                      <a:pt x="401" y="639"/>
                    </a:lnTo>
                    <a:lnTo>
                      <a:pt x="399" y="635"/>
                    </a:lnTo>
                    <a:lnTo>
                      <a:pt x="399" y="631"/>
                    </a:lnTo>
                    <a:lnTo>
                      <a:pt x="397" y="627"/>
                    </a:lnTo>
                    <a:lnTo>
                      <a:pt x="397" y="622"/>
                    </a:lnTo>
                    <a:lnTo>
                      <a:pt x="395" y="620"/>
                    </a:lnTo>
                    <a:lnTo>
                      <a:pt x="393" y="614"/>
                    </a:lnTo>
                    <a:lnTo>
                      <a:pt x="393" y="608"/>
                    </a:lnTo>
                    <a:lnTo>
                      <a:pt x="392" y="604"/>
                    </a:lnTo>
                    <a:lnTo>
                      <a:pt x="392" y="599"/>
                    </a:lnTo>
                    <a:lnTo>
                      <a:pt x="390" y="595"/>
                    </a:lnTo>
                    <a:lnTo>
                      <a:pt x="390" y="589"/>
                    </a:lnTo>
                    <a:lnTo>
                      <a:pt x="388" y="585"/>
                    </a:lnTo>
                    <a:lnTo>
                      <a:pt x="388" y="582"/>
                    </a:lnTo>
                    <a:lnTo>
                      <a:pt x="386" y="576"/>
                    </a:lnTo>
                    <a:lnTo>
                      <a:pt x="386" y="572"/>
                    </a:lnTo>
                    <a:lnTo>
                      <a:pt x="384" y="566"/>
                    </a:lnTo>
                    <a:lnTo>
                      <a:pt x="384" y="563"/>
                    </a:lnTo>
                    <a:lnTo>
                      <a:pt x="384" y="557"/>
                    </a:lnTo>
                    <a:lnTo>
                      <a:pt x="384" y="553"/>
                    </a:lnTo>
                    <a:lnTo>
                      <a:pt x="384" y="549"/>
                    </a:lnTo>
                    <a:lnTo>
                      <a:pt x="384" y="546"/>
                    </a:lnTo>
                    <a:lnTo>
                      <a:pt x="382" y="542"/>
                    </a:lnTo>
                    <a:lnTo>
                      <a:pt x="382" y="538"/>
                    </a:lnTo>
                    <a:lnTo>
                      <a:pt x="382" y="534"/>
                    </a:lnTo>
                    <a:lnTo>
                      <a:pt x="382" y="530"/>
                    </a:lnTo>
                    <a:lnTo>
                      <a:pt x="382" y="525"/>
                    </a:lnTo>
                    <a:lnTo>
                      <a:pt x="382" y="519"/>
                    </a:lnTo>
                    <a:lnTo>
                      <a:pt x="382" y="515"/>
                    </a:lnTo>
                    <a:lnTo>
                      <a:pt x="382" y="511"/>
                    </a:lnTo>
                    <a:lnTo>
                      <a:pt x="382" y="509"/>
                    </a:lnTo>
                    <a:close/>
                  </a:path>
                </a:pathLst>
              </a:custGeom>
              <a:solidFill>
                <a:srgbClr val="E6FF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46" name="Freeform 10"/>
              <p:cNvSpPr>
                <a:spLocks/>
              </p:cNvSpPr>
              <p:nvPr/>
            </p:nvSpPr>
            <p:spPr bwMode="auto">
              <a:xfrm>
                <a:off x="1500166" y="2786058"/>
                <a:ext cx="1573803" cy="1143008"/>
              </a:xfrm>
              <a:custGeom>
                <a:avLst/>
                <a:gdLst>
                  <a:gd name="T0" fmla="*/ 2147483646 w 15597"/>
                  <a:gd name="T1" fmla="*/ 2147483646 h 10000"/>
                  <a:gd name="T2" fmla="*/ 2147483646 w 15597"/>
                  <a:gd name="T3" fmla="*/ 2147483646 h 10000"/>
                  <a:gd name="T4" fmla="*/ 2147483646 w 15597"/>
                  <a:gd name="T5" fmla="*/ 2147483646 h 10000"/>
                  <a:gd name="T6" fmla="*/ 2147483646 w 15597"/>
                  <a:gd name="T7" fmla="*/ 2147483646 h 10000"/>
                  <a:gd name="T8" fmla="*/ 0 w 15597"/>
                  <a:gd name="T9" fmla="*/ 2147483646 h 10000"/>
                  <a:gd name="T10" fmla="*/ 2147483646 w 15597"/>
                  <a:gd name="T11" fmla="*/ 2147483646 h 10000"/>
                  <a:gd name="T12" fmla="*/ 2147483646 w 15597"/>
                  <a:gd name="T13" fmla="*/ 0 h 10000"/>
                  <a:gd name="T14" fmla="*/ 2147483646 w 15597"/>
                  <a:gd name="T15" fmla="*/ 2147483646 h 10000"/>
                  <a:gd name="T16" fmla="*/ 0 60000 65536"/>
                  <a:gd name="T17" fmla="*/ 0 60000 65536"/>
                  <a:gd name="T18" fmla="*/ 0 60000 65536"/>
                  <a:gd name="T19" fmla="*/ 0 60000 65536"/>
                  <a:gd name="T20" fmla="*/ 0 60000 65536"/>
                  <a:gd name="T21" fmla="*/ 0 60000 65536"/>
                  <a:gd name="T22" fmla="*/ 0 60000 65536"/>
                  <a:gd name="T23" fmla="*/ 0 60000 65536"/>
                  <a:gd name="T24" fmla="*/ 0 w 15597"/>
                  <a:gd name="T25" fmla="*/ 0 h 10000"/>
                  <a:gd name="T26" fmla="*/ 15597 w 15597"/>
                  <a:gd name="T27" fmla="*/ 10000 h 10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597" h="10000">
                    <a:moveTo>
                      <a:pt x="15572" y="331"/>
                    </a:moveTo>
                    <a:cubicBezTo>
                      <a:pt x="15597" y="452"/>
                      <a:pt x="15547" y="920"/>
                      <a:pt x="15572" y="1041"/>
                    </a:cubicBezTo>
                    <a:cubicBezTo>
                      <a:pt x="15461" y="2200"/>
                      <a:pt x="14853" y="2721"/>
                      <a:pt x="14742" y="3880"/>
                    </a:cubicBezTo>
                    <a:lnTo>
                      <a:pt x="6399" y="3841"/>
                    </a:lnTo>
                    <a:lnTo>
                      <a:pt x="0" y="10000"/>
                    </a:lnTo>
                    <a:lnTo>
                      <a:pt x="1782" y="166"/>
                    </a:lnTo>
                    <a:lnTo>
                      <a:pt x="9926" y="0"/>
                    </a:lnTo>
                    <a:lnTo>
                      <a:pt x="15572" y="331"/>
                    </a:lnTo>
                    <a:close/>
                  </a:path>
                </a:pathLst>
              </a:custGeom>
              <a:solidFill>
                <a:srgbClr val="8A99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47" name="Freeform 12"/>
              <p:cNvSpPr>
                <a:spLocks/>
              </p:cNvSpPr>
              <p:nvPr/>
            </p:nvSpPr>
            <p:spPr bwMode="auto">
              <a:xfrm>
                <a:off x="2149476" y="2173288"/>
                <a:ext cx="906463" cy="555625"/>
              </a:xfrm>
              <a:custGeom>
                <a:avLst/>
                <a:gdLst>
                  <a:gd name="T0" fmla="*/ 0 w 1144"/>
                  <a:gd name="T1" fmla="*/ 2147483646 h 702"/>
                  <a:gd name="T2" fmla="*/ 2147483646 w 1144"/>
                  <a:gd name="T3" fmla="*/ 2147483646 h 702"/>
                  <a:gd name="T4" fmla="*/ 2147483646 w 1144"/>
                  <a:gd name="T5" fmla="*/ 2147483646 h 702"/>
                  <a:gd name="T6" fmla="*/ 2147483646 w 1144"/>
                  <a:gd name="T7" fmla="*/ 2147483646 h 702"/>
                  <a:gd name="T8" fmla="*/ 2147483646 w 1144"/>
                  <a:gd name="T9" fmla="*/ 2147483646 h 702"/>
                  <a:gd name="T10" fmla="*/ 2147483646 w 1144"/>
                  <a:gd name="T11" fmla="*/ 2147483646 h 702"/>
                  <a:gd name="T12" fmla="*/ 2147483646 w 1144"/>
                  <a:gd name="T13" fmla="*/ 2147483646 h 702"/>
                  <a:gd name="T14" fmla="*/ 2147483646 w 1144"/>
                  <a:gd name="T15" fmla="*/ 2147483646 h 702"/>
                  <a:gd name="T16" fmla="*/ 2147483646 w 1144"/>
                  <a:gd name="T17" fmla="*/ 2147483646 h 702"/>
                  <a:gd name="T18" fmla="*/ 2147483646 w 1144"/>
                  <a:gd name="T19" fmla="*/ 2147483646 h 702"/>
                  <a:gd name="T20" fmla="*/ 2147483646 w 1144"/>
                  <a:gd name="T21" fmla="*/ 2147483646 h 702"/>
                  <a:gd name="T22" fmla="*/ 2147483646 w 1144"/>
                  <a:gd name="T23" fmla="*/ 2147483646 h 702"/>
                  <a:gd name="T24" fmla="*/ 2147483646 w 1144"/>
                  <a:gd name="T25" fmla="*/ 2147483646 h 702"/>
                  <a:gd name="T26" fmla="*/ 2147483646 w 1144"/>
                  <a:gd name="T27" fmla="*/ 2147483646 h 702"/>
                  <a:gd name="T28" fmla="*/ 2147483646 w 1144"/>
                  <a:gd name="T29" fmla="*/ 2147483646 h 702"/>
                  <a:gd name="T30" fmla="*/ 2147483646 w 1144"/>
                  <a:gd name="T31" fmla="*/ 2147483646 h 702"/>
                  <a:gd name="T32" fmla="*/ 2147483646 w 1144"/>
                  <a:gd name="T33" fmla="*/ 2147483646 h 702"/>
                  <a:gd name="T34" fmla="*/ 2147483646 w 1144"/>
                  <a:gd name="T35" fmla="*/ 2147483646 h 702"/>
                  <a:gd name="T36" fmla="*/ 2147483646 w 1144"/>
                  <a:gd name="T37" fmla="*/ 2147483646 h 702"/>
                  <a:gd name="T38" fmla="*/ 2147483646 w 1144"/>
                  <a:gd name="T39" fmla="*/ 2147483646 h 702"/>
                  <a:gd name="T40" fmla="*/ 2147483646 w 1144"/>
                  <a:gd name="T41" fmla="*/ 2147483646 h 702"/>
                  <a:gd name="T42" fmla="*/ 2147483646 w 1144"/>
                  <a:gd name="T43" fmla="*/ 2147483646 h 702"/>
                  <a:gd name="T44" fmla="*/ 2147483646 w 1144"/>
                  <a:gd name="T45" fmla="*/ 2147483646 h 702"/>
                  <a:gd name="T46" fmla="*/ 2147483646 w 1144"/>
                  <a:gd name="T47" fmla="*/ 2147483646 h 702"/>
                  <a:gd name="T48" fmla="*/ 2147483646 w 1144"/>
                  <a:gd name="T49" fmla="*/ 2147483646 h 702"/>
                  <a:gd name="T50" fmla="*/ 2147483646 w 1144"/>
                  <a:gd name="T51" fmla="*/ 2147483646 h 702"/>
                  <a:gd name="T52" fmla="*/ 2147483646 w 1144"/>
                  <a:gd name="T53" fmla="*/ 2147483646 h 702"/>
                  <a:gd name="T54" fmla="*/ 2147483646 w 1144"/>
                  <a:gd name="T55" fmla="*/ 2147483646 h 702"/>
                  <a:gd name="T56" fmla="*/ 2147483646 w 1144"/>
                  <a:gd name="T57" fmla="*/ 2147483646 h 702"/>
                  <a:gd name="T58" fmla="*/ 2147483646 w 1144"/>
                  <a:gd name="T59" fmla="*/ 2147483646 h 702"/>
                  <a:gd name="T60" fmla="*/ 2147483646 w 1144"/>
                  <a:gd name="T61" fmla="*/ 2147483646 h 702"/>
                  <a:gd name="T62" fmla="*/ 2147483646 w 1144"/>
                  <a:gd name="T63" fmla="*/ 2147483646 h 702"/>
                  <a:gd name="T64" fmla="*/ 2147483646 w 1144"/>
                  <a:gd name="T65" fmla="*/ 2147483646 h 702"/>
                  <a:gd name="T66" fmla="*/ 2147483646 w 1144"/>
                  <a:gd name="T67" fmla="*/ 2147483646 h 702"/>
                  <a:gd name="T68" fmla="*/ 2147483646 w 1144"/>
                  <a:gd name="T69" fmla="*/ 2147483646 h 702"/>
                  <a:gd name="T70" fmla="*/ 2147483646 w 1144"/>
                  <a:gd name="T71" fmla="*/ 2147483646 h 702"/>
                  <a:gd name="T72" fmla="*/ 2147483646 w 1144"/>
                  <a:gd name="T73" fmla="*/ 0 h 702"/>
                  <a:gd name="T74" fmla="*/ 2147483646 w 1144"/>
                  <a:gd name="T75" fmla="*/ 0 h 702"/>
                  <a:gd name="T76" fmla="*/ 2147483646 w 1144"/>
                  <a:gd name="T77" fmla="*/ 2147483646 h 702"/>
                  <a:gd name="T78" fmla="*/ 2147483646 w 1144"/>
                  <a:gd name="T79" fmla="*/ 2147483646 h 702"/>
                  <a:gd name="T80" fmla="*/ 2147483646 w 1144"/>
                  <a:gd name="T81" fmla="*/ 2147483646 h 702"/>
                  <a:gd name="T82" fmla="*/ 2147483646 w 1144"/>
                  <a:gd name="T83" fmla="*/ 2147483646 h 702"/>
                  <a:gd name="T84" fmla="*/ 2147483646 w 1144"/>
                  <a:gd name="T85" fmla="*/ 2147483646 h 702"/>
                  <a:gd name="T86" fmla="*/ 2147483646 w 1144"/>
                  <a:gd name="T87" fmla="*/ 2147483646 h 702"/>
                  <a:gd name="T88" fmla="*/ 2147483646 w 1144"/>
                  <a:gd name="T89" fmla="*/ 2147483646 h 702"/>
                  <a:gd name="T90" fmla="*/ 2147483646 w 1144"/>
                  <a:gd name="T91" fmla="*/ 2147483646 h 702"/>
                  <a:gd name="T92" fmla="*/ 2147483646 w 1144"/>
                  <a:gd name="T93" fmla="*/ 2147483646 h 702"/>
                  <a:gd name="T94" fmla="*/ 2147483646 w 1144"/>
                  <a:gd name="T95" fmla="*/ 2147483646 h 702"/>
                  <a:gd name="T96" fmla="*/ 2147483646 w 1144"/>
                  <a:gd name="T97" fmla="*/ 2147483646 h 702"/>
                  <a:gd name="T98" fmla="*/ 0 w 1144"/>
                  <a:gd name="T99" fmla="*/ 2147483646 h 702"/>
                  <a:gd name="T100" fmla="*/ 0 w 1144"/>
                  <a:gd name="T101" fmla="*/ 2147483646 h 7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44"/>
                  <a:gd name="T154" fmla="*/ 0 h 702"/>
                  <a:gd name="T155" fmla="*/ 1144 w 1144"/>
                  <a:gd name="T156" fmla="*/ 702 h 70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44" h="702">
                    <a:moveTo>
                      <a:pt x="0" y="702"/>
                    </a:moveTo>
                    <a:lnTo>
                      <a:pt x="540" y="694"/>
                    </a:lnTo>
                    <a:lnTo>
                      <a:pt x="538" y="694"/>
                    </a:lnTo>
                    <a:lnTo>
                      <a:pt x="538" y="692"/>
                    </a:lnTo>
                    <a:lnTo>
                      <a:pt x="538" y="687"/>
                    </a:lnTo>
                    <a:lnTo>
                      <a:pt x="538" y="683"/>
                    </a:lnTo>
                    <a:lnTo>
                      <a:pt x="536" y="679"/>
                    </a:lnTo>
                    <a:lnTo>
                      <a:pt x="536" y="675"/>
                    </a:lnTo>
                    <a:lnTo>
                      <a:pt x="534" y="673"/>
                    </a:lnTo>
                    <a:lnTo>
                      <a:pt x="534" y="670"/>
                    </a:lnTo>
                    <a:lnTo>
                      <a:pt x="534" y="666"/>
                    </a:lnTo>
                    <a:lnTo>
                      <a:pt x="534" y="660"/>
                    </a:lnTo>
                    <a:lnTo>
                      <a:pt x="534" y="656"/>
                    </a:lnTo>
                    <a:lnTo>
                      <a:pt x="534" y="652"/>
                    </a:lnTo>
                    <a:lnTo>
                      <a:pt x="534" y="647"/>
                    </a:lnTo>
                    <a:lnTo>
                      <a:pt x="534" y="641"/>
                    </a:lnTo>
                    <a:lnTo>
                      <a:pt x="532" y="635"/>
                    </a:lnTo>
                    <a:lnTo>
                      <a:pt x="532" y="632"/>
                    </a:lnTo>
                    <a:lnTo>
                      <a:pt x="532" y="624"/>
                    </a:lnTo>
                    <a:lnTo>
                      <a:pt x="532" y="618"/>
                    </a:lnTo>
                    <a:lnTo>
                      <a:pt x="532" y="612"/>
                    </a:lnTo>
                    <a:lnTo>
                      <a:pt x="534" y="607"/>
                    </a:lnTo>
                    <a:lnTo>
                      <a:pt x="534" y="601"/>
                    </a:lnTo>
                    <a:lnTo>
                      <a:pt x="534" y="593"/>
                    </a:lnTo>
                    <a:lnTo>
                      <a:pt x="534" y="588"/>
                    </a:lnTo>
                    <a:lnTo>
                      <a:pt x="534" y="582"/>
                    </a:lnTo>
                    <a:lnTo>
                      <a:pt x="534" y="574"/>
                    </a:lnTo>
                    <a:lnTo>
                      <a:pt x="536" y="569"/>
                    </a:lnTo>
                    <a:lnTo>
                      <a:pt x="538" y="561"/>
                    </a:lnTo>
                    <a:lnTo>
                      <a:pt x="540" y="555"/>
                    </a:lnTo>
                    <a:lnTo>
                      <a:pt x="597" y="542"/>
                    </a:lnTo>
                    <a:lnTo>
                      <a:pt x="640" y="502"/>
                    </a:lnTo>
                    <a:lnTo>
                      <a:pt x="688" y="516"/>
                    </a:lnTo>
                    <a:lnTo>
                      <a:pt x="726" y="609"/>
                    </a:lnTo>
                    <a:lnTo>
                      <a:pt x="766" y="687"/>
                    </a:lnTo>
                    <a:lnTo>
                      <a:pt x="1144" y="679"/>
                    </a:lnTo>
                    <a:lnTo>
                      <a:pt x="1134" y="0"/>
                    </a:lnTo>
                    <a:lnTo>
                      <a:pt x="418" y="0"/>
                    </a:lnTo>
                    <a:lnTo>
                      <a:pt x="530" y="65"/>
                    </a:lnTo>
                    <a:lnTo>
                      <a:pt x="426" y="147"/>
                    </a:lnTo>
                    <a:lnTo>
                      <a:pt x="390" y="293"/>
                    </a:lnTo>
                    <a:lnTo>
                      <a:pt x="262" y="335"/>
                    </a:lnTo>
                    <a:lnTo>
                      <a:pt x="340" y="407"/>
                    </a:lnTo>
                    <a:lnTo>
                      <a:pt x="211" y="428"/>
                    </a:lnTo>
                    <a:lnTo>
                      <a:pt x="306" y="510"/>
                    </a:lnTo>
                    <a:lnTo>
                      <a:pt x="167" y="510"/>
                    </a:lnTo>
                    <a:lnTo>
                      <a:pt x="302" y="573"/>
                    </a:lnTo>
                    <a:lnTo>
                      <a:pt x="108" y="605"/>
                    </a:lnTo>
                    <a:lnTo>
                      <a:pt x="274" y="647"/>
                    </a:lnTo>
                    <a:lnTo>
                      <a:pt x="0" y="702"/>
                    </a:lnTo>
                    <a:close/>
                  </a:path>
                </a:pathLst>
              </a:custGeom>
              <a:solidFill>
                <a:srgbClr val="A67A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48" name="Freeform 13"/>
              <p:cNvSpPr>
                <a:spLocks/>
              </p:cNvSpPr>
              <p:nvPr/>
            </p:nvSpPr>
            <p:spPr bwMode="auto">
              <a:xfrm>
                <a:off x="1854187" y="2214554"/>
                <a:ext cx="931863" cy="555625"/>
              </a:xfrm>
              <a:custGeom>
                <a:avLst/>
                <a:gdLst>
                  <a:gd name="T0" fmla="*/ 2147483646 w 1174"/>
                  <a:gd name="T1" fmla="*/ 2147483646 h 702"/>
                  <a:gd name="T2" fmla="*/ 2147483646 w 1174"/>
                  <a:gd name="T3" fmla="*/ 2147483646 h 702"/>
                  <a:gd name="T4" fmla="*/ 2147483646 w 1174"/>
                  <a:gd name="T5" fmla="*/ 2147483646 h 702"/>
                  <a:gd name="T6" fmla="*/ 2147483646 w 1174"/>
                  <a:gd name="T7" fmla="*/ 2147483646 h 702"/>
                  <a:gd name="T8" fmla="*/ 2147483646 w 1174"/>
                  <a:gd name="T9" fmla="*/ 2147483646 h 702"/>
                  <a:gd name="T10" fmla="*/ 2147483646 w 1174"/>
                  <a:gd name="T11" fmla="*/ 2147483646 h 702"/>
                  <a:gd name="T12" fmla="*/ 2147483646 w 1174"/>
                  <a:gd name="T13" fmla="*/ 2147483646 h 702"/>
                  <a:gd name="T14" fmla="*/ 2147483646 w 1174"/>
                  <a:gd name="T15" fmla="*/ 2147483646 h 702"/>
                  <a:gd name="T16" fmla="*/ 2147483646 w 1174"/>
                  <a:gd name="T17" fmla="*/ 2147483646 h 702"/>
                  <a:gd name="T18" fmla="*/ 2147483646 w 1174"/>
                  <a:gd name="T19" fmla="*/ 2147483646 h 702"/>
                  <a:gd name="T20" fmla="*/ 2147483646 w 1174"/>
                  <a:gd name="T21" fmla="*/ 2147483646 h 702"/>
                  <a:gd name="T22" fmla="*/ 2147483646 w 1174"/>
                  <a:gd name="T23" fmla="*/ 2147483646 h 702"/>
                  <a:gd name="T24" fmla="*/ 2147483646 w 1174"/>
                  <a:gd name="T25" fmla="*/ 2147483646 h 702"/>
                  <a:gd name="T26" fmla="*/ 2147483646 w 1174"/>
                  <a:gd name="T27" fmla="*/ 2147483646 h 702"/>
                  <a:gd name="T28" fmla="*/ 2147483646 w 1174"/>
                  <a:gd name="T29" fmla="*/ 2147483646 h 702"/>
                  <a:gd name="T30" fmla="*/ 2147483646 w 1174"/>
                  <a:gd name="T31" fmla="*/ 2147483646 h 702"/>
                  <a:gd name="T32" fmla="*/ 0 w 1174"/>
                  <a:gd name="T33" fmla="*/ 2147483646 h 702"/>
                  <a:gd name="T34" fmla="*/ 2147483646 w 1174"/>
                  <a:gd name="T35" fmla="*/ 2147483646 h 702"/>
                  <a:gd name="T36" fmla="*/ 2147483646 w 1174"/>
                  <a:gd name="T37" fmla="*/ 2147483646 h 702"/>
                  <a:gd name="T38" fmla="*/ 2147483646 w 1174"/>
                  <a:gd name="T39" fmla="*/ 2147483646 h 702"/>
                  <a:gd name="T40" fmla="*/ 2147483646 w 1174"/>
                  <a:gd name="T41" fmla="*/ 2147483646 h 702"/>
                  <a:gd name="T42" fmla="*/ 2147483646 w 1174"/>
                  <a:gd name="T43" fmla="*/ 2147483646 h 702"/>
                  <a:gd name="T44" fmla="*/ 2147483646 w 1174"/>
                  <a:gd name="T45" fmla="*/ 2147483646 h 702"/>
                  <a:gd name="T46" fmla="*/ 2147483646 w 1174"/>
                  <a:gd name="T47" fmla="*/ 2147483646 h 702"/>
                  <a:gd name="T48" fmla="*/ 2147483646 w 1174"/>
                  <a:gd name="T49" fmla="*/ 2147483646 h 702"/>
                  <a:gd name="T50" fmla="*/ 2147483646 w 1174"/>
                  <a:gd name="T51" fmla="*/ 2147483646 h 702"/>
                  <a:gd name="T52" fmla="*/ 2147483646 w 1174"/>
                  <a:gd name="T53" fmla="*/ 2147483646 h 702"/>
                  <a:gd name="T54" fmla="*/ 2147483646 w 1174"/>
                  <a:gd name="T55" fmla="*/ 2147483646 h 702"/>
                  <a:gd name="T56" fmla="*/ 2147483646 w 1174"/>
                  <a:gd name="T57" fmla="*/ 2147483646 h 702"/>
                  <a:gd name="T58" fmla="*/ 2147483646 w 1174"/>
                  <a:gd name="T59" fmla="*/ 2147483646 h 702"/>
                  <a:gd name="T60" fmla="*/ 2147483646 w 1174"/>
                  <a:gd name="T61" fmla="*/ 2147483646 h 702"/>
                  <a:gd name="T62" fmla="*/ 2147483646 w 1174"/>
                  <a:gd name="T63" fmla="*/ 2147483646 h 702"/>
                  <a:gd name="T64" fmla="*/ 2147483646 w 1174"/>
                  <a:gd name="T65" fmla="*/ 2147483646 h 702"/>
                  <a:gd name="T66" fmla="*/ 2147483646 w 1174"/>
                  <a:gd name="T67" fmla="*/ 0 h 702"/>
                  <a:gd name="T68" fmla="*/ 2147483646 w 1174"/>
                  <a:gd name="T69" fmla="*/ 2147483646 h 702"/>
                  <a:gd name="T70" fmla="*/ 2147483646 w 1174"/>
                  <a:gd name="T71" fmla="*/ 2147483646 h 70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74"/>
                  <a:gd name="T109" fmla="*/ 0 h 702"/>
                  <a:gd name="T110" fmla="*/ 1174 w 1174"/>
                  <a:gd name="T111" fmla="*/ 702 h 70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74" h="702">
                    <a:moveTo>
                      <a:pt x="290" y="4"/>
                    </a:moveTo>
                    <a:lnTo>
                      <a:pt x="784" y="65"/>
                    </a:lnTo>
                    <a:lnTo>
                      <a:pt x="325" y="86"/>
                    </a:lnTo>
                    <a:lnTo>
                      <a:pt x="572" y="116"/>
                    </a:lnTo>
                    <a:lnTo>
                      <a:pt x="688" y="171"/>
                    </a:lnTo>
                    <a:lnTo>
                      <a:pt x="686" y="244"/>
                    </a:lnTo>
                    <a:lnTo>
                      <a:pt x="28" y="248"/>
                    </a:lnTo>
                    <a:lnTo>
                      <a:pt x="631" y="306"/>
                    </a:lnTo>
                    <a:lnTo>
                      <a:pt x="36" y="339"/>
                    </a:lnTo>
                    <a:lnTo>
                      <a:pt x="589" y="400"/>
                    </a:lnTo>
                    <a:lnTo>
                      <a:pt x="32" y="430"/>
                    </a:lnTo>
                    <a:lnTo>
                      <a:pt x="536" y="485"/>
                    </a:lnTo>
                    <a:lnTo>
                      <a:pt x="21" y="516"/>
                    </a:lnTo>
                    <a:lnTo>
                      <a:pt x="536" y="565"/>
                    </a:lnTo>
                    <a:lnTo>
                      <a:pt x="15" y="588"/>
                    </a:lnTo>
                    <a:lnTo>
                      <a:pt x="492" y="651"/>
                    </a:lnTo>
                    <a:lnTo>
                      <a:pt x="0" y="673"/>
                    </a:lnTo>
                    <a:lnTo>
                      <a:pt x="304" y="702"/>
                    </a:lnTo>
                    <a:lnTo>
                      <a:pt x="775" y="664"/>
                    </a:lnTo>
                    <a:lnTo>
                      <a:pt x="526" y="618"/>
                    </a:lnTo>
                    <a:lnTo>
                      <a:pt x="809" y="580"/>
                    </a:lnTo>
                    <a:lnTo>
                      <a:pt x="551" y="529"/>
                    </a:lnTo>
                    <a:lnTo>
                      <a:pt x="815" y="500"/>
                    </a:lnTo>
                    <a:lnTo>
                      <a:pt x="560" y="447"/>
                    </a:lnTo>
                    <a:lnTo>
                      <a:pt x="902" y="420"/>
                    </a:lnTo>
                    <a:lnTo>
                      <a:pt x="593" y="352"/>
                    </a:lnTo>
                    <a:lnTo>
                      <a:pt x="938" y="325"/>
                    </a:lnTo>
                    <a:lnTo>
                      <a:pt x="714" y="267"/>
                    </a:lnTo>
                    <a:lnTo>
                      <a:pt x="1100" y="228"/>
                    </a:lnTo>
                    <a:lnTo>
                      <a:pt x="729" y="158"/>
                    </a:lnTo>
                    <a:lnTo>
                      <a:pt x="1166" y="139"/>
                    </a:lnTo>
                    <a:lnTo>
                      <a:pt x="828" y="84"/>
                    </a:lnTo>
                    <a:lnTo>
                      <a:pt x="1174" y="44"/>
                    </a:lnTo>
                    <a:lnTo>
                      <a:pt x="716" y="0"/>
                    </a:lnTo>
                    <a:lnTo>
                      <a:pt x="290" y="4"/>
                    </a:lnTo>
                    <a:close/>
                  </a:path>
                </a:pathLst>
              </a:custGeom>
              <a:solidFill>
                <a:srgbClr val="8C5E2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49" name="Freeform 19"/>
              <p:cNvSpPr>
                <a:spLocks/>
              </p:cNvSpPr>
              <p:nvPr/>
            </p:nvSpPr>
            <p:spPr bwMode="auto">
              <a:xfrm>
                <a:off x="2695576" y="3906838"/>
                <a:ext cx="88900" cy="63500"/>
              </a:xfrm>
              <a:custGeom>
                <a:avLst/>
                <a:gdLst>
                  <a:gd name="T0" fmla="*/ 2147483646 w 112"/>
                  <a:gd name="T1" fmla="*/ 0 h 79"/>
                  <a:gd name="T2" fmla="*/ 2147483646 w 112"/>
                  <a:gd name="T3" fmla="*/ 2147483646 h 79"/>
                  <a:gd name="T4" fmla="*/ 2147483646 w 112"/>
                  <a:gd name="T5" fmla="*/ 2147483646 h 79"/>
                  <a:gd name="T6" fmla="*/ 2147483646 w 112"/>
                  <a:gd name="T7" fmla="*/ 2147483646 h 79"/>
                  <a:gd name="T8" fmla="*/ 2147483646 w 112"/>
                  <a:gd name="T9" fmla="*/ 2147483646 h 79"/>
                  <a:gd name="T10" fmla="*/ 2147483646 w 112"/>
                  <a:gd name="T11" fmla="*/ 2147483646 h 79"/>
                  <a:gd name="T12" fmla="*/ 2147483646 w 112"/>
                  <a:gd name="T13" fmla="*/ 2147483646 h 79"/>
                  <a:gd name="T14" fmla="*/ 2147483646 w 112"/>
                  <a:gd name="T15" fmla="*/ 2147483646 h 79"/>
                  <a:gd name="T16" fmla="*/ 2147483646 w 112"/>
                  <a:gd name="T17" fmla="*/ 2147483646 h 79"/>
                  <a:gd name="T18" fmla="*/ 2147483646 w 112"/>
                  <a:gd name="T19" fmla="*/ 2147483646 h 79"/>
                  <a:gd name="T20" fmla="*/ 2147483646 w 112"/>
                  <a:gd name="T21" fmla="*/ 2147483646 h 79"/>
                  <a:gd name="T22" fmla="*/ 2147483646 w 112"/>
                  <a:gd name="T23" fmla="*/ 2147483646 h 79"/>
                  <a:gd name="T24" fmla="*/ 2147483646 w 112"/>
                  <a:gd name="T25" fmla="*/ 2147483646 h 79"/>
                  <a:gd name="T26" fmla="*/ 2147483646 w 112"/>
                  <a:gd name="T27" fmla="*/ 2147483646 h 79"/>
                  <a:gd name="T28" fmla="*/ 2147483646 w 112"/>
                  <a:gd name="T29" fmla="*/ 2147483646 h 79"/>
                  <a:gd name="T30" fmla="*/ 2147483646 w 112"/>
                  <a:gd name="T31" fmla="*/ 2147483646 h 79"/>
                  <a:gd name="T32" fmla="*/ 2147483646 w 112"/>
                  <a:gd name="T33" fmla="*/ 2147483646 h 79"/>
                  <a:gd name="T34" fmla="*/ 2147483646 w 112"/>
                  <a:gd name="T35" fmla="*/ 2147483646 h 79"/>
                  <a:gd name="T36" fmla="*/ 2147483646 w 112"/>
                  <a:gd name="T37" fmla="*/ 2147483646 h 79"/>
                  <a:gd name="T38" fmla="*/ 2147483646 w 112"/>
                  <a:gd name="T39" fmla="*/ 2147483646 h 79"/>
                  <a:gd name="T40" fmla="*/ 2147483646 w 112"/>
                  <a:gd name="T41" fmla="*/ 2147483646 h 79"/>
                  <a:gd name="T42" fmla="*/ 2147483646 w 112"/>
                  <a:gd name="T43" fmla="*/ 2147483646 h 79"/>
                  <a:gd name="T44" fmla="*/ 2147483646 w 112"/>
                  <a:gd name="T45" fmla="*/ 2147483646 h 79"/>
                  <a:gd name="T46" fmla="*/ 2147483646 w 112"/>
                  <a:gd name="T47" fmla="*/ 2147483646 h 79"/>
                  <a:gd name="T48" fmla="*/ 2147483646 w 112"/>
                  <a:gd name="T49" fmla="*/ 2147483646 h 79"/>
                  <a:gd name="T50" fmla="*/ 2147483646 w 112"/>
                  <a:gd name="T51" fmla="*/ 2147483646 h 79"/>
                  <a:gd name="T52" fmla="*/ 2147483646 w 112"/>
                  <a:gd name="T53" fmla="*/ 2147483646 h 79"/>
                  <a:gd name="T54" fmla="*/ 2147483646 w 112"/>
                  <a:gd name="T55" fmla="*/ 2147483646 h 79"/>
                  <a:gd name="T56" fmla="*/ 2147483646 w 112"/>
                  <a:gd name="T57" fmla="*/ 2147483646 h 79"/>
                  <a:gd name="T58" fmla="*/ 0 w 112"/>
                  <a:gd name="T59" fmla="*/ 2147483646 h 79"/>
                  <a:gd name="T60" fmla="*/ 0 w 112"/>
                  <a:gd name="T61" fmla="*/ 2147483646 h 79"/>
                  <a:gd name="T62" fmla="*/ 2147483646 w 112"/>
                  <a:gd name="T63" fmla="*/ 2147483646 h 79"/>
                  <a:gd name="T64" fmla="*/ 2147483646 w 112"/>
                  <a:gd name="T65" fmla="*/ 2147483646 h 79"/>
                  <a:gd name="T66" fmla="*/ 2147483646 w 112"/>
                  <a:gd name="T67" fmla="*/ 2147483646 h 79"/>
                  <a:gd name="T68" fmla="*/ 2147483646 w 112"/>
                  <a:gd name="T69" fmla="*/ 2147483646 h 79"/>
                  <a:gd name="T70" fmla="*/ 2147483646 w 112"/>
                  <a:gd name="T71" fmla="*/ 2147483646 h 79"/>
                  <a:gd name="T72" fmla="*/ 2147483646 w 112"/>
                  <a:gd name="T73" fmla="*/ 2147483646 h 79"/>
                  <a:gd name="T74" fmla="*/ 2147483646 w 112"/>
                  <a:gd name="T75" fmla="*/ 2147483646 h 79"/>
                  <a:gd name="T76" fmla="*/ 2147483646 w 112"/>
                  <a:gd name="T77" fmla="*/ 2147483646 h 79"/>
                  <a:gd name="T78" fmla="*/ 2147483646 w 112"/>
                  <a:gd name="T79" fmla="*/ 2147483646 h 79"/>
                  <a:gd name="T80" fmla="*/ 2147483646 w 112"/>
                  <a:gd name="T81" fmla="*/ 2147483646 h 79"/>
                  <a:gd name="T82" fmla="*/ 2147483646 w 112"/>
                  <a:gd name="T83" fmla="*/ 2147483646 h 79"/>
                  <a:gd name="T84" fmla="*/ 2147483646 w 112"/>
                  <a:gd name="T85" fmla="*/ 2147483646 h 79"/>
                  <a:gd name="T86" fmla="*/ 2147483646 w 112"/>
                  <a:gd name="T87" fmla="*/ 2147483646 h 79"/>
                  <a:gd name="T88" fmla="*/ 2147483646 w 112"/>
                  <a:gd name="T89" fmla="*/ 2147483646 h 79"/>
                  <a:gd name="T90" fmla="*/ 2147483646 w 112"/>
                  <a:gd name="T91" fmla="*/ 2147483646 h 79"/>
                  <a:gd name="T92" fmla="*/ 2147483646 w 112"/>
                  <a:gd name="T93" fmla="*/ 2147483646 h 79"/>
                  <a:gd name="T94" fmla="*/ 2147483646 w 112"/>
                  <a:gd name="T95" fmla="*/ 2147483646 h 79"/>
                  <a:gd name="T96" fmla="*/ 2147483646 w 112"/>
                  <a:gd name="T97" fmla="*/ 2147483646 h 79"/>
                  <a:gd name="T98" fmla="*/ 2147483646 w 112"/>
                  <a:gd name="T99" fmla="*/ 2147483646 h 79"/>
                  <a:gd name="T100" fmla="*/ 2147483646 w 112"/>
                  <a:gd name="T101" fmla="*/ 2147483646 h 79"/>
                  <a:gd name="T102" fmla="*/ 2147483646 w 112"/>
                  <a:gd name="T103" fmla="*/ 2147483646 h 79"/>
                  <a:gd name="T104" fmla="*/ 2147483646 w 112"/>
                  <a:gd name="T105" fmla="*/ 0 h 79"/>
                  <a:gd name="T106" fmla="*/ 2147483646 w 112"/>
                  <a:gd name="T107" fmla="*/ 0 h 79"/>
                  <a:gd name="T108" fmla="*/ 2147483646 w 112"/>
                  <a:gd name="T109" fmla="*/ 0 h 7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2"/>
                  <a:gd name="T166" fmla="*/ 0 h 79"/>
                  <a:gd name="T167" fmla="*/ 112 w 112"/>
                  <a:gd name="T168" fmla="*/ 79 h 7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2" h="79">
                    <a:moveTo>
                      <a:pt x="93" y="0"/>
                    </a:moveTo>
                    <a:lnTo>
                      <a:pt x="112" y="72"/>
                    </a:lnTo>
                    <a:lnTo>
                      <a:pt x="110" y="72"/>
                    </a:lnTo>
                    <a:lnTo>
                      <a:pt x="106" y="74"/>
                    </a:lnTo>
                    <a:lnTo>
                      <a:pt x="102" y="74"/>
                    </a:lnTo>
                    <a:lnTo>
                      <a:pt x="100" y="76"/>
                    </a:lnTo>
                    <a:lnTo>
                      <a:pt x="97" y="76"/>
                    </a:lnTo>
                    <a:lnTo>
                      <a:pt x="93" y="78"/>
                    </a:lnTo>
                    <a:lnTo>
                      <a:pt x="89" y="78"/>
                    </a:lnTo>
                    <a:lnTo>
                      <a:pt x="83" y="79"/>
                    </a:lnTo>
                    <a:lnTo>
                      <a:pt x="80" y="79"/>
                    </a:lnTo>
                    <a:lnTo>
                      <a:pt x="74" y="79"/>
                    </a:lnTo>
                    <a:lnTo>
                      <a:pt x="68" y="79"/>
                    </a:lnTo>
                    <a:lnTo>
                      <a:pt x="62" y="79"/>
                    </a:lnTo>
                    <a:lnTo>
                      <a:pt x="59" y="79"/>
                    </a:lnTo>
                    <a:lnTo>
                      <a:pt x="53" y="78"/>
                    </a:lnTo>
                    <a:lnTo>
                      <a:pt x="45" y="76"/>
                    </a:lnTo>
                    <a:lnTo>
                      <a:pt x="40" y="74"/>
                    </a:lnTo>
                    <a:lnTo>
                      <a:pt x="34" y="72"/>
                    </a:lnTo>
                    <a:lnTo>
                      <a:pt x="30" y="70"/>
                    </a:lnTo>
                    <a:lnTo>
                      <a:pt x="26" y="66"/>
                    </a:lnTo>
                    <a:lnTo>
                      <a:pt x="21" y="62"/>
                    </a:lnTo>
                    <a:lnTo>
                      <a:pt x="19" y="59"/>
                    </a:lnTo>
                    <a:lnTo>
                      <a:pt x="15" y="55"/>
                    </a:lnTo>
                    <a:lnTo>
                      <a:pt x="11" y="51"/>
                    </a:lnTo>
                    <a:lnTo>
                      <a:pt x="9" y="47"/>
                    </a:lnTo>
                    <a:lnTo>
                      <a:pt x="7" y="43"/>
                    </a:lnTo>
                    <a:lnTo>
                      <a:pt x="5" y="41"/>
                    </a:lnTo>
                    <a:lnTo>
                      <a:pt x="2" y="34"/>
                    </a:lnTo>
                    <a:lnTo>
                      <a:pt x="0" y="30"/>
                    </a:lnTo>
                    <a:lnTo>
                      <a:pt x="4" y="30"/>
                    </a:lnTo>
                    <a:lnTo>
                      <a:pt x="5" y="30"/>
                    </a:lnTo>
                    <a:lnTo>
                      <a:pt x="9" y="30"/>
                    </a:lnTo>
                    <a:lnTo>
                      <a:pt x="13" y="30"/>
                    </a:lnTo>
                    <a:lnTo>
                      <a:pt x="17" y="30"/>
                    </a:lnTo>
                    <a:lnTo>
                      <a:pt x="21" y="30"/>
                    </a:lnTo>
                    <a:lnTo>
                      <a:pt x="24" y="30"/>
                    </a:lnTo>
                    <a:lnTo>
                      <a:pt x="30" y="30"/>
                    </a:lnTo>
                    <a:lnTo>
                      <a:pt x="36" y="30"/>
                    </a:lnTo>
                    <a:lnTo>
                      <a:pt x="40" y="28"/>
                    </a:lnTo>
                    <a:lnTo>
                      <a:pt x="45" y="28"/>
                    </a:lnTo>
                    <a:lnTo>
                      <a:pt x="51" y="26"/>
                    </a:lnTo>
                    <a:lnTo>
                      <a:pt x="57" y="26"/>
                    </a:lnTo>
                    <a:lnTo>
                      <a:pt x="61" y="22"/>
                    </a:lnTo>
                    <a:lnTo>
                      <a:pt x="66" y="21"/>
                    </a:lnTo>
                    <a:lnTo>
                      <a:pt x="70" y="19"/>
                    </a:lnTo>
                    <a:lnTo>
                      <a:pt x="74" y="17"/>
                    </a:lnTo>
                    <a:lnTo>
                      <a:pt x="80" y="13"/>
                    </a:lnTo>
                    <a:lnTo>
                      <a:pt x="85" y="9"/>
                    </a:lnTo>
                    <a:lnTo>
                      <a:pt x="89" y="5"/>
                    </a:lnTo>
                    <a:lnTo>
                      <a:pt x="91" y="2"/>
                    </a:lnTo>
                    <a:lnTo>
                      <a:pt x="93" y="0"/>
                    </a:lnTo>
                    <a:close/>
                  </a:path>
                </a:pathLst>
              </a:custGeom>
              <a:solidFill>
                <a:srgbClr val="599E2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50" name="Freeform 21"/>
              <p:cNvSpPr>
                <a:spLocks/>
              </p:cNvSpPr>
              <p:nvPr/>
            </p:nvSpPr>
            <p:spPr bwMode="auto">
              <a:xfrm>
                <a:off x="1579563" y="3181351"/>
                <a:ext cx="717550" cy="938213"/>
              </a:xfrm>
              <a:custGeom>
                <a:avLst/>
                <a:gdLst>
                  <a:gd name="T0" fmla="*/ 2147483646 w 902"/>
                  <a:gd name="T1" fmla="*/ 2147483646 h 1183"/>
                  <a:gd name="T2" fmla="*/ 2147483646 w 902"/>
                  <a:gd name="T3" fmla="*/ 2147483646 h 1183"/>
                  <a:gd name="T4" fmla="*/ 2147483646 w 902"/>
                  <a:gd name="T5" fmla="*/ 2147483646 h 1183"/>
                  <a:gd name="T6" fmla="*/ 2147483646 w 902"/>
                  <a:gd name="T7" fmla="*/ 2147483646 h 1183"/>
                  <a:gd name="T8" fmla="*/ 2147483646 w 902"/>
                  <a:gd name="T9" fmla="*/ 2147483646 h 1183"/>
                  <a:gd name="T10" fmla="*/ 2147483646 w 902"/>
                  <a:gd name="T11" fmla="*/ 2147483646 h 1183"/>
                  <a:gd name="T12" fmla="*/ 2147483646 w 902"/>
                  <a:gd name="T13" fmla="*/ 2147483646 h 1183"/>
                  <a:gd name="T14" fmla="*/ 2147483646 w 902"/>
                  <a:gd name="T15" fmla="*/ 2147483646 h 1183"/>
                  <a:gd name="T16" fmla="*/ 2147483646 w 902"/>
                  <a:gd name="T17" fmla="*/ 2147483646 h 1183"/>
                  <a:gd name="T18" fmla="*/ 2147483646 w 902"/>
                  <a:gd name="T19" fmla="*/ 2147483646 h 1183"/>
                  <a:gd name="T20" fmla="*/ 2147483646 w 902"/>
                  <a:gd name="T21" fmla="*/ 2147483646 h 1183"/>
                  <a:gd name="T22" fmla="*/ 2147483646 w 902"/>
                  <a:gd name="T23" fmla="*/ 2147483646 h 1183"/>
                  <a:gd name="T24" fmla="*/ 2147483646 w 902"/>
                  <a:gd name="T25" fmla="*/ 2147483646 h 1183"/>
                  <a:gd name="T26" fmla="*/ 2147483646 w 902"/>
                  <a:gd name="T27" fmla="*/ 2147483646 h 1183"/>
                  <a:gd name="T28" fmla="*/ 2147483646 w 902"/>
                  <a:gd name="T29" fmla="*/ 2147483646 h 1183"/>
                  <a:gd name="T30" fmla="*/ 2147483646 w 902"/>
                  <a:gd name="T31" fmla="*/ 2147483646 h 1183"/>
                  <a:gd name="T32" fmla="*/ 2147483646 w 902"/>
                  <a:gd name="T33" fmla="*/ 2147483646 h 1183"/>
                  <a:gd name="T34" fmla="*/ 2147483646 w 902"/>
                  <a:gd name="T35" fmla="*/ 2147483646 h 1183"/>
                  <a:gd name="T36" fmla="*/ 2147483646 w 902"/>
                  <a:gd name="T37" fmla="*/ 2147483646 h 1183"/>
                  <a:gd name="T38" fmla="*/ 2147483646 w 902"/>
                  <a:gd name="T39" fmla="*/ 2147483646 h 1183"/>
                  <a:gd name="T40" fmla="*/ 2147483646 w 902"/>
                  <a:gd name="T41" fmla="*/ 2147483646 h 1183"/>
                  <a:gd name="T42" fmla="*/ 2147483646 w 902"/>
                  <a:gd name="T43" fmla="*/ 2147483646 h 1183"/>
                  <a:gd name="T44" fmla="*/ 2147483646 w 902"/>
                  <a:gd name="T45" fmla="*/ 2147483646 h 1183"/>
                  <a:gd name="T46" fmla="*/ 2147483646 w 902"/>
                  <a:gd name="T47" fmla="*/ 2147483646 h 1183"/>
                  <a:gd name="T48" fmla="*/ 2147483646 w 902"/>
                  <a:gd name="T49" fmla="*/ 2147483646 h 1183"/>
                  <a:gd name="T50" fmla="*/ 2147483646 w 902"/>
                  <a:gd name="T51" fmla="*/ 2147483646 h 1183"/>
                  <a:gd name="T52" fmla="*/ 2147483646 w 902"/>
                  <a:gd name="T53" fmla="*/ 2147483646 h 1183"/>
                  <a:gd name="T54" fmla="*/ 2147483646 w 902"/>
                  <a:gd name="T55" fmla="*/ 2147483646 h 1183"/>
                  <a:gd name="T56" fmla="*/ 2147483646 w 902"/>
                  <a:gd name="T57" fmla="*/ 2147483646 h 1183"/>
                  <a:gd name="T58" fmla="*/ 2147483646 w 902"/>
                  <a:gd name="T59" fmla="*/ 2147483646 h 1183"/>
                  <a:gd name="T60" fmla="*/ 2147483646 w 902"/>
                  <a:gd name="T61" fmla="*/ 2147483646 h 1183"/>
                  <a:gd name="T62" fmla="*/ 2147483646 w 902"/>
                  <a:gd name="T63" fmla="*/ 2147483646 h 1183"/>
                  <a:gd name="T64" fmla="*/ 2147483646 w 902"/>
                  <a:gd name="T65" fmla="*/ 2147483646 h 1183"/>
                  <a:gd name="T66" fmla="*/ 2147483646 w 902"/>
                  <a:gd name="T67" fmla="*/ 2147483646 h 1183"/>
                  <a:gd name="T68" fmla="*/ 2147483646 w 902"/>
                  <a:gd name="T69" fmla="*/ 2147483646 h 1183"/>
                  <a:gd name="T70" fmla="*/ 2147483646 w 902"/>
                  <a:gd name="T71" fmla="*/ 2147483646 h 1183"/>
                  <a:gd name="T72" fmla="*/ 2147483646 w 902"/>
                  <a:gd name="T73" fmla="*/ 2147483646 h 1183"/>
                  <a:gd name="T74" fmla="*/ 2147483646 w 902"/>
                  <a:gd name="T75" fmla="*/ 2147483646 h 1183"/>
                  <a:gd name="T76" fmla="*/ 2147483646 w 902"/>
                  <a:gd name="T77" fmla="*/ 2147483646 h 1183"/>
                  <a:gd name="T78" fmla="*/ 2147483646 w 902"/>
                  <a:gd name="T79" fmla="*/ 2147483646 h 1183"/>
                  <a:gd name="T80" fmla="*/ 2147483646 w 902"/>
                  <a:gd name="T81" fmla="*/ 2147483646 h 1183"/>
                  <a:gd name="T82" fmla="*/ 2147483646 w 902"/>
                  <a:gd name="T83" fmla="*/ 2147483646 h 1183"/>
                  <a:gd name="T84" fmla="*/ 2147483646 w 902"/>
                  <a:gd name="T85" fmla="*/ 2147483646 h 1183"/>
                  <a:gd name="T86" fmla="*/ 2147483646 w 902"/>
                  <a:gd name="T87" fmla="*/ 2147483646 h 1183"/>
                  <a:gd name="T88" fmla="*/ 2147483646 w 902"/>
                  <a:gd name="T89" fmla="*/ 2147483646 h 1183"/>
                  <a:gd name="T90" fmla="*/ 2147483646 w 902"/>
                  <a:gd name="T91" fmla="*/ 2147483646 h 1183"/>
                  <a:gd name="T92" fmla="*/ 2147483646 w 902"/>
                  <a:gd name="T93" fmla="*/ 2147483646 h 1183"/>
                  <a:gd name="T94" fmla="*/ 2147483646 w 902"/>
                  <a:gd name="T95" fmla="*/ 2147483646 h 1183"/>
                  <a:gd name="T96" fmla="*/ 2147483646 w 902"/>
                  <a:gd name="T97" fmla="*/ 2147483646 h 1183"/>
                  <a:gd name="T98" fmla="*/ 2147483646 w 902"/>
                  <a:gd name="T99" fmla="*/ 2147483646 h 1183"/>
                  <a:gd name="T100" fmla="*/ 2147483646 w 902"/>
                  <a:gd name="T101" fmla="*/ 2147483646 h 1183"/>
                  <a:gd name="T102" fmla="*/ 2147483646 w 902"/>
                  <a:gd name="T103" fmla="*/ 2147483646 h 118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02"/>
                  <a:gd name="T157" fmla="*/ 0 h 1183"/>
                  <a:gd name="T158" fmla="*/ 902 w 902"/>
                  <a:gd name="T159" fmla="*/ 1183 h 118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02" h="1183">
                    <a:moveTo>
                      <a:pt x="898" y="103"/>
                    </a:moveTo>
                    <a:lnTo>
                      <a:pt x="895" y="107"/>
                    </a:lnTo>
                    <a:lnTo>
                      <a:pt x="891" y="111"/>
                    </a:lnTo>
                    <a:lnTo>
                      <a:pt x="885" y="114"/>
                    </a:lnTo>
                    <a:lnTo>
                      <a:pt x="881" y="120"/>
                    </a:lnTo>
                    <a:lnTo>
                      <a:pt x="878" y="124"/>
                    </a:lnTo>
                    <a:lnTo>
                      <a:pt x="874" y="130"/>
                    </a:lnTo>
                    <a:lnTo>
                      <a:pt x="868" y="135"/>
                    </a:lnTo>
                    <a:lnTo>
                      <a:pt x="864" y="141"/>
                    </a:lnTo>
                    <a:lnTo>
                      <a:pt x="860" y="145"/>
                    </a:lnTo>
                    <a:lnTo>
                      <a:pt x="857" y="150"/>
                    </a:lnTo>
                    <a:lnTo>
                      <a:pt x="853" y="156"/>
                    </a:lnTo>
                    <a:lnTo>
                      <a:pt x="849" y="162"/>
                    </a:lnTo>
                    <a:lnTo>
                      <a:pt x="843" y="169"/>
                    </a:lnTo>
                    <a:lnTo>
                      <a:pt x="840" y="175"/>
                    </a:lnTo>
                    <a:lnTo>
                      <a:pt x="836" y="181"/>
                    </a:lnTo>
                    <a:lnTo>
                      <a:pt x="832" y="187"/>
                    </a:lnTo>
                    <a:lnTo>
                      <a:pt x="828" y="192"/>
                    </a:lnTo>
                    <a:lnTo>
                      <a:pt x="824" y="200"/>
                    </a:lnTo>
                    <a:lnTo>
                      <a:pt x="821" y="204"/>
                    </a:lnTo>
                    <a:lnTo>
                      <a:pt x="817" y="211"/>
                    </a:lnTo>
                    <a:lnTo>
                      <a:pt x="813" y="217"/>
                    </a:lnTo>
                    <a:lnTo>
                      <a:pt x="809" y="221"/>
                    </a:lnTo>
                    <a:lnTo>
                      <a:pt x="805" y="226"/>
                    </a:lnTo>
                    <a:lnTo>
                      <a:pt x="803" y="232"/>
                    </a:lnTo>
                    <a:lnTo>
                      <a:pt x="800" y="238"/>
                    </a:lnTo>
                    <a:lnTo>
                      <a:pt x="798" y="244"/>
                    </a:lnTo>
                    <a:lnTo>
                      <a:pt x="794" y="247"/>
                    </a:lnTo>
                    <a:lnTo>
                      <a:pt x="790" y="253"/>
                    </a:lnTo>
                    <a:lnTo>
                      <a:pt x="788" y="259"/>
                    </a:lnTo>
                    <a:lnTo>
                      <a:pt x="784" y="263"/>
                    </a:lnTo>
                    <a:lnTo>
                      <a:pt x="783" y="268"/>
                    </a:lnTo>
                    <a:lnTo>
                      <a:pt x="781" y="272"/>
                    </a:lnTo>
                    <a:lnTo>
                      <a:pt x="777" y="276"/>
                    </a:lnTo>
                    <a:lnTo>
                      <a:pt x="773" y="283"/>
                    </a:lnTo>
                    <a:lnTo>
                      <a:pt x="767" y="289"/>
                    </a:lnTo>
                    <a:lnTo>
                      <a:pt x="764" y="295"/>
                    </a:lnTo>
                    <a:lnTo>
                      <a:pt x="758" y="303"/>
                    </a:lnTo>
                    <a:lnTo>
                      <a:pt x="752" y="310"/>
                    </a:lnTo>
                    <a:lnTo>
                      <a:pt x="748" y="314"/>
                    </a:lnTo>
                    <a:lnTo>
                      <a:pt x="746" y="318"/>
                    </a:lnTo>
                    <a:lnTo>
                      <a:pt x="743" y="322"/>
                    </a:lnTo>
                    <a:lnTo>
                      <a:pt x="741" y="325"/>
                    </a:lnTo>
                    <a:lnTo>
                      <a:pt x="737" y="329"/>
                    </a:lnTo>
                    <a:lnTo>
                      <a:pt x="733" y="335"/>
                    </a:lnTo>
                    <a:lnTo>
                      <a:pt x="729" y="339"/>
                    </a:lnTo>
                    <a:lnTo>
                      <a:pt x="726" y="342"/>
                    </a:lnTo>
                    <a:lnTo>
                      <a:pt x="722" y="346"/>
                    </a:lnTo>
                    <a:lnTo>
                      <a:pt x="718" y="352"/>
                    </a:lnTo>
                    <a:lnTo>
                      <a:pt x="714" y="358"/>
                    </a:lnTo>
                    <a:lnTo>
                      <a:pt x="710" y="361"/>
                    </a:lnTo>
                    <a:lnTo>
                      <a:pt x="707" y="367"/>
                    </a:lnTo>
                    <a:lnTo>
                      <a:pt x="703" y="371"/>
                    </a:lnTo>
                    <a:lnTo>
                      <a:pt x="699" y="377"/>
                    </a:lnTo>
                    <a:lnTo>
                      <a:pt x="695" y="380"/>
                    </a:lnTo>
                    <a:lnTo>
                      <a:pt x="689" y="386"/>
                    </a:lnTo>
                    <a:lnTo>
                      <a:pt x="686" y="392"/>
                    </a:lnTo>
                    <a:lnTo>
                      <a:pt x="682" y="396"/>
                    </a:lnTo>
                    <a:lnTo>
                      <a:pt x="678" y="403"/>
                    </a:lnTo>
                    <a:lnTo>
                      <a:pt x="672" y="407"/>
                    </a:lnTo>
                    <a:lnTo>
                      <a:pt x="669" y="413"/>
                    </a:lnTo>
                    <a:lnTo>
                      <a:pt x="663" y="418"/>
                    </a:lnTo>
                    <a:lnTo>
                      <a:pt x="659" y="422"/>
                    </a:lnTo>
                    <a:lnTo>
                      <a:pt x="653" y="428"/>
                    </a:lnTo>
                    <a:lnTo>
                      <a:pt x="650" y="434"/>
                    </a:lnTo>
                    <a:lnTo>
                      <a:pt x="644" y="439"/>
                    </a:lnTo>
                    <a:lnTo>
                      <a:pt x="640" y="445"/>
                    </a:lnTo>
                    <a:lnTo>
                      <a:pt x="634" y="451"/>
                    </a:lnTo>
                    <a:lnTo>
                      <a:pt x="631" y="456"/>
                    </a:lnTo>
                    <a:lnTo>
                      <a:pt x="625" y="460"/>
                    </a:lnTo>
                    <a:lnTo>
                      <a:pt x="621" y="468"/>
                    </a:lnTo>
                    <a:lnTo>
                      <a:pt x="615" y="472"/>
                    </a:lnTo>
                    <a:lnTo>
                      <a:pt x="612" y="477"/>
                    </a:lnTo>
                    <a:lnTo>
                      <a:pt x="606" y="483"/>
                    </a:lnTo>
                    <a:lnTo>
                      <a:pt x="602" y="489"/>
                    </a:lnTo>
                    <a:lnTo>
                      <a:pt x="596" y="495"/>
                    </a:lnTo>
                    <a:lnTo>
                      <a:pt x="593" y="500"/>
                    </a:lnTo>
                    <a:lnTo>
                      <a:pt x="587" y="506"/>
                    </a:lnTo>
                    <a:lnTo>
                      <a:pt x="581" y="512"/>
                    </a:lnTo>
                    <a:lnTo>
                      <a:pt x="577" y="517"/>
                    </a:lnTo>
                    <a:lnTo>
                      <a:pt x="572" y="521"/>
                    </a:lnTo>
                    <a:lnTo>
                      <a:pt x="566" y="527"/>
                    </a:lnTo>
                    <a:lnTo>
                      <a:pt x="562" y="534"/>
                    </a:lnTo>
                    <a:lnTo>
                      <a:pt x="556" y="538"/>
                    </a:lnTo>
                    <a:lnTo>
                      <a:pt x="553" y="544"/>
                    </a:lnTo>
                    <a:lnTo>
                      <a:pt x="547" y="550"/>
                    </a:lnTo>
                    <a:lnTo>
                      <a:pt x="543" y="555"/>
                    </a:lnTo>
                    <a:lnTo>
                      <a:pt x="537" y="559"/>
                    </a:lnTo>
                    <a:lnTo>
                      <a:pt x="534" y="565"/>
                    </a:lnTo>
                    <a:lnTo>
                      <a:pt x="528" y="571"/>
                    </a:lnTo>
                    <a:lnTo>
                      <a:pt x="524" y="576"/>
                    </a:lnTo>
                    <a:lnTo>
                      <a:pt x="518" y="580"/>
                    </a:lnTo>
                    <a:lnTo>
                      <a:pt x="515" y="586"/>
                    </a:lnTo>
                    <a:lnTo>
                      <a:pt x="509" y="591"/>
                    </a:lnTo>
                    <a:lnTo>
                      <a:pt x="505" y="597"/>
                    </a:lnTo>
                    <a:lnTo>
                      <a:pt x="499" y="601"/>
                    </a:lnTo>
                    <a:lnTo>
                      <a:pt x="496" y="607"/>
                    </a:lnTo>
                    <a:lnTo>
                      <a:pt x="490" y="612"/>
                    </a:lnTo>
                    <a:lnTo>
                      <a:pt x="486" y="618"/>
                    </a:lnTo>
                    <a:lnTo>
                      <a:pt x="480" y="622"/>
                    </a:lnTo>
                    <a:lnTo>
                      <a:pt x="477" y="628"/>
                    </a:lnTo>
                    <a:lnTo>
                      <a:pt x="471" y="633"/>
                    </a:lnTo>
                    <a:lnTo>
                      <a:pt x="467" y="639"/>
                    </a:lnTo>
                    <a:lnTo>
                      <a:pt x="461" y="643"/>
                    </a:lnTo>
                    <a:lnTo>
                      <a:pt x="458" y="648"/>
                    </a:lnTo>
                    <a:lnTo>
                      <a:pt x="452" y="654"/>
                    </a:lnTo>
                    <a:lnTo>
                      <a:pt x="448" y="660"/>
                    </a:lnTo>
                    <a:lnTo>
                      <a:pt x="444" y="666"/>
                    </a:lnTo>
                    <a:lnTo>
                      <a:pt x="439" y="669"/>
                    </a:lnTo>
                    <a:lnTo>
                      <a:pt x="435" y="675"/>
                    </a:lnTo>
                    <a:lnTo>
                      <a:pt x="431" y="681"/>
                    </a:lnTo>
                    <a:lnTo>
                      <a:pt x="425" y="687"/>
                    </a:lnTo>
                    <a:lnTo>
                      <a:pt x="420" y="692"/>
                    </a:lnTo>
                    <a:lnTo>
                      <a:pt x="416" y="696"/>
                    </a:lnTo>
                    <a:lnTo>
                      <a:pt x="412" y="704"/>
                    </a:lnTo>
                    <a:lnTo>
                      <a:pt x="406" y="707"/>
                    </a:lnTo>
                    <a:lnTo>
                      <a:pt x="403" y="713"/>
                    </a:lnTo>
                    <a:lnTo>
                      <a:pt x="397" y="719"/>
                    </a:lnTo>
                    <a:lnTo>
                      <a:pt x="393" y="725"/>
                    </a:lnTo>
                    <a:lnTo>
                      <a:pt x="389" y="730"/>
                    </a:lnTo>
                    <a:lnTo>
                      <a:pt x="385" y="736"/>
                    </a:lnTo>
                    <a:lnTo>
                      <a:pt x="380" y="740"/>
                    </a:lnTo>
                    <a:lnTo>
                      <a:pt x="376" y="747"/>
                    </a:lnTo>
                    <a:lnTo>
                      <a:pt x="372" y="751"/>
                    </a:lnTo>
                    <a:lnTo>
                      <a:pt x="368" y="757"/>
                    </a:lnTo>
                    <a:lnTo>
                      <a:pt x="363" y="763"/>
                    </a:lnTo>
                    <a:lnTo>
                      <a:pt x="359" y="768"/>
                    </a:lnTo>
                    <a:lnTo>
                      <a:pt x="355" y="772"/>
                    </a:lnTo>
                    <a:lnTo>
                      <a:pt x="351" y="780"/>
                    </a:lnTo>
                    <a:lnTo>
                      <a:pt x="347" y="783"/>
                    </a:lnTo>
                    <a:lnTo>
                      <a:pt x="342" y="791"/>
                    </a:lnTo>
                    <a:lnTo>
                      <a:pt x="338" y="795"/>
                    </a:lnTo>
                    <a:lnTo>
                      <a:pt x="334" y="801"/>
                    </a:lnTo>
                    <a:lnTo>
                      <a:pt x="330" y="806"/>
                    </a:lnTo>
                    <a:lnTo>
                      <a:pt x="327" y="812"/>
                    </a:lnTo>
                    <a:lnTo>
                      <a:pt x="323" y="818"/>
                    </a:lnTo>
                    <a:lnTo>
                      <a:pt x="319" y="823"/>
                    </a:lnTo>
                    <a:lnTo>
                      <a:pt x="315" y="829"/>
                    </a:lnTo>
                    <a:lnTo>
                      <a:pt x="311" y="835"/>
                    </a:lnTo>
                    <a:lnTo>
                      <a:pt x="308" y="840"/>
                    </a:lnTo>
                    <a:lnTo>
                      <a:pt x="304" y="844"/>
                    </a:lnTo>
                    <a:lnTo>
                      <a:pt x="300" y="850"/>
                    </a:lnTo>
                    <a:lnTo>
                      <a:pt x="296" y="858"/>
                    </a:lnTo>
                    <a:lnTo>
                      <a:pt x="292" y="861"/>
                    </a:lnTo>
                    <a:lnTo>
                      <a:pt x="289" y="867"/>
                    </a:lnTo>
                    <a:lnTo>
                      <a:pt x="285" y="873"/>
                    </a:lnTo>
                    <a:lnTo>
                      <a:pt x="283" y="879"/>
                    </a:lnTo>
                    <a:lnTo>
                      <a:pt x="279" y="884"/>
                    </a:lnTo>
                    <a:lnTo>
                      <a:pt x="275" y="890"/>
                    </a:lnTo>
                    <a:lnTo>
                      <a:pt x="273" y="896"/>
                    </a:lnTo>
                    <a:lnTo>
                      <a:pt x="270" y="901"/>
                    </a:lnTo>
                    <a:lnTo>
                      <a:pt x="266" y="907"/>
                    </a:lnTo>
                    <a:lnTo>
                      <a:pt x="264" y="913"/>
                    </a:lnTo>
                    <a:lnTo>
                      <a:pt x="260" y="918"/>
                    </a:lnTo>
                    <a:lnTo>
                      <a:pt x="258" y="924"/>
                    </a:lnTo>
                    <a:lnTo>
                      <a:pt x="254" y="928"/>
                    </a:lnTo>
                    <a:lnTo>
                      <a:pt x="251" y="934"/>
                    </a:lnTo>
                    <a:lnTo>
                      <a:pt x="247" y="939"/>
                    </a:lnTo>
                    <a:lnTo>
                      <a:pt x="243" y="945"/>
                    </a:lnTo>
                    <a:lnTo>
                      <a:pt x="239" y="951"/>
                    </a:lnTo>
                    <a:lnTo>
                      <a:pt x="235" y="956"/>
                    </a:lnTo>
                    <a:lnTo>
                      <a:pt x="232" y="962"/>
                    </a:lnTo>
                    <a:lnTo>
                      <a:pt x="228" y="970"/>
                    </a:lnTo>
                    <a:lnTo>
                      <a:pt x="224" y="975"/>
                    </a:lnTo>
                    <a:lnTo>
                      <a:pt x="218" y="981"/>
                    </a:lnTo>
                    <a:lnTo>
                      <a:pt x="214" y="987"/>
                    </a:lnTo>
                    <a:lnTo>
                      <a:pt x="211" y="993"/>
                    </a:lnTo>
                    <a:lnTo>
                      <a:pt x="205" y="998"/>
                    </a:lnTo>
                    <a:lnTo>
                      <a:pt x="199" y="1004"/>
                    </a:lnTo>
                    <a:lnTo>
                      <a:pt x="195" y="1012"/>
                    </a:lnTo>
                    <a:lnTo>
                      <a:pt x="190" y="1017"/>
                    </a:lnTo>
                    <a:lnTo>
                      <a:pt x="184" y="1023"/>
                    </a:lnTo>
                    <a:lnTo>
                      <a:pt x="180" y="1029"/>
                    </a:lnTo>
                    <a:lnTo>
                      <a:pt x="175" y="1034"/>
                    </a:lnTo>
                    <a:lnTo>
                      <a:pt x="169" y="1040"/>
                    </a:lnTo>
                    <a:lnTo>
                      <a:pt x="163" y="1046"/>
                    </a:lnTo>
                    <a:lnTo>
                      <a:pt x="157" y="1052"/>
                    </a:lnTo>
                    <a:lnTo>
                      <a:pt x="152" y="1057"/>
                    </a:lnTo>
                    <a:lnTo>
                      <a:pt x="148" y="1063"/>
                    </a:lnTo>
                    <a:lnTo>
                      <a:pt x="140" y="1069"/>
                    </a:lnTo>
                    <a:lnTo>
                      <a:pt x="137" y="1074"/>
                    </a:lnTo>
                    <a:lnTo>
                      <a:pt x="131" y="1080"/>
                    </a:lnTo>
                    <a:lnTo>
                      <a:pt x="125" y="1086"/>
                    </a:lnTo>
                    <a:lnTo>
                      <a:pt x="119" y="1091"/>
                    </a:lnTo>
                    <a:lnTo>
                      <a:pt x="114" y="1097"/>
                    </a:lnTo>
                    <a:lnTo>
                      <a:pt x="108" y="1103"/>
                    </a:lnTo>
                    <a:lnTo>
                      <a:pt x="104" y="1109"/>
                    </a:lnTo>
                    <a:lnTo>
                      <a:pt x="97" y="1112"/>
                    </a:lnTo>
                    <a:lnTo>
                      <a:pt x="91" y="1118"/>
                    </a:lnTo>
                    <a:lnTo>
                      <a:pt x="87" y="1124"/>
                    </a:lnTo>
                    <a:lnTo>
                      <a:pt x="81" y="1128"/>
                    </a:lnTo>
                    <a:lnTo>
                      <a:pt x="76" y="1133"/>
                    </a:lnTo>
                    <a:lnTo>
                      <a:pt x="72" y="1137"/>
                    </a:lnTo>
                    <a:lnTo>
                      <a:pt x="66" y="1143"/>
                    </a:lnTo>
                    <a:lnTo>
                      <a:pt x="62" y="1147"/>
                    </a:lnTo>
                    <a:lnTo>
                      <a:pt x="57" y="1150"/>
                    </a:lnTo>
                    <a:lnTo>
                      <a:pt x="51" y="1154"/>
                    </a:lnTo>
                    <a:lnTo>
                      <a:pt x="47" y="1160"/>
                    </a:lnTo>
                    <a:lnTo>
                      <a:pt x="43" y="1164"/>
                    </a:lnTo>
                    <a:lnTo>
                      <a:pt x="38" y="1167"/>
                    </a:lnTo>
                    <a:lnTo>
                      <a:pt x="34" y="1169"/>
                    </a:lnTo>
                    <a:lnTo>
                      <a:pt x="30" y="1173"/>
                    </a:lnTo>
                    <a:lnTo>
                      <a:pt x="28" y="1177"/>
                    </a:lnTo>
                    <a:lnTo>
                      <a:pt x="21" y="1183"/>
                    </a:lnTo>
                    <a:lnTo>
                      <a:pt x="0" y="1084"/>
                    </a:lnTo>
                    <a:lnTo>
                      <a:pt x="902" y="0"/>
                    </a:lnTo>
                    <a:lnTo>
                      <a:pt x="898" y="103"/>
                    </a:lnTo>
                    <a:close/>
                  </a:path>
                </a:pathLst>
              </a:custGeom>
              <a:solidFill>
                <a:srgbClr val="8A8A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51" name="Freeform 22"/>
              <p:cNvSpPr>
                <a:spLocks/>
              </p:cNvSpPr>
              <p:nvPr/>
            </p:nvSpPr>
            <p:spPr bwMode="auto">
              <a:xfrm>
                <a:off x="2320926" y="3181351"/>
                <a:ext cx="234950" cy="68263"/>
              </a:xfrm>
              <a:custGeom>
                <a:avLst/>
                <a:gdLst>
                  <a:gd name="T0" fmla="*/ 0 w 296"/>
                  <a:gd name="T1" fmla="*/ 0 h 88"/>
                  <a:gd name="T2" fmla="*/ 2147483646 w 296"/>
                  <a:gd name="T3" fmla="*/ 2147483646 h 88"/>
                  <a:gd name="T4" fmla="*/ 2147483646 w 296"/>
                  <a:gd name="T5" fmla="*/ 2147483646 h 88"/>
                  <a:gd name="T6" fmla="*/ 2147483646 w 296"/>
                  <a:gd name="T7" fmla="*/ 2147483646 h 88"/>
                  <a:gd name="T8" fmla="*/ 2147483646 w 296"/>
                  <a:gd name="T9" fmla="*/ 2147483646 h 88"/>
                  <a:gd name="T10" fmla="*/ 2147483646 w 296"/>
                  <a:gd name="T11" fmla="*/ 2147483646 h 88"/>
                  <a:gd name="T12" fmla="*/ 2147483646 w 296"/>
                  <a:gd name="T13" fmla="*/ 2147483646 h 88"/>
                  <a:gd name="T14" fmla="*/ 2147483646 w 296"/>
                  <a:gd name="T15" fmla="*/ 2147483646 h 88"/>
                  <a:gd name="T16" fmla="*/ 2147483646 w 296"/>
                  <a:gd name="T17" fmla="*/ 2147483646 h 88"/>
                  <a:gd name="T18" fmla="*/ 2147483646 w 296"/>
                  <a:gd name="T19" fmla="*/ 2147483646 h 88"/>
                  <a:gd name="T20" fmla="*/ 2147483646 w 296"/>
                  <a:gd name="T21" fmla="*/ 2147483646 h 88"/>
                  <a:gd name="T22" fmla="*/ 2147483646 w 296"/>
                  <a:gd name="T23" fmla="*/ 2147483646 h 88"/>
                  <a:gd name="T24" fmla="*/ 2147483646 w 296"/>
                  <a:gd name="T25" fmla="*/ 2147483646 h 88"/>
                  <a:gd name="T26" fmla="*/ 2147483646 w 296"/>
                  <a:gd name="T27" fmla="*/ 2147483646 h 88"/>
                  <a:gd name="T28" fmla="*/ 2147483646 w 296"/>
                  <a:gd name="T29" fmla="*/ 2147483646 h 88"/>
                  <a:gd name="T30" fmla="*/ 2147483646 w 296"/>
                  <a:gd name="T31" fmla="*/ 2147483646 h 88"/>
                  <a:gd name="T32" fmla="*/ 2147483646 w 296"/>
                  <a:gd name="T33" fmla="*/ 2147483646 h 88"/>
                  <a:gd name="T34" fmla="*/ 2147483646 w 296"/>
                  <a:gd name="T35" fmla="*/ 2147483646 h 88"/>
                  <a:gd name="T36" fmla="*/ 2147483646 w 296"/>
                  <a:gd name="T37" fmla="*/ 2147483646 h 88"/>
                  <a:gd name="T38" fmla="*/ 2147483646 w 296"/>
                  <a:gd name="T39" fmla="*/ 2147483646 h 88"/>
                  <a:gd name="T40" fmla="*/ 2147483646 w 296"/>
                  <a:gd name="T41" fmla="*/ 2147483646 h 88"/>
                  <a:gd name="T42" fmla="*/ 2147483646 w 296"/>
                  <a:gd name="T43" fmla="*/ 2147483646 h 88"/>
                  <a:gd name="T44" fmla="*/ 2147483646 w 296"/>
                  <a:gd name="T45" fmla="*/ 2147483646 h 88"/>
                  <a:gd name="T46" fmla="*/ 2147483646 w 296"/>
                  <a:gd name="T47" fmla="*/ 2147483646 h 88"/>
                  <a:gd name="T48" fmla="*/ 2147483646 w 296"/>
                  <a:gd name="T49" fmla="*/ 2147483646 h 88"/>
                  <a:gd name="T50" fmla="*/ 2147483646 w 296"/>
                  <a:gd name="T51" fmla="*/ 2147483646 h 88"/>
                  <a:gd name="T52" fmla="*/ 2147483646 w 296"/>
                  <a:gd name="T53" fmla="*/ 2147483646 h 88"/>
                  <a:gd name="T54" fmla="*/ 2147483646 w 296"/>
                  <a:gd name="T55" fmla="*/ 2147483646 h 88"/>
                  <a:gd name="T56" fmla="*/ 2147483646 w 296"/>
                  <a:gd name="T57" fmla="*/ 2147483646 h 88"/>
                  <a:gd name="T58" fmla="*/ 2147483646 w 296"/>
                  <a:gd name="T59" fmla="*/ 2147483646 h 88"/>
                  <a:gd name="T60" fmla="*/ 2147483646 w 296"/>
                  <a:gd name="T61" fmla="*/ 2147483646 h 88"/>
                  <a:gd name="T62" fmla="*/ 2147483646 w 296"/>
                  <a:gd name="T63" fmla="*/ 2147483646 h 88"/>
                  <a:gd name="T64" fmla="*/ 2147483646 w 296"/>
                  <a:gd name="T65" fmla="*/ 2147483646 h 88"/>
                  <a:gd name="T66" fmla="*/ 2147483646 w 296"/>
                  <a:gd name="T67" fmla="*/ 2147483646 h 88"/>
                  <a:gd name="T68" fmla="*/ 2147483646 w 296"/>
                  <a:gd name="T69" fmla="*/ 2147483646 h 88"/>
                  <a:gd name="T70" fmla="*/ 2147483646 w 296"/>
                  <a:gd name="T71" fmla="*/ 2147483646 h 88"/>
                  <a:gd name="T72" fmla="*/ 2147483646 w 296"/>
                  <a:gd name="T73" fmla="*/ 2147483646 h 88"/>
                  <a:gd name="T74" fmla="*/ 2147483646 w 296"/>
                  <a:gd name="T75" fmla="*/ 2147483646 h 88"/>
                  <a:gd name="T76" fmla="*/ 2147483646 w 296"/>
                  <a:gd name="T77" fmla="*/ 2147483646 h 88"/>
                  <a:gd name="T78" fmla="*/ 2147483646 w 296"/>
                  <a:gd name="T79" fmla="*/ 2147483646 h 88"/>
                  <a:gd name="T80" fmla="*/ 2147483646 w 296"/>
                  <a:gd name="T81" fmla="*/ 2147483646 h 88"/>
                  <a:gd name="T82" fmla="*/ 2147483646 w 296"/>
                  <a:gd name="T83" fmla="*/ 2147483646 h 88"/>
                  <a:gd name="T84" fmla="*/ 2147483646 w 296"/>
                  <a:gd name="T85" fmla="*/ 2147483646 h 88"/>
                  <a:gd name="T86" fmla="*/ 2147483646 w 296"/>
                  <a:gd name="T87" fmla="*/ 2147483646 h 88"/>
                  <a:gd name="T88" fmla="*/ 2147483646 w 296"/>
                  <a:gd name="T89" fmla="*/ 2147483646 h 88"/>
                  <a:gd name="T90" fmla="*/ 2147483646 w 296"/>
                  <a:gd name="T91" fmla="*/ 2147483646 h 88"/>
                  <a:gd name="T92" fmla="*/ 2147483646 w 296"/>
                  <a:gd name="T93" fmla="*/ 2147483646 h 88"/>
                  <a:gd name="T94" fmla="*/ 2147483646 w 296"/>
                  <a:gd name="T95" fmla="*/ 2147483646 h 88"/>
                  <a:gd name="T96" fmla="*/ 2147483646 w 296"/>
                  <a:gd name="T97" fmla="*/ 2147483646 h 88"/>
                  <a:gd name="T98" fmla="*/ 2147483646 w 296"/>
                  <a:gd name="T99" fmla="*/ 2147483646 h 88"/>
                  <a:gd name="T100" fmla="*/ 2147483646 w 296"/>
                  <a:gd name="T101" fmla="*/ 2147483646 h 88"/>
                  <a:gd name="T102" fmla="*/ 2147483646 w 296"/>
                  <a:gd name="T103" fmla="*/ 2147483646 h 88"/>
                  <a:gd name="T104" fmla="*/ 2147483646 w 296"/>
                  <a:gd name="T105" fmla="*/ 2147483646 h 88"/>
                  <a:gd name="T106" fmla="*/ 2147483646 w 296"/>
                  <a:gd name="T107" fmla="*/ 2147483646 h 88"/>
                  <a:gd name="T108" fmla="*/ 2147483646 w 296"/>
                  <a:gd name="T109" fmla="*/ 2147483646 h 88"/>
                  <a:gd name="T110" fmla="*/ 2147483646 w 296"/>
                  <a:gd name="T111" fmla="*/ 2147483646 h 88"/>
                  <a:gd name="T112" fmla="*/ 2147483646 w 296"/>
                  <a:gd name="T113" fmla="*/ 2147483646 h 88"/>
                  <a:gd name="T114" fmla="*/ 2147483646 w 296"/>
                  <a:gd name="T115" fmla="*/ 2147483646 h 88"/>
                  <a:gd name="T116" fmla="*/ 2147483646 w 296"/>
                  <a:gd name="T117" fmla="*/ 2147483646 h 88"/>
                  <a:gd name="T118" fmla="*/ 2147483646 w 296"/>
                  <a:gd name="T119" fmla="*/ 2147483646 h 88"/>
                  <a:gd name="T120" fmla="*/ 2147483646 w 296"/>
                  <a:gd name="T121" fmla="*/ 2147483646 h 88"/>
                  <a:gd name="T122" fmla="*/ 0 w 296"/>
                  <a:gd name="T123" fmla="*/ 0 h 88"/>
                  <a:gd name="T124" fmla="*/ 0 w 296"/>
                  <a:gd name="T125" fmla="*/ 0 h 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96"/>
                  <a:gd name="T190" fmla="*/ 0 h 88"/>
                  <a:gd name="T191" fmla="*/ 296 w 296"/>
                  <a:gd name="T192" fmla="*/ 88 h 8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96" h="88">
                    <a:moveTo>
                      <a:pt x="0" y="0"/>
                    </a:moveTo>
                    <a:lnTo>
                      <a:pt x="296" y="2"/>
                    </a:lnTo>
                    <a:lnTo>
                      <a:pt x="288" y="80"/>
                    </a:lnTo>
                    <a:lnTo>
                      <a:pt x="287" y="80"/>
                    </a:lnTo>
                    <a:lnTo>
                      <a:pt x="281" y="80"/>
                    </a:lnTo>
                    <a:lnTo>
                      <a:pt x="277" y="80"/>
                    </a:lnTo>
                    <a:lnTo>
                      <a:pt x="271" y="80"/>
                    </a:lnTo>
                    <a:lnTo>
                      <a:pt x="266" y="80"/>
                    </a:lnTo>
                    <a:lnTo>
                      <a:pt x="262" y="80"/>
                    </a:lnTo>
                    <a:lnTo>
                      <a:pt x="258" y="82"/>
                    </a:lnTo>
                    <a:lnTo>
                      <a:pt x="254" y="82"/>
                    </a:lnTo>
                    <a:lnTo>
                      <a:pt x="250" y="82"/>
                    </a:lnTo>
                    <a:lnTo>
                      <a:pt x="245" y="82"/>
                    </a:lnTo>
                    <a:lnTo>
                      <a:pt x="241" y="82"/>
                    </a:lnTo>
                    <a:lnTo>
                      <a:pt x="235" y="84"/>
                    </a:lnTo>
                    <a:lnTo>
                      <a:pt x="231" y="84"/>
                    </a:lnTo>
                    <a:lnTo>
                      <a:pt x="226" y="84"/>
                    </a:lnTo>
                    <a:lnTo>
                      <a:pt x="222" y="84"/>
                    </a:lnTo>
                    <a:lnTo>
                      <a:pt x="216" y="86"/>
                    </a:lnTo>
                    <a:lnTo>
                      <a:pt x="212" y="86"/>
                    </a:lnTo>
                    <a:lnTo>
                      <a:pt x="207" y="86"/>
                    </a:lnTo>
                    <a:lnTo>
                      <a:pt x="201" y="86"/>
                    </a:lnTo>
                    <a:lnTo>
                      <a:pt x="195" y="86"/>
                    </a:lnTo>
                    <a:lnTo>
                      <a:pt x="192" y="86"/>
                    </a:lnTo>
                    <a:lnTo>
                      <a:pt x="186" y="86"/>
                    </a:lnTo>
                    <a:lnTo>
                      <a:pt x="182" y="86"/>
                    </a:lnTo>
                    <a:lnTo>
                      <a:pt x="176" y="86"/>
                    </a:lnTo>
                    <a:lnTo>
                      <a:pt x="173" y="88"/>
                    </a:lnTo>
                    <a:lnTo>
                      <a:pt x="167" y="88"/>
                    </a:lnTo>
                    <a:lnTo>
                      <a:pt x="161" y="88"/>
                    </a:lnTo>
                    <a:lnTo>
                      <a:pt x="155" y="88"/>
                    </a:lnTo>
                    <a:lnTo>
                      <a:pt x="152" y="88"/>
                    </a:lnTo>
                    <a:lnTo>
                      <a:pt x="146" y="88"/>
                    </a:lnTo>
                    <a:lnTo>
                      <a:pt x="142" y="88"/>
                    </a:lnTo>
                    <a:lnTo>
                      <a:pt x="136" y="88"/>
                    </a:lnTo>
                    <a:lnTo>
                      <a:pt x="133" y="88"/>
                    </a:lnTo>
                    <a:lnTo>
                      <a:pt x="127" y="88"/>
                    </a:lnTo>
                    <a:lnTo>
                      <a:pt x="121" y="88"/>
                    </a:lnTo>
                    <a:lnTo>
                      <a:pt x="116" y="88"/>
                    </a:lnTo>
                    <a:lnTo>
                      <a:pt x="112" y="88"/>
                    </a:lnTo>
                    <a:lnTo>
                      <a:pt x="106" y="88"/>
                    </a:lnTo>
                    <a:lnTo>
                      <a:pt x="100" y="88"/>
                    </a:lnTo>
                    <a:lnTo>
                      <a:pt x="97" y="88"/>
                    </a:lnTo>
                    <a:lnTo>
                      <a:pt x="91" y="88"/>
                    </a:lnTo>
                    <a:lnTo>
                      <a:pt x="85" y="86"/>
                    </a:lnTo>
                    <a:lnTo>
                      <a:pt x="79" y="86"/>
                    </a:lnTo>
                    <a:lnTo>
                      <a:pt x="76" y="86"/>
                    </a:lnTo>
                    <a:lnTo>
                      <a:pt x="70" y="86"/>
                    </a:lnTo>
                    <a:lnTo>
                      <a:pt x="64" y="84"/>
                    </a:lnTo>
                    <a:lnTo>
                      <a:pt x="59" y="84"/>
                    </a:lnTo>
                    <a:lnTo>
                      <a:pt x="53" y="82"/>
                    </a:lnTo>
                    <a:lnTo>
                      <a:pt x="49" y="82"/>
                    </a:lnTo>
                    <a:lnTo>
                      <a:pt x="43" y="82"/>
                    </a:lnTo>
                    <a:lnTo>
                      <a:pt x="38" y="80"/>
                    </a:lnTo>
                    <a:lnTo>
                      <a:pt x="32" y="80"/>
                    </a:lnTo>
                    <a:lnTo>
                      <a:pt x="26" y="78"/>
                    </a:lnTo>
                    <a:lnTo>
                      <a:pt x="22" y="78"/>
                    </a:lnTo>
                    <a:lnTo>
                      <a:pt x="17" y="76"/>
                    </a:lnTo>
                    <a:lnTo>
                      <a:pt x="11" y="76"/>
                    </a:lnTo>
                    <a:lnTo>
                      <a:pt x="5" y="74"/>
                    </a:lnTo>
                    <a:lnTo>
                      <a:pt x="0" y="0"/>
                    </a:lnTo>
                    <a:close/>
                  </a:path>
                </a:pathLst>
              </a:custGeom>
              <a:solidFill>
                <a:srgbClr val="8A8A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52" name="Freeform 23"/>
              <p:cNvSpPr>
                <a:spLocks/>
              </p:cNvSpPr>
              <p:nvPr/>
            </p:nvSpPr>
            <p:spPr bwMode="auto">
              <a:xfrm>
                <a:off x="2797176" y="3179763"/>
                <a:ext cx="263525" cy="60325"/>
              </a:xfrm>
              <a:custGeom>
                <a:avLst/>
                <a:gdLst>
                  <a:gd name="T0" fmla="*/ 2147483646 w 333"/>
                  <a:gd name="T1" fmla="*/ 0 h 76"/>
                  <a:gd name="T2" fmla="*/ 2147483646 w 333"/>
                  <a:gd name="T3" fmla="*/ 2147483646 h 76"/>
                  <a:gd name="T4" fmla="*/ 2147483646 w 333"/>
                  <a:gd name="T5" fmla="*/ 2147483646 h 76"/>
                  <a:gd name="T6" fmla="*/ 2147483646 w 333"/>
                  <a:gd name="T7" fmla="*/ 2147483646 h 76"/>
                  <a:gd name="T8" fmla="*/ 2147483646 w 333"/>
                  <a:gd name="T9" fmla="*/ 2147483646 h 76"/>
                  <a:gd name="T10" fmla="*/ 2147483646 w 333"/>
                  <a:gd name="T11" fmla="*/ 2147483646 h 76"/>
                  <a:gd name="T12" fmla="*/ 2147483646 w 333"/>
                  <a:gd name="T13" fmla="*/ 2147483646 h 76"/>
                  <a:gd name="T14" fmla="*/ 2147483646 w 333"/>
                  <a:gd name="T15" fmla="*/ 2147483646 h 76"/>
                  <a:gd name="T16" fmla="*/ 2147483646 w 333"/>
                  <a:gd name="T17" fmla="*/ 2147483646 h 76"/>
                  <a:gd name="T18" fmla="*/ 2147483646 w 333"/>
                  <a:gd name="T19" fmla="*/ 2147483646 h 76"/>
                  <a:gd name="T20" fmla="*/ 2147483646 w 333"/>
                  <a:gd name="T21" fmla="*/ 2147483646 h 76"/>
                  <a:gd name="T22" fmla="*/ 2147483646 w 333"/>
                  <a:gd name="T23" fmla="*/ 2147483646 h 76"/>
                  <a:gd name="T24" fmla="*/ 2147483646 w 333"/>
                  <a:gd name="T25" fmla="*/ 2147483646 h 76"/>
                  <a:gd name="T26" fmla="*/ 2147483646 w 333"/>
                  <a:gd name="T27" fmla="*/ 2147483646 h 76"/>
                  <a:gd name="T28" fmla="*/ 2147483646 w 333"/>
                  <a:gd name="T29" fmla="*/ 2147483646 h 76"/>
                  <a:gd name="T30" fmla="*/ 2147483646 w 333"/>
                  <a:gd name="T31" fmla="*/ 2147483646 h 76"/>
                  <a:gd name="T32" fmla="*/ 2147483646 w 333"/>
                  <a:gd name="T33" fmla="*/ 2147483646 h 76"/>
                  <a:gd name="T34" fmla="*/ 2147483646 w 333"/>
                  <a:gd name="T35" fmla="*/ 2147483646 h 76"/>
                  <a:gd name="T36" fmla="*/ 2147483646 w 333"/>
                  <a:gd name="T37" fmla="*/ 2147483646 h 76"/>
                  <a:gd name="T38" fmla="*/ 2147483646 w 333"/>
                  <a:gd name="T39" fmla="*/ 2147483646 h 76"/>
                  <a:gd name="T40" fmla="*/ 2147483646 w 333"/>
                  <a:gd name="T41" fmla="*/ 2147483646 h 76"/>
                  <a:gd name="T42" fmla="*/ 2147483646 w 333"/>
                  <a:gd name="T43" fmla="*/ 2147483646 h 76"/>
                  <a:gd name="T44" fmla="*/ 2147483646 w 333"/>
                  <a:gd name="T45" fmla="*/ 2147483646 h 76"/>
                  <a:gd name="T46" fmla="*/ 2147483646 w 333"/>
                  <a:gd name="T47" fmla="*/ 2147483646 h 76"/>
                  <a:gd name="T48" fmla="*/ 2147483646 w 333"/>
                  <a:gd name="T49" fmla="*/ 2147483646 h 76"/>
                  <a:gd name="T50" fmla="*/ 2147483646 w 333"/>
                  <a:gd name="T51" fmla="*/ 2147483646 h 76"/>
                  <a:gd name="T52" fmla="*/ 2147483646 w 333"/>
                  <a:gd name="T53" fmla="*/ 2147483646 h 76"/>
                  <a:gd name="T54" fmla="*/ 2147483646 w 333"/>
                  <a:gd name="T55" fmla="*/ 2147483646 h 76"/>
                  <a:gd name="T56" fmla="*/ 2147483646 w 333"/>
                  <a:gd name="T57" fmla="*/ 2147483646 h 76"/>
                  <a:gd name="T58" fmla="*/ 2147483646 w 333"/>
                  <a:gd name="T59" fmla="*/ 2147483646 h 76"/>
                  <a:gd name="T60" fmla="*/ 2147483646 w 333"/>
                  <a:gd name="T61" fmla="*/ 2147483646 h 76"/>
                  <a:gd name="T62" fmla="*/ 0 w 333"/>
                  <a:gd name="T63" fmla="*/ 2147483646 h 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33"/>
                  <a:gd name="T97" fmla="*/ 0 h 76"/>
                  <a:gd name="T98" fmla="*/ 333 w 333"/>
                  <a:gd name="T99" fmla="*/ 76 h 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33" h="76">
                    <a:moveTo>
                      <a:pt x="0" y="2"/>
                    </a:moveTo>
                    <a:lnTo>
                      <a:pt x="331" y="0"/>
                    </a:lnTo>
                    <a:lnTo>
                      <a:pt x="333" y="55"/>
                    </a:lnTo>
                    <a:lnTo>
                      <a:pt x="331" y="55"/>
                    </a:lnTo>
                    <a:lnTo>
                      <a:pt x="329" y="55"/>
                    </a:lnTo>
                    <a:lnTo>
                      <a:pt x="325" y="55"/>
                    </a:lnTo>
                    <a:lnTo>
                      <a:pt x="319" y="55"/>
                    </a:lnTo>
                    <a:lnTo>
                      <a:pt x="314" y="55"/>
                    </a:lnTo>
                    <a:lnTo>
                      <a:pt x="306" y="55"/>
                    </a:lnTo>
                    <a:lnTo>
                      <a:pt x="302" y="55"/>
                    </a:lnTo>
                    <a:lnTo>
                      <a:pt x="296" y="57"/>
                    </a:lnTo>
                    <a:lnTo>
                      <a:pt x="293" y="57"/>
                    </a:lnTo>
                    <a:lnTo>
                      <a:pt x="289" y="57"/>
                    </a:lnTo>
                    <a:lnTo>
                      <a:pt x="283" y="57"/>
                    </a:lnTo>
                    <a:lnTo>
                      <a:pt x="277" y="57"/>
                    </a:lnTo>
                    <a:lnTo>
                      <a:pt x="272" y="57"/>
                    </a:lnTo>
                    <a:lnTo>
                      <a:pt x="266" y="59"/>
                    </a:lnTo>
                    <a:lnTo>
                      <a:pt x="260" y="59"/>
                    </a:lnTo>
                    <a:lnTo>
                      <a:pt x="255" y="59"/>
                    </a:lnTo>
                    <a:lnTo>
                      <a:pt x="247" y="61"/>
                    </a:lnTo>
                    <a:lnTo>
                      <a:pt x="241" y="61"/>
                    </a:lnTo>
                    <a:lnTo>
                      <a:pt x="236" y="61"/>
                    </a:lnTo>
                    <a:lnTo>
                      <a:pt x="228" y="63"/>
                    </a:lnTo>
                    <a:lnTo>
                      <a:pt x="220" y="63"/>
                    </a:lnTo>
                    <a:lnTo>
                      <a:pt x="215" y="63"/>
                    </a:lnTo>
                    <a:lnTo>
                      <a:pt x="207" y="65"/>
                    </a:lnTo>
                    <a:lnTo>
                      <a:pt x="200" y="65"/>
                    </a:lnTo>
                    <a:lnTo>
                      <a:pt x="192" y="67"/>
                    </a:lnTo>
                    <a:lnTo>
                      <a:pt x="186" y="67"/>
                    </a:lnTo>
                    <a:lnTo>
                      <a:pt x="181" y="67"/>
                    </a:lnTo>
                    <a:lnTo>
                      <a:pt x="177" y="67"/>
                    </a:lnTo>
                    <a:lnTo>
                      <a:pt x="175" y="69"/>
                    </a:lnTo>
                    <a:lnTo>
                      <a:pt x="171" y="69"/>
                    </a:lnTo>
                    <a:lnTo>
                      <a:pt x="163" y="69"/>
                    </a:lnTo>
                    <a:lnTo>
                      <a:pt x="158" y="71"/>
                    </a:lnTo>
                    <a:lnTo>
                      <a:pt x="150" y="71"/>
                    </a:lnTo>
                    <a:lnTo>
                      <a:pt x="144" y="73"/>
                    </a:lnTo>
                    <a:lnTo>
                      <a:pt x="139" y="73"/>
                    </a:lnTo>
                    <a:lnTo>
                      <a:pt x="133" y="74"/>
                    </a:lnTo>
                    <a:lnTo>
                      <a:pt x="127" y="74"/>
                    </a:lnTo>
                    <a:lnTo>
                      <a:pt x="122" y="74"/>
                    </a:lnTo>
                    <a:lnTo>
                      <a:pt x="116" y="74"/>
                    </a:lnTo>
                    <a:lnTo>
                      <a:pt x="112" y="74"/>
                    </a:lnTo>
                    <a:lnTo>
                      <a:pt x="106" y="74"/>
                    </a:lnTo>
                    <a:lnTo>
                      <a:pt x="101" y="76"/>
                    </a:lnTo>
                    <a:lnTo>
                      <a:pt x="97" y="76"/>
                    </a:lnTo>
                    <a:lnTo>
                      <a:pt x="93" y="76"/>
                    </a:lnTo>
                    <a:lnTo>
                      <a:pt x="87" y="76"/>
                    </a:lnTo>
                    <a:lnTo>
                      <a:pt x="84" y="76"/>
                    </a:lnTo>
                    <a:lnTo>
                      <a:pt x="78" y="76"/>
                    </a:lnTo>
                    <a:lnTo>
                      <a:pt x="74" y="76"/>
                    </a:lnTo>
                    <a:lnTo>
                      <a:pt x="68" y="74"/>
                    </a:lnTo>
                    <a:lnTo>
                      <a:pt x="65" y="74"/>
                    </a:lnTo>
                    <a:lnTo>
                      <a:pt x="59" y="74"/>
                    </a:lnTo>
                    <a:lnTo>
                      <a:pt x="55" y="74"/>
                    </a:lnTo>
                    <a:lnTo>
                      <a:pt x="49" y="73"/>
                    </a:lnTo>
                    <a:lnTo>
                      <a:pt x="44" y="73"/>
                    </a:lnTo>
                    <a:lnTo>
                      <a:pt x="38" y="71"/>
                    </a:lnTo>
                    <a:lnTo>
                      <a:pt x="32" y="71"/>
                    </a:lnTo>
                    <a:lnTo>
                      <a:pt x="27" y="69"/>
                    </a:lnTo>
                    <a:lnTo>
                      <a:pt x="21" y="67"/>
                    </a:lnTo>
                    <a:lnTo>
                      <a:pt x="15" y="67"/>
                    </a:lnTo>
                    <a:lnTo>
                      <a:pt x="8" y="65"/>
                    </a:lnTo>
                    <a:lnTo>
                      <a:pt x="0" y="2"/>
                    </a:lnTo>
                    <a:close/>
                  </a:path>
                </a:pathLst>
              </a:custGeom>
              <a:solidFill>
                <a:srgbClr val="8A8A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53" name="Freeform 25"/>
              <p:cNvSpPr>
                <a:spLocks/>
              </p:cNvSpPr>
              <p:nvPr/>
            </p:nvSpPr>
            <p:spPr bwMode="auto">
              <a:xfrm>
                <a:off x="2054226" y="2181226"/>
                <a:ext cx="88900" cy="84138"/>
              </a:xfrm>
              <a:custGeom>
                <a:avLst/>
                <a:gdLst>
                  <a:gd name="T0" fmla="*/ 2147483646 w 112"/>
                  <a:gd name="T1" fmla="*/ 0 h 104"/>
                  <a:gd name="T2" fmla="*/ 2147483646 w 112"/>
                  <a:gd name="T3" fmla="*/ 0 h 104"/>
                  <a:gd name="T4" fmla="*/ 2147483646 w 112"/>
                  <a:gd name="T5" fmla="*/ 0 h 104"/>
                  <a:gd name="T6" fmla="*/ 2147483646 w 112"/>
                  <a:gd name="T7" fmla="*/ 0 h 104"/>
                  <a:gd name="T8" fmla="*/ 2147483646 w 112"/>
                  <a:gd name="T9" fmla="*/ 2147483646 h 104"/>
                  <a:gd name="T10" fmla="*/ 2147483646 w 112"/>
                  <a:gd name="T11" fmla="*/ 2147483646 h 104"/>
                  <a:gd name="T12" fmla="*/ 2147483646 w 112"/>
                  <a:gd name="T13" fmla="*/ 2147483646 h 104"/>
                  <a:gd name="T14" fmla="*/ 2147483646 w 112"/>
                  <a:gd name="T15" fmla="*/ 2147483646 h 104"/>
                  <a:gd name="T16" fmla="*/ 2147483646 w 112"/>
                  <a:gd name="T17" fmla="*/ 2147483646 h 104"/>
                  <a:gd name="T18" fmla="*/ 2147483646 w 112"/>
                  <a:gd name="T19" fmla="*/ 2147483646 h 104"/>
                  <a:gd name="T20" fmla="*/ 2147483646 w 112"/>
                  <a:gd name="T21" fmla="*/ 2147483646 h 104"/>
                  <a:gd name="T22" fmla="*/ 2147483646 w 112"/>
                  <a:gd name="T23" fmla="*/ 2147483646 h 104"/>
                  <a:gd name="T24" fmla="*/ 2147483646 w 112"/>
                  <a:gd name="T25" fmla="*/ 2147483646 h 104"/>
                  <a:gd name="T26" fmla="*/ 2147483646 w 112"/>
                  <a:gd name="T27" fmla="*/ 2147483646 h 104"/>
                  <a:gd name="T28" fmla="*/ 2147483646 w 112"/>
                  <a:gd name="T29" fmla="*/ 2147483646 h 104"/>
                  <a:gd name="T30" fmla="*/ 2147483646 w 112"/>
                  <a:gd name="T31" fmla="*/ 2147483646 h 104"/>
                  <a:gd name="T32" fmla="*/ 2147483646 w 112"/>
                  <a:gd name="T33" fmla="*/ 2147483646 h 104"/>
                  <a:gd name="T34" fmla="*/ 2147483646 w 112"/>
                  <a:gd name="T35" fmla="*/ 2147483646 h 104"/>
                  <a:gd name="T36" fmla="*/ 2147483646 w 112"/>
                  <a:gd name="T37" fmla="*/ 2147483646 h 104"/>
                  <a:gd name="T38" fmla="*/ 2147483646 w 112"/>
                  <a:gd name="T39" fmla="*/ 2147483646 h 104"/>
                  <a:gd name="T40" fmla="*/ 2147483646 w 112"/>
                  <a:gd name="T41" fmla="*/ 2147483646 h 104"/>
                  <a:gd name="T42" fmla="*/ 2147483646 w 112"/>
                  <a:gd name="T43" fmla="*/ 2147483646 h 104"/>
                  <a:gd name="T44" fmla="*/ 2147483646 w 112"/>
                  <a:gd name="T45" fmla="*/ 2147483646 h 104"/>
                  <a:gd name="T46" fmla="*/ 2147483646 w 112"/>
                  <a:gd name="T47" fmla="*/ 2147483646 h 104"/>
                  <a:gd name="T48" fmla="*/ 2147483646 w 112"/>
                  <a:gd name="T49" fmla="*/ 2147483646 h 104"/>
                  <a:gd name="T50" fmla="*/ 2147483646 w 112"/>
                  <a:gd name="T51" fmla="*/ 2147483646 h 104"/>
                  <a:gd name="T52" fmla="*/ 2147483646 w 112"/>
                  <a:gd name="T53" fmla="*/ 2147483646 h 104"/>
                  <a:gd name="T54" fmla="*/ 2147483646 w 112"/>
                  <a:gd name="T55" fmla="*/ 2147483646 h 104"/>
                  <a:gd name="T56" fmla="*/ 2147483646 w 112"/>
                  <a:gd name="T57" fmla="*/ 2147483646 h 104"/>
                  <a:gd name="T58" fmla="*/ 2147483646 w 112"/>
                  <a:gd name="T59" fmla="*/ 2147483646 h 104"/>
                  <a:gd name="T60" fmla="*/ 2147483646 w 112"/>
                  <a:gd name="T61" fmla="*/ 2147483646 h 104"/>
                  <a:gd name="T62" fmla="*/ 2147483646 w 112"/>
                  <a:gd name="T63" fmla="*/ 2147483646 h 104"/>
                  <a:gd name="T64" fmla="*/ 2147483646 w 112"/>
                  <a:gd name="T65" fmla="*/ 2147483646 h 104"/>
                  <a:gd name="T66" fmla="*/ 0 w 112"/>
                  <a:gd name="T67" fmla="*/ 2147483646 h 10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2"/>
                  <a:gd name="T103" fmla="*/ 0 h 104"/>
                  <a:gd name="T104" fmla="*/ 112 w 112"/>
                  <a:gd name="T105" fmla="*/ 104 h 10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2" h="104">
                    <a:moveTo>
                      <a:pt x="0" y="2"/>
                    </a:moveTo>
                    <a:lnTo>
                      <a:pt x="2" y="0"/>
                    </a:lnTo>
                    <a:lnTo>
                      <a:pt x="4" y="0"/>
                    </a:lnTo>
                    <a:lnTo>
                      <a:pt x="8" y="0"/>
                    </a:lnTo>
                    <a:lnTo>
                      <a:pt x="16" y="0"/>
                    </a:lnTo>
                    <a:lnTo>
                      <a:pt x="21" y="0"/>
                    </a:lnTo>
                    <a:lnTo>
                      <a:pt x="29" y="0"/>
                    </a:lnTo>
                    <a:lnTo>
                      <a:pt x="33" y="0"/>
                    </a:lnTo>
                    <a:lnTo>
                      <a:pt x="36" y="0"/>
                    </a:lnTo>
                    <a:lnTo>
                      <a:pt x="40" y="2"/>
                    </a:lnTo>
                    <a:lnTo>
                      <a:pt x="46" y="2"/>
                    </a:lnTo>
                    <a:lnTo>
                      <a:pt x="50" y="2"/>
                    </a:lnTo>
                    <a:lnTo>
                      <a:pt x="54" y="4"/>
                    </a:lnTo>
                    <a:lnTo>
                      <a:pt x="57" y="4"/>
                    </a:lnTo>
                    <a:lnTo>
                      <a:pt x="63" y="5"/>
                    </a:lnTo>
                    <a:lnTo>
                      <a:pt x="67" y="5"/>
                    </a:lnTo>
                    <a:lnTo>
                      <a:pt x="71" y="7"/>
                    </a:lnTo>
                    <a:lnTo>
                      <a:pt x="74" y="7"/>
                    </a:lnTo>
                    <a:lnTo>
                      <a:pt x="78" y="11"/>
                    </a:lnTo>
                    <a:lnTo>
                      <a:pt x="84" y="13"/>
                    </a:lnTo>
                    <a:lnTo>
                      <a:pt x="92" y="17"/>
                    </a:lnTo>
                    <a:lnTo>
                      <a:pt x="95" y="23"/>
                    </a:lnTo>
                    <a:lnTo>
                      <a:pt x="99" y="30"/>
                    </a:lnTo>
                    <a:lnTo>
                      <a:pt x="99" y="36"/>
                    </a:lnTo>
                    <a:lnTo>
                      <a:pt x="101" y="42"/>
                    </a:lnTo>
                    <a:lnTo>
                      <a:pt x="103" y="49"/>
                    </a:lnTo>
                    <a:lnTo>
                      <a:pt x="103" y="55"/>
                    </a:lnTo>
                    <a:lnTo>
                      <a:pt x="105" y="63"/>
                    </a:lnTo>
                    <a:lnTo>
                      <a:pt x="107" y="68"/>
                    </a:lnTo>
                    <a:lnTo>
                      <a:pt x="107" y="74"/>
                    </a:lnTo>
                    <a:lnTo>
                      <a:pt x="109" y="80"/>
                    </a:lnTo>
                    <a:lnTo>
                      <a:pt x="109" y="85"/>
                    </a:lnTo>
                    <a:lnTo>
                      <a:pt x="111" y="89"/>
                    </a:lnTo>
                    <a:lnTo>
                      <a:pt x="111" y="93"/>
                    </a:lnTo>
                    <a:lnTo>
                      <a:pt x="112" y="97"/>
                    </a:lnTo>
                    <a:lnTo>
                      <a:pt x="112" y="102"/>
                    </a:lnTo>
                    <a:lnTo>
                      <a:pt x="112" y="104"/>
                    </a:lnTo>
                    <a:lnTo>
                      <a:pt x="86" y="102"/>
                    </a:lnTo>
                    <a:lnTo>
                      <a:pt x="86" y="99"/>
                    </a:lnTo>
                    <a:lnTo>
                      <a:pt x="84" y="93"/>
                    </a:lnTo>
                    <a:lnTo>
                      <a:pt x="82" y="89"/>
                    </a:lnTo>
                    <a:lnTo>
                      <a:pt x="82" y="85"/>
                    </a:lnTo>
                    <a:lnTo>
                      <a:pt x="82" y="80"/>
                    </a:lnTo>
                    <a:lnTo>
                      <a:pt x="80" y="76"/>
                    </a:lnTo>
                    <a:lnTo>
                      <a:pt x="78" y="70"/>
                    </a:lnTo>
                    <a:lnTo>
                      <a:pt x="76" y="64"/>
                    </a:lnTo>
                    <a:lnTo>
                      <a:pt x="76" y="61"/>
                    </a:lnTo>
                    <a:lnTo>
                      <a:pt x="74" y="55"/>
                    </a:lnTo>
                    <a:lnTo>
                      <a:pt x="73" y="51"/>
                    </a:lnTo>
                    <a:lnTo>
                      <a:pt x="73" y="47"/>
                    </a:lnTo>
                    <a:lnTo>
                      <a:pt x="71" y="43"/>
                    </a:lnTo>
                    <a:lnTo>
                      <a:pt x="69" y="42"/>
                    </a:lnTo>
                    <a:lnTo>
                      <a:pt x="67" y="38"/>
                    </a:lnTo>
                    <a:lnTo>
                      <a:pt x="63" y="36"/>
                    </a:lnTo>
                    <a:lnTo>
                      <a:pt x="57" y="34"/>
                    </a:lnTo>
                    <a:lnTo>
                      <a:pt x="54" y="32"/>
                    </a:lnTo>
                    <a:lnTo>
                      <a:pt x="48" y="30"/>
                    </a:lnTo>
                    <a:lnTo>
                      <a:pt x="42" y="28"/>
                    </a:lnTo>
                    <a:lnTo>
                      <a:pt x="36" y="26"/>
                    </a:lnTo>
                    <a:lnTo>
                      <a:pt x="33" y="24"/>
                    </a:lnTo>
                    <a:lnTo>
                      <a:pt x="25" y="23"/>
                    </a:lnTo>
                    <a:lnTo>
                      <a:pt x="21" y="21"/>
                    </a:lnTo>
                    <a:lnTo>
                      <a:pt x="16" y="21"/>
                    </a:lnTo>
                    <a:lnTo>
                      <a:pt x="12" y="19"/>
                    </a:lnTo>
                    <a:lnTo>
                      <a:pt x="8" y="19"/>
                    </a:lnTo>
                    <a:lnTo>
                      <a:pt x="6" y="17"/>
                    </a:lnTo>
                    <a:lnTo>
                      <a:pt x="4" y="17"/>
                    </a:lnTo>
                    <a:lnTo>
                      <a:pt x="0" y="2"/>
                    </a:lnTo>
                    <a:close/>
                  </a:path>
                </a:pathLst>
              </a:custGeom>
              <a:solidFill>
                <a:srgbClr val="8A8A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54" name="Freeform 35"/>
              <p:cNvSpPr>
                <a:spLocks/>
              </p:cNvSpPr>
              <p:nvPr/>
            </p:nvSpPr>
            <p:spPr bwMode="auto">
              <a:xfrm>
                <a:off x="2751138" y="2173288"/>
                <a:ext cx="304800" cy="536575"/>
              </a:xfrm>
              <a:custGeom>
                <a:avLst/>
                <a:gdLst>
                  <a:gd name="T0" fmla="*/ 2147483646 w 386"/>
                  <a:gd name="T1" fmla="*/ 0 h 677"/>
                  <a:gd name="T2" fmla="*/ 2147483646 w 386"/>
                  <a:gd name="T3" fmla="*/ 0 h 677"/>
                  <a:gd name="T4" fmla="*/ 2147483646 w 386"/>
                  <a:gd name="T5" fmla="*/ 2147483646 h 677"/>
                  <a:gd name="T6" fmla="*/ 2147483646 w 386"/>
                  <a:gd name="T7" fmla="*/ 2147483646 h 677"/>
                  <a:gd name="T8" fmla="*/ 2147483646 w 386"/>
                  <a:gd name="T9" fmla="*/ 2147483646 h 677"/>
                  <a:gd name="T10" fmla="*/ 0 w 386"/>
                  <a:gd name="T11" fmla="*/ 2147483646 h 677"/>
                  <a:gd name="T12" fmla="*/ 2147483646 w 386"/>
                  <a:gd name="T13" fmla="*/ 2147483646 h 677"/>
                  <a:gd name="T14" fmla="*/ 0 w 386"/>
                  <a:gd name="T15" fmla="*/ 2147483646 h 677"/>
                  <a:gd name="T16" fmla="*/ 2147483646 w 386"/>
                  <a:gd name="T17" fmla="*/ 2147483646 h 677"/>
                  <a:gd name="T18" fmla="*/ 2147483646 w 386"/>
                  <a:gd name="T19" fmla="*/ 2147483646 h 677"/>
                  <a:gd name="T20" fmla="*/ 2147483646 w 386"/>
                  <a:gd name="T21" fmla="*/ 2147483646 h 677"/>
                  <a:gd name="T22" fmla="*/ 2147483646 w 386"/>
                  <a:gd name="T23" fmla="*/ 2147483646 h 677"/>
                  <a:gd name="T24" fmla="*/ 2147483646 w 386"/>
                  <a:gd name="T25" fmla="*/ 2147483646 h 677"/>
                  <a:gd name="T26" fmla="*/ 2147483646 w 386"/>
                  <a:gd name="T27" fmla="*/ 2147483646 h 677"/>
                  <a:gd name="T28" fmla="*/ 2147483646 w 386"/>
                  <a:gd name="T29" fmla="*/ 2147483646 h 677"/>
                  <a:gd name="T30" fmla="*/ 2147483646 w 386"/>
                  <a:gd name="T31" fmla="*/ 2147483646 h 677"/>
                  <a:gd name="T32" fmla="*/ 2147483646 w 386"/>
                  <a:gd name="T33" fmla="*/ 2147483646 h 677"/>
                  <a:gd name="T34" fmla="*/ 2147483646 w 386"/>
                  <a:gd name="T35" fmla="*/ 0 h 677"/>
                  <a:gd name="T36" fmla="*/ 2147483646 w 386"/>
                  <a:gd name="T37" fmla="*/ 0 h 6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6"/>
                  <a:gd name="T58" fmla="*/ 0 h 677"/>
                  <a:gd name="T59" fmla="*/ 386 w 386"/>
                  <a:gd name="T60" fmla="*/ 677 h 6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6" h="677">
                    <a:moveTo>
                      <a:pt x="169" y="0"/>
                    </a:moveTo>
                    <a:lnTo>
                      <a:pt x="386" y="0"/>
                    </a:lnTo>
                    <a:lnTo>
                      <a:pt x="386" y="677"/>
                    </a:lnTo>
                    <a:lnTo>
                      <a:pt x="17" y="645"/>
                    </a:lnTo>
                    <a:lnTo>
                      <a:pt x="354" y="609"/>
                    </a:lnTo>
                    <a:lnTo>
                      <a:pt x="0" y="557"/>
                    </a:lnTo>
                    <a:lnTo>
                      <a:pt x="361" y="523"/>
                    </a:lnTo>
                    <a:lnTo>
                      <a:pt x="0" y="478"/>
                    </a:lnTo>
                    <a:lnTo>
                      <a:pt x="361" y="434"/>
                    </a:lnTo>
                    <a:lnTo>
                      <a:pt x="59" y="386"/>
                    </a:lnTo>
                    <a:lnTo>
                      <a:pt x="371" y="341"/>
                    </a:lnTo>
                    <a:lnTo>
                      <a:pt x="118" y="278"/>
                    </a:lnTo>
                    <a:lnTo>
                      <a:pt x="376" y="238"/>
                    </a:lnTo>
                    <a:lnTo>
                      <a:pt x="165" y="198"/>
                    </a:lnTo>
                    <a:lnTo>
                      <a:pt x="382" y="147"/>
                    </a:lnTo>
                    <a:lnTo>
                      <a:pt x="177" y="94"/>
                    </a:lnTo>
                    <a:lnTo>
                      <a:pt x="367" y="50"/>
                    </a:lnTo>
                    <a:lnTo>
                      <a:pt x="169" y="0"/>
                    </a:lnTo>
                    <a:close/>
                  </a:path>
                </a:pathLst>
              </a:custGeom>
              <a:solidFill>
                <a:srgbClr val="C299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55" name="Freeform 38"/>
              <p:cNvSpPr>
                <a:spLocks/>
              </p:cNvSpPr>
              <p:nvPr/>
            </p:nvSpPr>
            <p:spPr bwMode="auto">
              <a:xfrm>
                <a:off x="1500167" y="2765426"/>
                <a:ext cx="1071570" cy="1163640"/>
              </a:xfrm>
              <a:custGeom>
                <a:avLst/>
                <a:gdLst>
                  <a:gd name="T0" fmla="*/ 2147483646 w 1007"/>
                  <a:gd name="T1" fmla="*/ 0 h 1210"/>
                  <a:gd name="T2" fmla="*/ 2147483646 w 1007"/>
                  <a:gd name="T3" fmla="*/ 2147483646 h 1210"/>
                  <a:gd name="T4" fmla="*/ 2147483646 w 1007"/>
                  <a:gd name="T5" fmla="*/ 2147483646 h 1210"/>
                  <a:gd name="T6" fmla="*/ 2147483646 w 1007"/>
                  <a:gd name="T7" fmla="*/ 2147483646 h 1210"/>
                  <a:gd name="T8" fmla="*/ 2147483646 w 1007"/>
                  <a:gd name="T9" fmla="*/ 2147483646 h 1210"/>
                  <a:gd name="T10" fmla="*/ 2147483646 w 1007"/>
                  <a:gd name="T11" fmla="*/ 2147483646 h 1210"/>
                  <a:gd name="T12" fmla="*/ 2147483646 w 1007"/>
                  <a:gd name="T13" fmla="*/ 2147483646 h 1210"/>
                  <a:gd name="T14" fmla="*/ 2147483646 w 1007"/>
                  <a:gd name="T15" fmla="*/ 2147483646 h 1210"/>
                  <a:gd name="T16" fmla="*/ 2147483646 w 1007"/>
                  <a:gd name="T17" fmla="*/ 2147483646 h 1210"/>
                  <a:gd name="T18" fmla="*/ 2147483646 w 1007"/>
                  <a:gd name="T19" fmla="*/ 2147483646 h 1210"/>
                  <a:gd name="T20" fmla="*/ 2147483646 w 1007"/>
                  <a:gd name="T21" fmla="*/ 2147483646 h 1210"/>
                  <a:gd name="T22" fmla="*/ 2147483646 w 1007"/>
                  <a:gd name="T23" fmla="*/ 2147483646 h 1210"/>
                  <a:gd name="T24" fmla="*/ 2147483646 w 1007"/>
                  <a:gd name="T25" fmla="*/ 2147483646 h 1210"/>
                  <a:gd name="T26" fmla="*/ 2147483646 w 1007"/>
                  <a:gd name="T27" fmla="*/ 2147483646 h 1210"/>
                  <a:gd name="T28" fmla="*/ 2147483646 w 1007"/>
                  <a:gd name="T29" fmla="*/ 2147483646 h 1210"/>
                  <a:gd name="T30" fmla="*/ 2147483646 w 1007"/>
                  <a:gd name="T31" fmla="*/ 2147483646 h 1210"/>
                  <a:gd name="T32" fmla="*/ 2147483646 w 1007"/>
                  <a:gd name="T33" fmla="*/ 2147483646 h 1210"/>
                  <a:gd name="T34" fmla="*/ 0 w 1007"/>
                  <a:gd name="T35" fmla="*/ 2147483646 h 1210"/>
                  <a:gd name="T36" fmla="*/ 2147483646 w 1007"/>
                  <a:gd name="T37" fmla="*/ 2147483646 h 1210"/>
                  <a:gd name="T38" fmla="*/ 2147483646 w 1007"/>
                  <a:gd name="T39" fmla="*/ 2147483646 h 1210"/>
                  <a:gd name="T40" fmla="*/ 2147483646 w 1007"/>
                  <a:gd name="T41" fmla="*/ 0 h 1210"/>
                  <a:gd name="T42" fmla="*/ 2147483646 w 1007"/>
                  <a:gd name="T43" fmla="*/ 0 h 121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07"/>
                  <a:gd name="T67" fmla="*/ 0 h 1210"/>
                  <a:gd name="T68" fmla="*/ 1007 w 1007"/>
                  <a:gd name="T69" fmla="*/ 1210 h 121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07" h="1210">
                    <a:moveTo>
                      <a:pt x="190" y="0"/>
                    </a:moveTo>
                    <a:lnTo>
                      <a:pt x="181" y="301"/>
                    </a:lnTo>
                    <a:lnTo>
                      <a:pt x="437" y="137"/>
                    </a:lnTo>
                    <a:lnTo>
                      <a:pt x="262" y="364"/>
                    </a:lnTo>
                    <a:lnTo>
                      <a:pt x="557" y="145"/>
                    </a:lnTo>
                    <a:lnTo>
                      <a:pt x="374" y="390"/>
                    </a:lnTo>
                    <a:lnTo>
                      <a:pt x="654" y="166"/>
                    </a:lnTo>
                    <a:lnTo>
                      <a:pt x="475" y="430"/>
                    </a:lnTo>
                    <a:lnTo>
                      <a:pt x="785" y="185"/>
                    </a:lnTo>
                    <a:lnTo>
                      <a:pt x="623" y="426"/>
                    </a:lnTo>
                    <a:lnTo>
                      <a:pt x="918" y="181"/>
                    </a:lnTo>
                    <a:lnTo>
                      <a:pt x="783" y="405"/>
                    </a:lnTo>
                    <a:lnTo>
                      <a:pt x="1003" y="210"/>
                    </a:lnTo>
                    <a:lnTo>
                      <a:pt x="910" y="407"/>
                    </a:lnTo>
                    <a:lnTo>
                      <a:pt x="1007" y="324"/>
                    </a:lnTo>
                    <a:lnTo>
                      <a:pt x="1003" y="468"/>
                    </a:lnTo>
                    <a:lnTo>
                      <a:pt x="648" y="470"/>
                    </a:lnTo>
                    <a:lnTo>
                      <a:pt x="0" y="1210"/>
                    </a:lnTo>
                    <a:lnTo>
                      <a:pt x="2" y="907"/>
                    </a:lnTo>
                    <a:lnTo>
                      <a:pt x="139" y="42"/>
                    </a:lnTo>
                    <a:lnTo>
                      <a:pt x="190" y="0"/>
                    </a:lnTo>
                    <a:close/>
                  </a:path>
                </a:pathLst>
              </a:custGeom>
              <a:solidFill>
                <a:srgbClr val="8778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56" name="Freeform 39"/>
              <p:cNvSpPr>
                <a:spLocks/>
              </p:cNvSpPr>
              <p:nvPr/>
            </p:nvSpPr>
            <p:spPr bwMode="auto">
              <a:xfrm>
                <a:off x="1428728" y="2749551"/>
                <a:ext cx="787423" cy="1393829"/>
              </a:xfrm>
              <a:custGeom>
                <a:avLst/>
                <a:gdLst>
                  <a:gd name="T0" fmla="*/ 0 w 654"/>
                  <a:gd name="T1" fmla="*/ 2147483646 h 1349"/>
                  <a:gd name="T2" fmla="*/ 2147483646 w 654"/>
                  <a:gd name="T3" fmla="*/ 2147483646 h 1349"/>
                  <a:gd name="T4" fmla="*/ 2147483646 w 654"/>
                  <a:gd name="T5" fmla="*/ 2147483646 h 1349"/>
                  <a:gd name="T6" fmla="*/ 2147483646 w 654"/>
                  <a:gd name="T7" fmla="*/ 2147483646 h 1349"/>
                  <a:gd name="T8" fmla="*/ 2147483646 w 654"/>
                  <a:gd name="T9" fmla="*/ 2147483646 h 1349"/>
                  <a:gd name="T10" fmla="*/ 2147483646 w 654"/>
                  <a:gd name="T11" fmla="*/ 2147483646 h 1349"/>
                  <a:gd name="T12" fmla="*/ 2147483646 w 654"/>
                  <a:gd name="T13" fmla="*/ 2147483646 h 1349"/>
                  <a:gd name="T14" fmla="*/ 2147483646 w 654"/>
                  <a:gd name="T15" fmla="*/ 2147483646 h 1349"/>
                  <a:gd name="T16" fmla="*/ 2147483646 w 654"/>
                  <a:gd name="T17" fmla="*/ 2147483646 h 1349"/>
                  <a:gd name="T18" fmla="*/ 2147483646 w 654"/>
                  <a:gd name="T19" fmla="*/ 2147483646 h 1349"/>
                  <a:gd name="T20" fmla="*/ 2147483646 w 654"/>
                  <a:gd name="T21" fmla="*/ 2147483646 h 1349"/>
                  <a:gd name="T22" fmla="*/ 2147483646 w 654"/>
                  <a:gd name="T23" fmla="*/ 2147483646 h 1349"/>
                  <a:gd name="T24" fmla="*/ 2147483646 w 654"/>
                  <a:gd name="T25" fmla="*/ 2147483646 h 1349"/>
                  <a:gd name="T26" fmla="*/ 2147483646 w 654"/>
                  <a:gd name="T27" fmla="*/ 2147483646 h 1349"/>
                  <a:gd name="T28" fmla="*/ 2147483646 w 654"/>
                  <a:gd name="T29" fmla="*/ 2147483646 h 1349"/>
                  <a:gd name="T30" fmla="*/ 2147483646 w 654"/>
                  <a:gd name="T31" fmla="*/ 2147483646 h 1349"/>
                  <a:gd name="T32" fmla="*/ 2147483646 w 654"/>
                  <a:gd name="T33" fmla="*/ 2147483646 h 1349"/>
                  <a:gd name="T34" fmla="*/ 2147483646 w 654"/>
                  <a:gd name="T35" fmla="*/ 2147483646 h 1349"/>
                  <a:gd name="T36" fmla="*/ 2147483646 w 654"/>
                  <a:gd name="T37" fmla="*/ 2147483646 h 1349"/>
                  <a:gd name="T38" fmla="*/ 2147483646 w 654"/>
                  <a:gd name="T39" fmla="*/ 2147483646 h 1349"/>
                  <a:gd name="T40" fmla="*/ 2147483646 w 654"/>
                  <a:gd name="T41" fmla="*/ 2147483646 h 1349"/>
                  <a:gd name="T42" fmla="*/ 2147483646 w 654"/>
                  <a:gd name="T43" fmla="*/ 2147483646 h 1349"/>
                  <a:gd name="T44" fmla="*/ 2147483646 w 654"/>
                  <a:gd name="T45" fmla="*/ 2147483646 h 1349"/>
                  <a:gd name="T46" fmla="*/ 2147483646 w 654"/>
                  <a:gd name="T47" fmla="*/ 2147483646 h 1349"/>
                  <a:gd name="T48" fmla="*/ 2147483646 w 654"/>
                  <a:gd name="T49" fmla="*/ 2147483646 h 1349"/>
                  <a:gd name="T50" fmla="*/ 2147483646 w 654"/>
                  <a:gd name="T51" fmla="*/ 2147483646 h 1349"/>
                  <a:gd name="T52" fmla="*/ 2147483646 w 654"/>
                  <a:gd name="T53" fmla="*/ 2147483646 h 1349"/>
                  <a:gd name="T54" fmla="*/ 2147483646 w 654"/>
                  <a:gd name="T55" fmla="*/ 2147483646 h 1349"/>
                  <a:gd name="T56" fmla="*/ 2147483646 w 654"/>
                  <a:gd name="T57" fmla="*/ 2147483646 h 1349"/>
                  <a:gd name="T58" fmla="*/ 2147483646 w 654"/>
                  <a:gd name="T59" fmla="*/ 2147483646 h 1349"/>
                  <a:gd name="T60" fmla="*/ 2147483646 w 654"/>
                  <a:gd name="T61" fmla="*/ 2147483646 h 1349"/>
                  <a:gd name="T62" fmla="*/ 2147483646 w 654"/>
                  <a:gd name="T63" fmla="*/ 2147483646 h 1349"/>
                  <a:gd name="T64" fmla="*/ 2147483646 w 654"/>
                  <a:gd name="T65" fmla="*/ 2147483646 h 1349"/>
                  <a:gd name="T66" fmla="*/ 2147483646 w 654"/>
                  <a:gd name="T67" fmla="*/ 2147483646 h 1349"/>
                  <a:gd name="T68" fmla="*/ 2147483646 w 654"/>
                  <a:gd name="T69" fmla="*/ 2147483646 h 1349"/>
                  <a:gd name="T70" fmla="*/ 2147483646 w 654"/>
                  <a:gd name="T71" fmla="*/ 2147483646 h 1349"/>
                  <a:gd name="T72" fmla="*/ 2147483646 w 654"/>
                  <a:gd name="T73" fmla="*/ 2147483646 h 1349"/>
                  <a:gd name="T74" fmla="*/ 2147483646 w 654"/>
                  <a:gd name="T75" fmla="*/ 2147483646 h 1349"/>
                  <a:gd name="T76" fmla="*/ 2147483646 w 654"/>
                  <a:gd name="T77" fmla="*/ 2147483646 h 1349"/>
                  <a:gd name="T78" fmla="*/ 2147483646 w 654"/>
                  <a:gd name="T79" fmla="*/ 2147483646 h 1349"/>
                  <a:gd name="T80" fmla="*/ 2147483646 w 654"/>
                  <a:gd name="T81" fmla="*/ 2147483646 h 1349"/>
                  <a:gd name="T82" fmla="*/ 2147483646 w 654"/>
                  <a:gd name="T83" fmla="*/ 2147483646 h 1349"/>
                  <a:gd name="T84" fmla="*/ 2147483646 w 654"/>
                  <a:gd name="T85" fmla="*/ 2147483646 h 1349"/>
                  <a:gd name="T86" fmla="*/ 2147483646 w 654"/>
                  <a:gd name="T87" fmla="*/ 2147483646 h 1349"/>
                  <a:gd name="T88" fmla="*/ 2147483646 w 654"/>
                  <a:gd name="T89" fmla="*/ 2147483646 h 1349"/>
                  <a:gd name="T90" fmla="*/ 2147483646 w 654"/>
                  <a:gd name="T91" fmla="*/ 2147483646 h 1349"/>
                  <a:gd name="T92" fmla="*/ 2147483646 w 654"/>
                  <a:gd name="T93" fmla="*/ 2147483646 h 1349"/>
                  <a:gd name="T94" fmla="*/ 2147483646 w 654"/>
                  <a:gd name="T95" fmla="*/ 2147483646 h 1349"/>
                  <a:gd name="T96" fmla="*/ 2147483646 w 654"/>
                  <a:gd name="T97" fmla="*/ 2147483646 h 1349"/>
                  <a:gd name="T98" fmla="*/ 2147483646 w 654"/>
                  <a:gd name="T99" fmla="*/ 2147483646 h 1349"/>
                  <a:gd name="T100" fmla="*/ 2147483646 w 654"/>
                  <a:gd name="T101" fmla="*/ 2147483646 h 1349"/>
                  <a:gd name="T102" fmla="*/ 2147483646 w 654"/>
                  <a:gd name="T103" fmla="*/ 2147483646 h 1349"/>
                  <a:gd name="T104" fmla="*/ 2147483646 w 654"/>
                  <a:gd name="T105" fmla="*/ 2147483646 h 1349"/>
                  <a:gd name="T106" fmla="*/ 2147483646 w 654"/>
                  <a:gd name="T107" fmla="*/ 2147483646 h 1349"/>
                  <a:gd name="T108" fmla="*/ 2147483646 w 654"/>
                  <a:gd name="T109" fmla="*/ 2147483646 h 1349"/>
                  <a:gd name="T110" fmla="*/ 2147483646 w 654"/>
                  <a:gd name="T111" fmla="*/ 2147483646 h 1349"/>
                  <a:gd name="T112" fmla="*/ 2147483646 w 654"/>
                  <a:gd name="T113" fmla="*/ 2147483646 h 1349"/>
                  <a:gd name="T114" fmla="*/ 2147483646 w 654"/>
                  <a:gd name="T115" fmla="*/ 2147483646 h 1349"/>
                  <a:gd name="T116" fmla="*/ 2147483646 w 654"/>
                  <a:gd name="T117" fmla="*/ 2147483646 h 1349"/>
                  <a:gd name="T118" fmla="*/ 2147483646 w 654"/>
                  <a:gd name="T119" fmla="*/ 0 h 1349"/>
                  <a:gd name="T120" fmla="*/ 0 w 654"/>
                  <a:gd name="T121" fmla="*/ 2147483646 h 1349"/>
                  <a:gd name="T122" fmla="*/ 0 w 654"/>
                  <a:gd name="T123" fmla="*/ 2147483646 h 13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54"/>
                  <a:gd name="T187" fmla="*/ 0 h 1349"/>
                  <a:gd name="T188" fmla="*/ 654 w 654"/>
                  <a:gd name="T189" fmla="*/ 1349 h 13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54" h="1349">
                    <a:moveTo>
                      <a:pt x="0" y="1349"/>
                    </a:moveTo>
                    <a:lnTo>
                      <a:pt x="6" y="1342"/>
                    </a:lnTo>
                    <a:lnTo>
                      <a:pt x="11" y="1332"/>
                    </a:lnTo>
                    <a:lnTo>
                      <a:pt x="19" y="1323"/>
                    </a:lnTo>
                    <a:lnTo>
                      <a:pt x="27" y="1311"/>
                    </a:lnTo>
                    <a:lnTo>
                      <a:pt x="34" y="1300"/>
                    </a:lnTo>
                    <a:lnTo>
                      <a:pt x="44" y="1287"/>
                    </a:lnTo>
                    <a:lnTo>
                      <a:pt x="53" y="1273"/>
                    </a:lnTo>
                    <a:lnTo>
                      <a:pt x="65" y="1258"/>
                    </a:lnTo>
                    <a:lnTo>
                      <a:pt x="76" y="1245"/>
                    </a:lnTo>
                    <a:lnTo>
                      <a:pt x="87" y="1228"/>
                    </a:lnTo>
                    <a:lnTo>
                      <a:pt x="101" y="1212"/>
                    </a:lnTo>
                    <a:lnTo>
                      <a:pt x="112" y="1193"/>
                    </a:lnTo>
                    <a:lnTo>
                      <a:pt x="125" y="1176"/>
                    </a:lnTo>
                    <a:lnTo>
                      <a:pt x="139" y="1157"/>
                    </a:lnTo>
                    <a:lnTo>
                      <a:pt x="152" y="1138"/>
                    </a:lnTo>
                    <a:lnTo>
                      <a:pt x="167" y="1119"/>
                    </a:lnTo>
                    <a:lnTo>
                      <a:pt x="182" y="1098"/>
                    </a:lnTo>
                    <a:lnTo>
                      <a:pt x="196" y="1077"/>
                    </a:lnTo>
                    <a:lnTo>
                      <a:pt x="213" y="1058"/>
                    </a:lnTo>
                    <a:lnTo>
                      <a:pt x="228" y="1036"/>
                    </a:lnTo>
                    <a:lnTo>
                      <a:pt x="243" y="1015"/>
                    </a:lnTo>
                    <a:lnTo>
                      <a:pt x="260" y="992"/>
                    </a:lnTo>
                    <a:lnTo>
                      <a:pt x="275" y="971"/>
                    </a:lnTo>
                    <a:lnTo>
                      <a:pt x="293" y="948"/>
                    </a:lnTo>
                    <a:lnTo>
                      <a:pt x="308" y="927"/>
                    </a:lnTo>
                    <a:lnTo>
                      <a:pt x="325" y="904"/>
                    </a:lnTo>
                    <a:lnTo>
                      <a:pt x="342" y="884"/>
                    </a:lnTo>
                    <a:lnTo>
                      <a:pt x="357" y="861"/>
                    </a:lnTo>
                    <a:lnTo>
                      <a:pt x="374" y="838"/>
                    </a:lnTo>
                    <a:lnTo>
                      <a:pt x="389" y="815"/>
                    </a:lnTo>
                    <a:lnTo>
                      <a:pt x="407" y="794"/>
                    </a:lnTo>
                    <a:lnTo>
                      <a:pt x="422" y="771"/>
                    </a:lnTo>
                    <a:lnTo>
                      <a:pt x="439" y="750"/>
                    </a:lnTo>
                    <a:lnTo>
                      <a:pt x="454" y="730"/>
                    </a:lnTo>
                    <a:lnTo>
                      <a:pt x="471" y="709"/>
                    </a:lnTo>
                    <a:lnTo>
                      <a:pt x="484" y="688"/>
                    </a:lnTo>
                    <a:lnTo>
                      <a:pt x="500" y="669"/>
                    </a:lnTo>
                    <a:lnTo>
                      <a:pt x="515" y="648"/>
                    </a:lnTo>
                    <a:lnTo>
                      <a:pt x="530" y="629"/>
                    </a:lnTo>
                    <a:lnTo>
                      <a:pt x="543" y="610"/>
                    </a:lnTo>
                    <a:lnTo>
                      <a:pt x="557" y="591"/>
                    </a:lnTo>
                    <a:lnTo>
                      <a:pt x="570" y="576"/>
                    </a:lnTo>
                    <a:lnTo>
                      <a:pt x="583" y="558"/>
                    </a:lnTo>
                    <a:lnTo>
                      <a:pt x="595" y="541"/>
                    </a:lnTo>
                    <a:lnTo>
                      <a:pt x="606" y="526"/>
                    </a:lnTo>
                    <a:lnTo>
                      <a:pt x="616" y="511"/>
                    </a:lnTo>
                    <a:lnTo>
                      <a:pt x="627" y="498"/>
                    </a:lnTo>
                    <a:lnTo>
                      <a:pt x="636" y="484"/>
                    </a:lnTo>
                    <a:lnTo>
                      <a:pt x="646" y="471"/>
                    </a:lnTo>
                    <a:lnTo>
                      <a:pt x="654" y="462"/>
                    </a:lnTo>
                    <a:lnTo>
                      <a:pt x="122" y="1001"/>
                    </a:lnTo>
                    <a:lnTo>
                      <a:pt x="560" y="391"/>
                    </a:lnTo>
                    <a:lnTo>
                      <a:pt x="112" y="815"/>
                    </a:lnTo>
                    <a:lnTo>
                      <a:pt x="456" y="359"/>
                    </a:lnTo>
                    <a:lnTo>
                      <a:pt x="135" y="640"/>
                    </a:lnTo>
                    <a:lnTo>
                      <a:pt x="353" y="330"/>
                    </a:lnTo>
                    <a:lnTo>
                      <a:pt x="171" y="469"/>
                    </a:lnTo>
                    <a:lnTo>
                      <a:pt x="279" y="5"/>
                    </a:lnTo>
                    <a:lnTo>
                      <a:pt x="192" y="0"/>
                    </a:lnTo>
                    <a:lnTo>
                      <a:pt x="0" y="13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57" name="Freeform 51"/>
              <p:cNvSpPr>
                <a:spLocks/>
              </p:cNvSpPr>
              <p:nvPr/>
            </p:nvSpPr>
            <p:spPr bwMode="auto">
              <a:xfrm>
                <a:off x="2343151" y="3890963"/>
                <a:ext cx="265113" cy="282575"/>
              </a:xfrm>
              <a:custGeom>
                <a:avLst/>
                <a:gdLst>
                  <a:gd name="T0" fmla="*/ 2147483646 w 335"/>
                  <a:gd name="T1" fmla="*/ 2147483646 h 355"/>
                  <a:gd name="T2" fmla="*/ 2147483646 w 335"/>
                  <a:gd name="T3" fmla="*/ 2147483646 h 355"/>
                  <a:gd name="T4" fmla="*/ 2147483646 w 335"/>
                  <a:gd name="T5" fmla="*/ 2147483646 h 355"/>
                  <a:gd name="T6" fmla="*/ 2147483646 w 335"/>
                  <a:gd name="T7" fmla="*/ 2147483646 h 355"/>
                  <a:gd name="T8" fmla="*/ 2147483646 w 335"/>
                  <a:gd name="T9" fmla="*/ 2147483646 h 355"/>
                  <a:gd name="T10" fmla="*/ 2147483646 w 335"/>
                  <a:gd name="T11" fmla="*/ 2147483646 h 355"/>
                  <a:gd name="T12" fmla="*/ 2147483646 w 335"/>
                  <a:gd name="T13" fmla="*/ 2147483646 h 355"/>
                  <a:gd name="T14" fmla="*/ 2147483646 w 335"/>
                  <a:gd name="T15" fmla="*/ 2147483646 h 355"/>
                  <a:gd name="T16" fmla="*/ 2147483646 w 335"/>
                  <a:gd name="T17" fmla="*/ 2147483646 h 355"/>
                  <a:gd name="T18" fmla="*/ 2147483646 w 335"/>
                  <a:gd name="T19" fmla="*/ 2147483646 h 355"/>
                  <a:gd name="T20" fmla="*/ 2147483646 w 335"/>
                  <a:gd name="T21" fmla="*/ 2147483646 h 355"/>
                  <a:gd name="T22" fmla="*/ 2147483646 w 335"/>
                  <a:gd name="T23" fmla="*/ 2147483646 h 355"/>
                  <a:gd name="T24" fmla="*/ 2147483646 w 335"/>
                  <a:gd name="T25" fmla="*/ 2147483646 h 355"/>
                  <a:gd name="T26" fmla="*/ 2147483646 w 335"/>
                  <a:gd name="T27" fmla="*/ 2147483646 h 355"/>
                  <a:gd name="T28" fmla="*/ 2147483646 w 335"/>
                  <a:gd name="T29" fmla="*/ 2147483646 h 355"/>
                  <a:gd name="T30" fmla="*/ 2147483646 w 335"/>
                  <a:gd name="T31" fmla="*/ 2147483646 h 355"/>
                  <a:gd name="T32" fmla="*/ 2147483646 w 335"/>
                  <a:gd name="T33" fmla="*/ 2147483646 h 355"/>
                  <a:gd name="T34" fmla="*/ 2147483646 w 335"/>
                  <a:gd name="T35" fmla="*/ 2147483646 h 355"/>
                  <a:gd name="T36" fmla="*/ 2147483646 w 335"/>
                  <a:gd name="T37" fmla="*/ 2147483646 h 355"/>
                  <a:gd name="T38" fmla="*/ 2147483646 w 335"/>
                  <a:gd name="T39" fmla="*/ 2147483646 h 355"/>
                  <a:gd name="T40" fmla="*/ 2147483646 w 335"/>
                  <a:gd name="T41" fmla="*/ 2147483646 h 355"/>
                  <a:gd name="T42" fmla="*/ 2147483646 w 335"/>
                  <a:gd name="T43" fmla="*/ 2147483646 h 355"/>
                  <a:gd name="T44" fmla="*/ 2147483646 w 335"/>
                  <a:gd name="T45" fmla="*/ 2147483646 h 355"/>
                  <a:gd name="T46" fmla="*/ 2147483646 w 335"/>
                  <a:gd name="T47" fmla="*/ 2147483646 h 355"/>
                  <a:gd name="T48" fmla="*/ 2147483646 w 335"/>
                  <a:gd name="T49" fmla="*/ 2147483646 h 355"/>
                  <a:gd name="T50" fmla="*/ 2147483646 w 335"/>
                  <a:gd name="T51" fmla="*/ 2147483646 h 355"/>
                  <a:gd name="T52" fmla="*/ 2147483646 w 335"/>
                  <a:gd name="T53" fmla="*/ 2147483646 h 355"/>
                  <a:gd name="T54" fmla="*/ 2147483646 w 335"/>
                  <a:gd name="T55" fmla="*/ 2147483646 h 355"/>
                  <a:gd name="T56" fmla="*/ 2147483646 w 335"/>
                  <a:gd name="T57" fmla="*/ 2147483646 h 355"/>
                  <a:gd name="T58" fmla="*/ 2147483646 w 335"/>
                  <a:gd name="T59" fmla="*/ 2147483646 h 355"/>
                  <a:gd name="T60" fmla="*/ 2147483646 w 335"/>
                  <a:gd name="T61" fmla="*/ 2147483646 h 355"/>
                  <a:gd name="T62" fmla="*/ 2147483646 w 335"/>
                  <a:gd name="T63" fmla="*/ 2147483646 h 355"/>
                  <a:gd name="T64" fmla="*/ 2147483646 w 335"/>
                  <a:gd name="T65" fmla="*/ 2147483646 h 355"/>
                  <a:gd name="T66" fmla="*/ 2147483646 w 335"/>
                  <a:gd name="T67" fmla="*/ 2147483646 h 355"/>
                  <a:gd name="T68" fmla="*/ 2147483646 w 335"/>
                  <a:gd name="T69" fmla="*/ 2147483646 h 355"/>
                  <a:gd name="T70" fmla="*/ 2147483646 w 335"/>
                  <a:gd name="T71" fmla="*/ 2147483646 h 355"/>
                  <a:gd name="T72" fmla="*/ 0 w 335"/>
                  <a:gd name="T73" fmla="*/ 2147483646 h 355"/>
                  <a:gd name="T74" fmla="*/ 2147483646 w 335"/>
                  <a:gd name="T75" fmla="*/ 2147483646 h 355"/>
                  <a:gd name="T76" fmla="*/ 2147483646 w 335"/>
                  <a:gd name="T77" fmla="*/ 2147483646 h 355"/>
                  <a:gd name="T78" fmla="*/ 2147483646 w 335"/>
                  <a:gd name="T79" fmla="*/ 2147483646 h 355"/>
                  <a:gd name="T80" fmla="*/ 2147483646 w 335"/>
                  <a:gd name="T81" fmla="*/ 2147483646 h 355"/>
                  <a:gd name="T82" fmla="*/ 2147483646 w 335"/>
                  <a:gd name="T83" fmla="*/ 2147483646 h 355"/>
                  <a:gd name="T84" fmla="*/ 2147483646 w 335"/>
                  <a:gd name="T85" fmla="*/ 2147483646 h 355"/>
                  <a:gd name="T86" fmla="*/ 2147483646 w 335"/>
                  <a:gd name="T87" fmla="*/ 2147483646 h 355"/>
                  <a:gd name="T88" fmla="*/ 2147483646 w 335"/>
                  <a:gd name="T89" fmla="*/ 2147483646 h 355"/>
                  <a:gd name="T90" fmla="*/ 2147483646 w 335"/>
                  <a:gd name="T91" fmla="*/ 2147483646 h 355"/>
                  <a:gd name="T92" fmla="*/ 2147483646 w 335"/>
                  <a:gd name="T93" fmla="*/ 2147483646 h 355"/>
                  <a:gd name="T94" fmla="*/ 2147483646 w 335"/>
                  <a:gd name="T95" fmla="*/ 2147483646 h 355"/>
                  <a:gd name="T96" fmla="*/ 2147483646 w 335"/>
                  <a:gd name="T97" fmla="*/ 2147483646 h 355"/>
                  <a:gd name="T98" fmla="*/ 2147483646 w 335"/>
                  <a:gd name="T99" fmla="*/ 2147483646 h 355"/>
                  <a:gd name="T100" fmla="*/ 2147483646 w 335"/>
                  <a:gd name="T101" fmla="*/ 0 h 355"/>
                  <a:gd name="T102" fmla="*/ 2147483646 w 335"/>
                  <a:gd name="T103" fmla="*/ 2147483646 h 35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5"/>
                  <a:gd name="T157" fmla="*/ 0 h 355"/>
                  <a:gd name="T158" fmla="*/ 335 w 335"/>
                  <a:gd name="T159" fmla="*/ 355 h 35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5" h="355">
                    <a:moveTo>
                      <a:pt x="112" y="9"/>
                    </a:moveTo>
                    <a:lnTo>
                      <a:pt x="118" y="15"/>
                    </a:lnTo>
                    <a:lnTo>
                      <a:pt x="124" y="22"/>
                    </a:lnTo>
                    <a:lnTo>
                      <a:pt x="126" y="24"/>
                    </a:lnTo>
                    <a:lnTo>
                      <a:pt x="126" y="28"/>
                    </a:lnTo>
                    <a:lnTo>
                      <a:pt x="127" y="32"/>
                    </a:lnTo>
                    <a:lnTo>
                      <a:pt x="127" y="38"/>
                    </a:lnTo>
                    <a:lnTo>
                      <a:pt x="127" y="40"/>
                    </a:lnTo>
                    <a:lnTo>
                      <a:pt x="127" y="43"/>
                    </a:lnTo>
                    <a:lnTo>
                      <a:pt x="127" y="47"/>
                    </a:lnTo>
                    <a:lnTo>
                      <a:pt x="127" y="51"/>
                    </a:lnTo>
                    <a:lnTo>
                      <a:pt x="126" y="57"/>
                    </a:lnTo>
                    <a:lnTo>
                      <a:pt x="126" y="60"/>
                    </a:lnTo>
                    <a:lnTo>
                      <a:pt x="124" y="64"/>
                    </a:lnTo>
                    <a:lnTo>
                      <a:pt x="124" y="68"/>
                    </a:lnTo>
                    <a:lnTo>
                      <a:pt x="120" y="72"/>
                    </a:lnTo>
                    <a:lnTo>
                      <a:pt x="118" y="76"/>
                    </a:lnTo>
                    <a:lnTo>
                      <a:pt x="116" y="79"/>
                    </a:lnTo>
                    <a:lnTo>
                      <a:pt x="114" y="83"/>
                    </a:lnTo>
                    <a:lnTo>
                      <a:pt x="110" y="89"/>
                    </a:lnTo>
                    <a:lnTo>
                      <a:pt x="108" y="93"/>
                    </a:lnTo>
                    <a:lnTo>
                      <a:pt x="105" y="97"/>
                    </a:lnTo>
                    <a:lnTo>
                      <a:pt x="103" y="100"/>
                    </a:lnTo>
                    <a:lnTo>
                      <a:pt x="99" y="104"/>
                    </a:lnTo>
                    <a:lnTo>
                      <a:pt x="97" y="108"/>
                    </a:lnTo>
                    <a:lnTo>
                      <a:pt x="95" y="112"/>
                    </a:lnTo>
                    <a:lnTo>
                      <a:pt x="91" y="116"/>
                    </a:lnTo>
                    <a:lnTo>
                      <a:pt x="89" y="121"/>
                    </a:lnTo>
                    <a:lnTo>
                      <a:pt x="86" y="125"/>
                    </a:lnTo>
                    <a:lnTo>
                      <a:pt x="84" y="129"/>
                    </a:lnTo>
                    <a:lnTo>
                      <a:pt x="82" y="133"/>
                    </a:lnTo>
                    <a:lnTo>
                      <a:pt x="74" y="140"/>
                    </a:lnTo>
                    <a:lnTo>
                      <a:pt x="70" y="148"/>
                    </a:lnTo>
                    <a:lnTo>
                      <a:pt x="67" y="154"/>
                    </a:lnTo>
                    <a:lnTo>
                      <a:pt x="63" y="161"/>
                    </a:lnTo>
                    <a:lnTo>
                      <a:pt x="59" y="169"/>
                    </a:lnTo>
                    <a:lnTo>
                      <a:pt x="55" y="175"/>
                    </a:lnTo>
                    <a:lnTo>
                      <a:pt x="51" y="182"/>
                    </a:lnTo>
                    <a:lnTo>
                      <a:pt x="50" y="190"/>
                    </a:lnTo>
                    <a:lnTo>
                      <a:pt x="48" y="195"/>
                    </a:lnTo>
                    <a:lnTo>
                      <a:pt x="46" y="201"/>
                    </a:lnTo>
                    <a:lnTo>
                      <a:pt x="44" y="207"/>
                    </a:lnTo>
                    <a:lnTo>
                      <a:pt x="44" y="213"/>
                    </a:lnTo>
                    <a:lnTo>
                      <a:pt x="42" y="218"/>
                    </a:lnTo>
                    <a:lnTo>
                      <a:pt x="42" y="224"/>
                    </a:lnTo>
                    <a:lnTo>
                      <a:pt x="42" y="230"/>
                    </a:lnTo>
                    <a:lnTo>
                      <a:pt x="44" y="235"/>
                    </a:lnTo>
                    <a:lnTo>
                      <a:pt x="44" y="239"/>
                    </a:lnTo>
                    <a:lnTo>
                      <a:pt x="46" y="245"/>
                    </a:lnTo>
                    <a:lnTo>
                      <a:pt x="46" y="249"/>
                    </a:lnTo>
                    <a:lnTo>
                      <a:pt x="48" y="254"/>
                    </a:lnTo>
                    <a:lnTo>
                      <a:pt x="50" y="258"/>
                    </a:lnTo>
                    <a:lnTo>
                      <a:pt x="51" y="264"/>
                    </a:lnTo>
                    <a:lnTo>
                      <a:pt x="55" y="268"/>
                    </a:lnTo>
                    <a:lnTo>
                      <a:pt x="59" y="271"/>
                    </a:lnTo>
                    <a:lnTo>
                      <a:pt x="63" y="275"/>
                    </a:lnTo>
                    <a:lnTo>
                      <a:pt x="65" y="279"/>
                    </a:lnTo>
                    <a:lnTo>
                      <a:pt x="70" y="283"/>
                    </a:lnTo>
                    <a:lnTo>
                      <a:pt x="74" y="289"/>
                    </a:lnTo>
                    <a:lnTo>
                      <a:pt x="78" y="290"/>
                    </a:lnTo>
                    <a:lnTo>
                      <a:pt x="84" y="294"/>
                    </a:lnTo>
                    <a:lnTo>
                      <a:pt x="89" y="298"/>
                    </a:lnTo>
                    <a:lnTo>
                      <a:pt x="95" y="302"/>
                    </a:lnTo>
                    <a:lnTo>
                      <a:pt x="101" y="306"/>
                    </a:lnTo>
                    <a:lnTo>
                      <a:pt x="107" y="308"/>
                    </a:lnTo>
                    <a:lnTo>
                      <a:pt x="110" y="308"/>
                    </a:lnTo>
                    <a:lnTo>
                      <a:pt x="114" y="309"/>
                    </a:lnTo>
                    <a:lnTo>
                      <a:pt x="118" y="311"/>
                    </a:lnTo>
                    <a:lnTo>
                      <a:pt x="122" y="313"/>
                    </a:lnTo>
                    <a:lnTo>
                      <a:pt x="126" y="313"/>
                    </a:lnTo>
                    <a:lnTo>
                      <a:pt x="131" y="313"/>
                    </a:lnTo>
                    <a:lnTo>
                      <a:pt x="135" y="315"/>
                    </a:lnTo>
                    <a:lnTo>
                      <a:pt x="139" y="315"/>
                    </a:lnTo>
                    <a:lnTo>
                      <a:pt x="143" y="315"/>
                    </a:lnTo>
                    <a:lnTo>
                      <a:pt x="148" y="317"/>
                    </a:lnTo>
                    <a:lnTo>
                      <a:pt x="152" y="317"/>
                    </a:lnTo>
                    <a:lnTo>
                      <a:pt x="158" y="317"/>
                    </a:lnTo>
                    <a:lnTo>
                      <a:pt x="162" y="317"/>
                    </a:lnTo>
                    <a:lnTo>
                      <a:pt x="167" y="319"/>
                    </a:lnTo>
                    <a:lnTo>
                      <a:pt x="171" y="319"/>
                    </a:lnTo>
                    <a:lnTo>
                      <a:pt x="177" y="319"/>
                    </a:lnTo>
                    <a:lnTo>
                      <a:pt x="181" y="319"/>
                    </a:lnTo>
                    <a:lnTo>
                      <a:pt x="186" y="319"/>
                    </a:lnTo>
                    <a:lnTo>
                      <a:pt x="192" y="319"/>
                    </a:lnTo>
                    <a:lnTo>
                      <a:pt x="198" y="321"/>
                    </a:lnTo>
                    <a:lnTo>
                      <a:pt x="202" y="321"/>
                    </a:lnTo>
                    <a:lnTo>
                      <a:pt x="207" y="321"/>
                    </a:lnTo>
                    <a:lnTo>
                      <a:pt x="211" y="321"/>
                    </a:lnTo>
                    <a:lnTo>
                      <a:pt x="217" y="321"/>
                    </a:lnTo>
                    <a:lnTo>
                      <a:pt x="221" y="321"/>
                    </a:lnTo>
                    <a:lnTo>
                      <a:pt x="226" y="321"/>
                    </a:lnTo>
                    <a:lnTo>
                      <a:pt x="232" y="321"/>
                    </a:lnTo>
                    <a:lnTo>
                      <a:pt x="238" y="321"/>
                    </a:lnTo>
                    <a:lnTo>
                      <a:pt x="241" y="319"/>
                    </a:lnTo>
                    <a:lnTo>
                      <a:pt x="245" y="319"/>
                    </a:lnTo>
                    <a:lnTo>
                      <a:pt x="251" y="319"/>
                    </a:lnTo>
                    <a:lnTo>
                      <a:pt x="257" y="319"/>
                    </a:lnTo>
                    <a:lnTo>
                      <a:pt x="260" y="317"/>
                    </a:lnTo>
                    <a:lnTo>
                      <a:pt x="264" y="317"/>
                    </a:lnTo>
                    <a:lnTo>
                      <a:pt x="270" y="317"/>
                    </a:lnTo>
                    <a:lnTo>
                      <a:pt x="274" y="317"/>
                    </a:lnTo>
                    <a:lnTo>
                      <a:pt x="278" y="317"/>
                    </a:lnTo>
                    <a:lnTo>
                      <a:pt x="281" y="315"/>
                    </a:lnTo>
                    <a:lnTo>
                      <a:pt x="285" y="315"/>
                    </a:lnTo>
                    <a:lnTo>
                      <a:pt x="289" y="315"/>
                    </a:lnTo>
                    <a:lnTo>
                      <a:pt x="293" y="315"/>
                    </a:lnTo>
                    <a:lnTo>
                      <a:pt x="297" y="315"/>
                    </a:lnTo>
                    <a:lnTo>
                      <a:pt x="300" y="315"/>
                    </a:lnTo>
                    <a:lnTo>
                      <a:pt x="304" y="315"/>
                    </a:lnTo>
                    <a:lnTo>
                      <a:pt x="310" y="313"/>
                    </a:lnTo>
                    <a:lnTo>
                      <a:pt x="316" y="313"/>
                    </a:lnTo>
                    <a:lnTo>
                      <a:pt x="321" y="313"/>
                    </a:lnTo>
                    <a:lnTo>
                      <a:pt x="325" y="313"/>
                    </a:lnTo>
                    <a:lnTo>
                      <a:pt x="331" y="311"/>
                    </a:lnTo>
                    <a:lnTo>
                      <a:pt x="335" y="311"/>
                    </a:lnTo>
                    <a:lnTo>
                      <a:pt x="331" y="311"/>
                    </a:lnTo>
                    <a:lnTo>
                      <a:pt x="325" y="315"/>
                    </a:lnTo>
                    <a:lnTo>
                      <a:pt x="321" y="315"/>
                    </a:lnTo>
                    <a:lnTo>
                      <a:pt x="316" y="317"/>
                    </a:lnTo>
                    <a:lnTo>
                      <a:pt x="310" y="321"/>
                    </a:lnTo>
                    <a:lnTo>
                      <a:pt x="304" y="323"/>
                    </a:lnTo>
                    <a:lnTo>
                      <a:pt x="300" y="323"/>
                    </a:lnTo>
                    <a:lnTo>
                      <a:pt x="295" y="325"/>
                    </a:lnTo>
                    <a:lnTo>
                      <a:pt x="291" y="327"/>
                    </a:lnTo>
                    <a:lnTo>
                      <a:pt x="287" y="327"/>
                    </a:lnTo>
                    <a:lnTo>
                      <a:pt x="283" y="329"/>
                    </a:lnTo>
                    <a:lnTo>
                      <a:pt x="279" y="330"/>
                    </a:lnTo>
                    <a:lnTo>
                      <a:pt x="276" y="330"/>
                    </a:lnTo>
                    <a:lnTo>
                      <a:pt x="270" y="332"/>
                    </a:lnTo>
                    <a:lnTo>
                      <a:pt x="266" y="334"/>
                    </a:lnTo>
                    <a:lnTo>
                      <a:pt x="260" y="336"/>
                    </a:lnTo>
                    <a:lnTo>
                      <a:pt x="257" y="336"/>
                    </a:lnTo>
                    <a:lnTo>
                      <a:pt x="251" y="338"/>
                    </a:lnTo>
                    <a:lnTo>
                      <a:pt x="245" y="340"/>
                    </a:lnTo>
                    <a:lnTo>
                      <a:pt x="241" y="342"/>
                    </a:lnTo>
                    <a:lnTo>
                      <a:pt x="236" y="342"/>
                    </a:lnTo>
                    <a:lnTo>
                      <a:pt x="232" y="344"/>
                    </a:lnTo>
                    <a:lnTo>
                      <a:pt x="224" y="346"/>
                    </a:lnTo>
                    <a:lnTo>
                      <a:pt x="219" y="346"/>
                    </a:lnTo>
                    <a:lnTo>
                      <a:pt x="215" y="346"/>
                    </a:lnTo>
                    <a:lnTo>
                      <a:pt x="209" y="348"/>
                    </a:lnTo>
                    <a:lnTo>
                      <a:pt x="202" y="348"/>
                    </a:lnTo>
                    <a:lnTo>
                      <a:pt x="198" y="349"/>
                    </a:lnTo>
                    <a:lnTo>
                      <a:pt x="192" y="349"/>
                    </a:lnTo>
                    <a:lnTo>
                      <a:pt x="186" y="351"/>
                    </a:lnTo>
                    <a:lnTo>
                      <a:pt x="181" y="351"/>
                    </a:lnTo>
                    <a:lnTo>
                      <a:pt x="173" y="353"/>
                    </a:lnTo>
                    <a:lnTo>
                      <a:pt x="167" y="353"/>
                    </a:lnTo>
                    <a:lnTo>
                      <a:pt x="164" y="353"/>
                    </a:lnTo>
                    <a:lnTo>
                      <a:pt x="156" y="353"/>
                    </a:lnTo>
                    <a:lnTo>
                      <a:pt x="150" y="353"/>
                    </a:lnTo>
                    <a:lnTo>
                      <a:pt x="145" y="353"/>
                    </a:lnTo>
                    <a:lnTo>
                      <a:pt x="141" y="355"/>
                    </a:lnTo>
                    <a:lnTo>
                      <a:pt x="133" y="353"/>
                    </a:lnTo>
                    <a:lnTo>
                      <a:pt x="127" y="353"/>
                    </a:lnTo>
                    <a:lnTo>
                      <a:pt x="122" y="353"/>
                    </a:lnTo>
                    <a:lnTo>
                      <a:pt x="116" y="353"/>
                    </a:lnTo>
                    <a:lnTo>
                      <a:pt x="110" y="351"/>
                    </a:lnTo>
                    <a:lnTo>
                      <a:pt x="105" y="349"/>
                    </a:lnTo>
                    <a:lnTo>
                      <a:pt x="99" y="349"/>
                    </a:lnTo>
                    <a:lnTo>
                      <a:pt x="95" y="349"/>
                    </a:lnTo>
                    <a:lnTo>
                      <a:pt x="89" y="348"/>
                    </a:lnTo>
                    <a:lnTo>
                      <a:pt x="84" y="346"/>
                    </a:lnTo>
                    <a:lnTo>
                      <a:pt x="78" y="344"/>
                    </a:lnTo>
                    <a:lnTo>
                      <a:pt x="74" y="342"/>
                    </a:lnTo>
                    <a:lnTo>
                      <a:pt x="69" y="340"/>
                    </a:lnTo>
                    <a:lnTo>
                      <a:pt x="65" y="338"/>
                    </a:lnTo>
                    <a:lnTo>
                      <a:pt x="59" y="334"/>
                    </a:lnTo>
                    <a:lnTo>
                      <a:pt x="55" y="332"/>
                    </a:lnTo>
                    <a:lnTo>
                      <a:pt x="50" y="330"/>
                    </a:lnTo>
                    <a:lnTo>
                      <a:pt x="46" y="327"/>
                    </a:lnTo>
                    <a:lnTo>
                      <a:pt x="42" y="323"/>
                    </a:lnTo>
                    <a:lnTo>
                      <a:pt x="38" y="321"/>
                    </a:lnTo>
                    <a:lnTo>
                      <a:pt x="31" y="315"/>
                    </a:lnTo>
                    <a:lnTo>
                      <a:pt x="25" y="308"/>
                    </a:lnTo>
                    <a:lnTo>
                      <a:pt x="19" y="302"/>
                    </a:lnTo>
                    <a:lnTo>
                      <a:pt x="13" y="296"/>
                    </a:lnTo>
                    <a:lnTo>
                      <a:pt x="10" y="289"/>
                    </a:lnTo>
                    <a:lnTo>
                      <a:pt x="8" y="283"/>
                    </a:lnTo>
                    <a:lnTo>
                      <a:pt x="4" y="275"/>
                    </a:lnTo>
                    <a:lnTo>
                      <a:pt x="2" y="268"/>
                    </a:lnTo>
                    <a:lnTo>
                      <a:pt x="0" y="260"/>
                    </a:lnTo>
                    <a:lnTo>
                      <a:pt x="0" y="254"/>
                    </a:lnTo>
                    <a:lnTo>
                      <a:pt x="0" y="247"/>
                    </a:lnTo>
                    <a:lnTo>
                      <a:pt x="0" y="239"/>
                    </a:lnTo>
                    <a:lnTo>
                      <a:pt x="0" y="232"/>
                    </a:lnTo>
                    <a:lnTo>
                      <a:pt x="2" y="226"/>
                    </a:lnTo>
                    <a:lnTo>
                      <a:pt x="2" y="222"/>
                    </a:lnTo>
                    <a:lnTo>
                      <a:pt x="4" y="216"/>
                    </a:lnTo>
                    <a:lnTo>
                      <a:pt x="4" y="214"/>
                    </a:lnTo>
                    <a:lnTo>
                      <a:pt x="6" y="211"/>
                    </a:lnTo>
                    <a:lnTo>
                      <a:pt x="8" y="203"/>
                    </a:lnTo>
                    <a:lnTo>
                      <a:pt x="12" y="195"/>
                    </a:lnTo>
                    <a:lnTo>
                      <a:pt x="13" y="188"/>
                    </a:lnTo>
                    <a:lnTo>
                      <a:pt x="15" y="182"/>
                    </a:lnTo>
                    <a:lnTo>
                      <a:pt x="19" y="175"/>
                    </a:lnTo>
                    <a:lnTo>
                      <a:pt x="23" y="169"/>
                    </a:lnTo>
                    <a:lnTo>
                      <a:pt x="27" y="163"/>
                    </a:lnTo>
                    <a:lnTo>
                      <a:pt x="31" y="156"/>
                    </a:lnTo>
                    <a:lnTo>
                      <a:pt x="34" y="150"/>
                    </a:lnTo>
                    <a:lnTo>
                      <a:pt x="38" y="144"/>
                    </a:lnTo>
                    <a:lnTo>
                      <a:pt x="42" y="138"/>
                    </a:lnTo>
                    <a:lnTo>
                      <a:pt x="48" y="135"/>
                    </a:lnTo>
                    <a:lnTo>
                      <a:pt x="51" y="129"/>
                    </a:lnTo>
                    <a:lnTo>
                      <a:pt x="55" y="125"/>
                    </a:lnTo>
                    <a:lnTo>
                      <a:pt x="57" y="119"/>
                    </a:lnTo>
                    <a:lnTo>
                      <a:pt x="61" y="114"/>
                    </a:lnTo>
                    <a:lnTo>
                      <a:pt x="65" y="110"/>
                    </a:lnTo>
                    <a:lnTo>
                      <a:pt x="67" y="106"/>
                    </a:lnTo>
                    <a:lnTo>
                      <a:pt x="70" y="100"/>
                    </a:lnTo>
                    <a:lnTo>
                      <a:pt x="72" y="97"/>
                    </a:lnTo>
                    <a:lnTo>
                      <a:pt x="74" y="91"/>
                    </a:lnTo>
                    <a:lnTo>
                      <a:pt x="76" y="87"/>
                    </a:lnTo>
                    <a:lnTo>
                      <a:pt x="78" y="83"/>
                    </a:lnTo>
                    <a:lnTo>
                      <a:pt x="80" y="79"/>
                    </a:lnTo>
                    <a:lnTo>
                      <a:pt x="80" y="76"/>
                    </a:lnTo>
                    <a:lnTo>
                      <a:pt x="82" y="72"/>
                    </a:lnTo>
                    <a:lnTo>
                      <a:pt x="82" y="64"/>
                    </a:lnTo>
                    <a:lnTo>
                      <a:pt x="80" y="57"/>
                    </a:lnTo>
                    <a:lnTo>
                      <a:pt x="76" y="49"/>
                    </a:lnTo>
                    <a:lnTo>
                      <a:pt x="72" y="45"/>
                    </a:lnTo>
                    <a:lnTo>
                      <a:pt x="69" y="41"/>
                    </a:lnTo>
                    <a:lnTo>
                      <a:pt x="65" y="38"/>
                    </a:lnTo>
                    <a:lnTo>
                      <a:pt x="61" y="36"/>
                    </a:lnTo>
                    <a:lnTo>
                      <a:pt x="57" y="34"/>
                    </a:lnTo>
                    <a:lnTo>
                      <a:pt x="51" y="32"/>
                    </a:lnTo>
                    <a:lnTo>
                      <a:pt x="46" y="30"/>
                    </a:lnTo>
                    <a:lnTo>
                      <a:pt x="40" y="26"/>
                    </a:lnTo>
                    <a:lnTo>
                      <a:pt x="34" y="26"/>
                    </a:lnTo>
                    <a:lnTo>
                      <a:pt x="31" y="24"/>
                    </a:lnTo>
                    <a:lnTo>
                      <a:pt x="27" y="24"/>
                    </a:lnTo>
                    <a:lnTo>
                      <a:pt x="23" y="22"/>
                    </a:lnTo>
                    <a:lnTo>
                      <a:pt x="19" y="22"/>
                    </a:lnTo>
                    <a:lnTo>
                      <a:pt x="15" y="22"/>
                    </a:lnTo>
                    <a:lnTo>
                      <a:pt x="12" y="22"/>
                    </a:lnTo>
                    <a:lnTo>
                      <a:pt x="6" y="22"/>
                    </a:lnTo>
                    <a:lnTo>
                      <a:pt x="2" y="22"/>
                    </a:lnTo>
                    <a:lnTo>
                      <a:pt x="8" y="13"/>
                    </a:lnTo>
                    <a:lnTo>
                      <a:pt x="8" y="11"/>
                    </a:lnTo>
                    <a:lnTo>
                      <a:pt x="10" y="11"/>
                    </a:lnTo>
                    <a:lnTo>
                      <a:pt x="13" y="9"/>
                    </a:lnTo>
                    <a:lnTo>
                      <a:pt x="19" y="7"/>
                    </a:lnTo>
                    <a:lnTo>
                      <a:pt x="25" y="7"/>
                    </a:lnTo>
                    <a:lnTo>
                      <a:pt x="32" y="5"/>
                    </a:lnTo>
                    <a:lnTo>
                      <a:pt x="36" y="3"/>
                    </a:lnTo>
                    <a:lnTo>
                      <a:pt x="40" y="3"/>
                    </a:lnTo>
                    <a:lnTo>
                      <a:pt x="46" y="2"/>
                    </a:lnTo>
                    <a:lnTo>
                      <a:pt x="50" y="2"/>
                    </a:lnTo>
                    <a:lnTo>
                      <a:pt x="53" y="2"/>
                    </a:lnTo>
                    <a:lnTo>
                      <a:pt x="57" y="2"/>
                    </a:lnTo>
                    <a:lnTo>
                      <a:pt x="63" y="0"/>
                    </a:lnTo>
                    <a:lnTo>
                      <a:pt x="67" y="0"/>
                    </a:lnTo>
                    <a:lnTo>
                      <a:pt x="70" y="0"/>
                    </a:lnTo>
                    <a:lnTo>
                      <a:pt x="74" y="0"/>
                    </a:lnTo>
                    <a:lnTo>
                      <a:pt x="80" y="0"/>
                    </a:lnTo>
                    <a:lnTo>
                      <a:pt x="84" y="0"/>
                    </a:lnTo>
                    <a:lnTo>
                      <a:pt x="88" y="0"/>
                    </a:lnTo>
                    <a:lnTo>
                      <a:pt x="91" y="2"/>
                    </a:lnTo>
                    <a:lnTo>
                      <a:pt x="95" y="2"/>
                    </a:lnTo>
                    <a:lnTo>
                      <a:pt x="99" y="3"/>
                    </a:lnTo>
                    <a:lnTo>
                      <a:pt x="107" y="5"/>
                    </a:lnTo>
                    <a:lnTo>
                      <a:pt x="112" y="9"/>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58" name="Freeform 52"/>
              <p:cNvSpPr>
                <a:spLocks/>
              </p:cNvSpPr>
              <p:nvPr/>
            </p:nvSpPr>
            <p:spPr bwMode="auto">
              <a:xfrm>
                <a:off x="2797176" y="3978276"/>
                <a:ext cx="147638" cy="95250"/>
              </a:xfrm>
              <a:custGeom>
                <a:avLst/>
                <a:gdLst>
                  <a:gd name="T0" fmla="*/ 0 w 186"/>
                  <a:gd name="T1" fmla="*/ 2147483646 h 120"/>
                  <a:gd name="T2" fmla="*/ 2147483646 w 186"/>
                  <a:gd name="T3" fmla="*/ 2147483646 h 120"/>
                  <a:gd name="T4" fmla="*/ 2147483646 w 186"/>
                  <a:gd name="T5" fmla="*/ 2147483646 h 120"/>
                  <a:gd name="T6" fmla="*/ 2147483646 w 186"/>
                  <a:gd name="T7" fmla="*/ 2147483646 h 120"/>
                  <a:gd name="T8" fmla="*/ 2147483646 w 186"/>
                  <a:gd name="T9" fmla="*/ 2147483646 h 120"/>
                  <a:gd name="T10" fmla="*/ 2147483646 w 186"/>
                  <a:gd name="T11" fmla="*/ 2147483646 h 120"/>
                  <a:gd name="T12" fmla="*/ 2147483646 w 186"/>
                  <a:gd name="T13" fmla="*/ 2147483646 h 120"/>
                  <a:gd name="T14" fmla="*/ 2147483646 w 186"/>
                  <a:gd name="T15" fmla="*/ 2147483646 h 120"/>
                  <a:gd name="T16" fmla="*/ 2147483646 w 186"/>
                  <a:gd name="T17" fmla="*/ 2147483646 h 120"/>
                  <a:gd name="T18" fmla="*/ 2147483646 w 186"/>
                  <a:gd name="T19" fmla="*/ 2147483646 h 120"/>
                  <a:gd name="T20" fmla="*/ 2147483646 w 186"/>
                  <a:gd name="T21" fmla="*/ 2147483646 h 120"/>
                  <a:gd name="T22" fmla="*/ 2147483646 w 186"/>
                  <a:gd name="T23" fmla="*/ 2147483646 h 120"/>
                  <a:gd name="T24" fmla="*/ 2147483646 w 186"/>
                  <a:gd name="T25" fmla="*/ 2147483646 h 120"/>
                  <a:gd name="T26" fmla="*/ 2147483646 w 186"/>
                  <a:gd name="T27" fmla="*/ 2147483646 h 120"/>
                  <a:gd name="T28" fmla="*/ 2147483646 w 186"/>
                  <a:gd name="T29" fmla="*/ 2147483646 h 120"/>
                  <a:gd name="T30" fmla="*/ 2147483646 w 186"/>
                  <a:gd name="T31" fmla="*/ 2147483646 h 120"/>
                  <a:gd name="T32" fmla="*/ 2147483646 w 186"/>
                  <a:gd name="T33" fmla="*/ 2147483646 h 120"/>
                  <a:gd name="T34" fmla="*/ 2147483646 w 186"/>
                  <a:gd name="T35" fmla="*/ 2147483646 h 120"/>
                  <a:gd name="T36" fmla="*/ 2147483646 w 186"/>
                  <a:gd name="T37" fmla="*/ 2147483646 h 120"/>
                  <a:gd name="T38" fmla="*/ 2147483646 w 186"/>
                  <a:gd name="T39" fmla="*/ 2147483646 h 120"/>
                  <a:gd name="T40" fmla="*/ 2147483646 w 186"/>
                  <a:gd name="T41" fmla="*/ 2147483646 h 120"/>
                  <a:gd name="T42" fmla="*/ 2147483646 w 186"/>
                  <a:gd name="T43" fmla="*/ 0 h 120"/>
                  <a:gd name="T44" fmla="*/ 2147483646 w 186"/>
                  <a:gd name="T45" fmla="*/ 2147483646 h 120"/>
                  <a:gd name="T46" fmla="*/ 2147483646 w 186"/>
                  <a:gd name="T47" fmla="*/ 2147483646 h 120"/>
                  <a:gd name="T48" fmla="*/ 2147483646 w 186"/>
                  <a:gd name="T49" fmla="*/ 2147483646 h 120"/>
                  <a:gd name="T50" fmla="*/ 2147483646 w 186"/>
                  <a:gd name="T51" fmla="*/ 2147483646 h 120"/>
                  <a:gd name="T52" fmla="*/ 2147483646 w 186"/>
                  <a:gd name="T53" fmla="*/ 2147483646 h 120"/>
                  <a:gd name="T54" fmla="*/ 2147483646 w 186"/>
                  <a:gd name="T55" fmla="*/ 2147483646 h 120"/>
                  <a:gd name="T56" fmla="*/ 2147483646 w 186"/>
                  <a:gd name="T57" fmla="*/ 2147483646 h 120"/>
                  <a:gd name="T58" fmla="*/ 2147483646 w 186"/>
                  <a:gd name="T59" fmla="*/ 2147483646 h 120"/>
                  <a:gd name="T60" fmla="*/ 2147483646 w 186"/>
                  <a:gd name="T61" fmla="*/ 2147483646 h 120"/>
                  <a:gd name="T62" fmla="*/ 2147483646 w 186"/>
                  <a:gd name="T63" fmla="*/ 2147483646 h 120"/>
                  <a:gd name="T64" fmla="*/ 2147483646 w 186"/>
                  <a:gd name="T65" fmla="*/ 2147483646 h 120"/>
                  <a:gd name="T66" fmla="*/ 2147483646 w 186"/>
                  <a:gd name="T67" fmla="*/ 2147483646 h 120"/>
                  <a:gd name="T68" fmla="*/ 2147483646 w 186"/>
                  <a:gd name="T69" fmla="*/ 2147483646 h 120"/>
                  <a:gd name="T70" fmla="*/ 2147483646 w 186"/>
                  <a:gd name="T71" fmla="*/ 2147483646 h 120"/>
                  <a:gd name="T72" fmla="*/ 2147483646 w 186"/>
                  <a:gd name="T73" fmla="*/ 2147483646 h 120"/>
                  <a:gd name="T74" fmla="*/ 2147483646 w 186"/>
                  <a:gd name="T75" fmla="*/ 2147483646 h 120"/>
                  <a:gd name="T76" fmla="*/ 2147483646 w 186"/>
                  <a:gd name="T77" fmla="*/ 2147483646 h 120"/>
                  <a:gd name="T78" fmla="*/ 2147483646 w 186"/>
                  <a:gd name="T79" fmla="*/ 2147483646 h 120"/>
                  <a:gd name="T80" fmla="*/ 2147483646 w 186"/>
                  <a:gd name="T81" fmla="*/ 2147483646 h 120"/>
                  <a:gd name="T82" fmla="*/ 2147483646 w 186"/>
                  <a:gd name="T83" fmla="*/ 2147483646 h 120"/>
                  <a:gd name="T84" fmla="*/ 2147483646 w 186"/>
                  <a:gd name="T85" fmla="*/ 2147483646 h 120"/>
                  <a:gd name="T86" fmla="*/ 2147483646 w 186"/>
                  <a:gd name="T87" fmla="*/ 2147483646 h 120"/>
                  <a:gd name="T88" fmla="*/ 2147483646 w 186"/>
                  <a:gd name="T89" fmla="*/ 2147483646 h 120"/>
                  <a:gd name="T90" fmla="*/ 2147483646 w 186"/>
                  <a:gd name="T91" fmla="*/ 2147483646 h 120"/>
                  <a:gd name="T92" fmla="*/ 2147483646 w 186"/>
                  <a:gd name="T93" fmla="*/ 2147483646 h 120"/>
                  <a:gd name="T94" fmla="*/ 2147483646 w 186"/>
                  <a:gd name="T95" fmla="*/ 2147483646 h 120"/>
                  <a:gd name="T96" fmla="*/ 2147483646 w 186"/>
                  <a:gd name="T97" fmla="*/ 2147483646 h 120"/>
                  <a:gd name="T98" fmla="*/ 2147483646 w 186"/>
                  <a:gd name="T99" fmla="*/ 2147483646 h 120"/>
                  <a:gd name="T100" fmla="*/ 0 w 186"/>
                  <a:gd name="T101" fmla="*/ 2147483646 h 120"/>
                  <a:gd name="T102" fmla="*/ 0 w 186"/>
                  <a:gd name="T103" fmla="*/ 2147483646 h 1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6"/>
                  <a:gd name="T157" fmla="*/ 0 h 120"/>
                  <a:gd name="T158" fmla="*/ 186 w 186"/>
                  <a:gd name="T159" fmla="*/ 120 h 1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6" h="120">
                    <a:moveTo>
                      <a:pt x="0" y="85"/>
                    </a:moveTo>
                    <a:lnTo>
                      <a:pt x="0" y="85"/>
                    </a:lnTo>
                    <a:lnTo>
                      <a:pt x="8" y="87"/>
                    </a:lnTo>
                    <a:lnTo>
                      <a:pt x="10" y="89"/>
                    </a:lnTo>
                    <a:lnTo>
                      <a:pt x="15" y="91"/>
                    </a:lnTo>
                    <a:lnTo>
                      <a:pt x="21" y="93"/>
                    </a:lnTo>
                    <a:lnTo>
                      <a:pt x="29" y="95"/>
                    </a:lnTo>
                    <a:lnTo>
                      <a:pt x="32" y="95"/>
                    </a:lnTo>
                    <a:lnTo>
                      <a:pt x="34" y="95"/>
                    </a:lnTo>
                    <a:lnTo>
                      <a:pt x="40" y="97"/>
                    </a:lnTo>
                    <a:lnTo>
                      <a:pt x="44" y="97"/>
                    </a:lnTo>
                    <a:lnTo>
                      <a:pt x="48" y="97"/>
                    </a:lnTo>
                    <a:lnTo>
                      <a:pt x="51" y="97"/>
                    </a:lnTo>
                    <a:lnTo>
                      <a:pt x="57" y="97"/>
                    </a:lnTo>
                    <a:lnTo>
                      <a:pt x="61" y="99"/>
                    </a:lnTo>
                    <a:lnTo>
                      <a:pt x="65" y="97"/>
                    </a:lnTo>
                    <a:lnTo>
                      <a:pt x="70" y="97"/>
                    </a:lnTo>
                    <a:lnTo>
                      <a:pt x="74" y="97"/>
                    </a:lnTo>
                    <a:lnTo>
                      <a:pt x="80" y="97"/>
                    </a:lnTo>
                    <a:lnTo>
                      <a:pt x="84" y="95"/>
                    </a:lnTo>
                    <a:lnTo>
                      <a:pt x="89" y="95"/>
                    </a:lnTo>
                    <a:lnTo>
                      <a:pt x="95" y="93"/>
                    </a:lnTo>
                    <a:lnTo>
                      <a:pt x="101" y="91"/>
                    </a:lnTo>
                    <a:lnTo>
                      <a:pt x="105" y="89"/>
                    </a:lnTo>
                    <a:lnTo>
                      <a:pt x="110" y="87"/>
                    </a:lnTo>
                    <a:lnTo>
                      <a:pt x="114" y="85"/>
                    </a:lnTo>
                    <a:lnTo>
                      <a:pt x="120" y="84"/>
                    </a:lnTo>
                    <a:lnTo>
                      <a:pt x="124" y="82"/>
                    </a:lnTo>
                    <a:lnTo>
                      <a:pt x="127" y="80"/>
                    </a:lnTo>
                    <a:lnTo>
                      <a:pt x="131" y="76"/>
                    </a:lnTo>
                    <a:lnTo>
                      <a:pt x="135" y="74"/>
                    </a:lnTo>
                    <a:lnTo>
                      <a:pt x="141" y="68"/>
                    </a:lnTo>
                    <a:lnTo>
                      <a:pt x="146" y="63"/>
                    </a:lnTo>
                    <a:lnTo>
                      <a:pt x="152" y="57"/>
                    </a:lnTo>
                    <a:lnTo>
                      <a:pt x="158" y="51"/>
                    </a:lnTo>
                    <a:lnTo>
                      <a:pt x="162" y="44"/>
                    </a:lnTo>
                    <a:lnTo>
                      <a:pt x="163" y="38"/>
                    </a:lnTo>
                    <a:lnTo>
                      <a:pt x="165" y="30"/>
                    </a:lnTo>
                    <a:lnTo>
                      <a:pt x="169" y="25"/>
                    </a:lnTo>
                    <a:lnTo>
                      <a:pt x="169" y="19"/>
                    </a:lnTo>
                    <a:lnTo>
                      <a:pt x="169" y="11"/>
                    </a:lnTo>
                    <a:lnTo>
                      <a:pt x="169" y="6"/>
                    </a:lnTo>
                    <a:lnTo>
                      <a:pt x="169" y="0"/>
                    </a:lnTo>
                    <a:lnTo>
                      <a:pt x="171" y="0"/>
                    </a:lnTo>
                    <a:lnTo>
                      <a:pt x="173" y="4"/>
                    </a:lnTo>
                    <a:lnTo>
                      <a:pt x="175" y="6"/>
                    </a:lnTo>
                    <a:lnTo>
                      <a:pt x="177" y="7"/>
                    </a:lnTo>
                    <a:lnTo>
                      <a:pt x="179" y="11"/>
                    </a:lnTo>
                    <a:lnTo>
                      <a:pt x="181" y="15"/>
                    </a:lnTo>
                    <a:lnTo>
                      <a:pt x="182" y="19"/>
                    </a:lnTo>
                    <a:lnTo>
                      <a:pt x="184" y="23"/>
                    </a:lnTo>
                    <a:lnTo>
                      <a:pt x="184" y="26"/>
                    </a:lnTo>
                    <a:lnTo>
                      <a:pt x="186" y="32"/>
                    </a:lnTo>
                    <a:lnTo>
                      <a:pt x="186" y="38"/>
                    </a:lnTo>
                    <a:lnTo>
                      <a:pt x="186" y="46"/>
                    </a:lnTo>
                    <a:lnTo>
                      <a:pt x="186" y="47"/>
                    </a:lnTo>
                    <a:lnTo>
                      <a:pt x="186" y="51"/>
                    </a:lnTo>
                    <a:lnTo>
                      <a:pt x="186" y="55"/>
                    </a:lnTo>
                    <a:lnTo>
                      <a:pt x="186" y="61"/>
                    </a:lnTo>
                    <a:lnTo>
                      <a:pt x="182" y="66"/>
                    </a:lnTo>
                    <a:lnTo>
                      <a:pt x="179" y="72"/>
                    </a:lnTo>
                    <a:lnTo>
                      <a:pt x="175" y="80"/>
                    </a:lnTo>
                    <a:lnTo>
                      <a:pt x="169" y="85"/>
                    </a:lnTo>
                    <a:lnTo>
                      <a:pt x="165" y="87"/>
                    </a:lnTo>
                    <a:lnTo>
                      <a:pt x="162" y="91"/>
                    </a:lnTo>
                    <a:lnTo>
                      <a:pt x="158" y="93"/>
                    </a:lnTo>
                    <a:lnTo>
                      <a:pt x="154" y="97"/>
                    </a:lnTo>
                    <a:lnTo>
                      <a:pt x="150" y="99"/>
                    </a:lnTo>
                    <a:lnTo>
                      <a:pt x="146" y="101"/>
                    </a:lnTo>
                    <a:lnTo>
                      <a:pt x="143" y="104"/>
                    </a:lnTo>
                    <a:lnTo>
                      <a:pt x="139" y="106"/>
                    </a:lnTo>
                    <a:lnTo>
                      <a:pt x="133" y="108"/>
                    </a:lnTo>
                    <a:lnTo>
                      <a:pt x="129" y="110"/>
                    </a:lnTo>
                    <a:lnTo>
                      <a:pt x="124" y="112"/>
                    </a:lnTo>
                    <a:lnTo>
                      <a:pt x="120" y="114"/>
                    </a:lnTo>
                    <a:lnTo>
                      <a:pt x="114" y="114"/>
                    </a:lnTo>
                    <a:lnTo>
                      <a:pt x="108" y="116"/>
                    </a:lnTo>
                    <a:lnTo>
                      <a:pt x="105" y="118"/>
                    </a:lnTo>
                    <a:lnTo>
                      <a:pt x="99" y="118"/>
                    </a:lnTo>
                    <a:lnTo>
                      <a:pt x="93" y="120"/>
                    </a:lnTo>
                    <a:lnTo>
                      <a:pt x="89" y="120"/>
                    </a:lnTo>
                    <a:lnTo>
                      <a:pt x="84" y="120"/>
                    </a:lnTo>
                    <a:lnTo>
                      <a:pt x="78" y="120"/>
                    </a:lnTo>
                    <a:lnTo>
                      <a:pt x="74" y="120"/>
                    </a:lnTo>
                    <a:lnTo>
                      <a:pt x="68" y="120"/>
                    </a:lnTo>
                    <a:lnTo>
                      <a:pt x="63" y="120"/>
                    </a:lnTo>
                    <a:lnTo>
                      <a:pt x="59" y="120"/>
                    </a:lnTo>
                    <a:lnTo>
                      <a:pt x="53" y="118"/>
                    </a:lnTo>
                    <a:lnTo>
                      <a:pt x="49" y="118"/>
                    </a:lnTo>
                    <a:lnTo>
                      <a:pt x="46" y="116"/>
                    </a:lnTo>
                    <a:lnTo>
                      <a:pt x="42" y="116"/>
                    </a:lnTo>
                    <a:lnTo>
                      <a:pt x="36" y="114"/>
                    </a:lnTo>
                    <a:lnTo>
                      <a:pt x="34" y="112"/>
                    </a:lnTo>
                    <a:lnTo>
                      <a:pt x="30" y="110"/>
                    </a:lnTo>
                    <a:lnTo>
                      <a:pt x="27" y="110"/>
                    </a:lnTo>
                    <a:lnTo>
                      <a:pt x="21" y="106"/>
                    </a:lnTo>
                    <a:lnTo>
                      <a:pt x="17" y="104"/>
                    </a:lnTo>
                    <a:lnTo>
                      <a:pt x="11" y="101"/>
                    </a:lnTo>
                    <a:lnTo>
                      <a:pt x="10" y="99"/>
                    </a:lnTo>
                    <a:lnTo>
                      <a:pt x="4" y="93"/>
                    </a:lnTo>
                    <a:lnTo>
                      <a:pt x="0" y="89"/>
                    </a:lnTo>
                    <a:lnTo>
                      <a:pt x="0" y="85"/>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59" name="Freeform 53"/>
              <p:cNvSpPr>
                <a:spLocks/>
              </p:cNvSpPr>
              <p:nvPr/>
            </p:nvSpPr>
            <p:spPr bwMode="auto">
              <a:xfrm>
                <a:off x="2911476" y="3773488"/>
                <a:ext cx="136525" cy="215900"/>
              </a:xfrm>
              <a:custGeom>
                <a:avLst/>
                <a:gdLst>
                  <a:gd name="T0" fmla="*/ 0 w 171"/>
                  <a:gd name="T1" fmla="*/ 2147483646 h 272"/>
                  <a:gd name="T2" fmla="*/ 0 w 171"/>
                  <a:gd name="T3" fmla="*/ 2147483646 h 272"/>
                  <a:gd name="T4" fmla="*/ 2147483646 w 171"/>
                  <a:gd name="T5" fmla="*/ 2147483646 h 272"/>
                  <a:gd name="T6" fmla="*/ 2147483646 w 171"/>
                  <a:gd name="T7" fmla="*/ 2147483646 h 272"/>
                  <a:gd name="T8" fmla="*/ 2147483646 w 171"/>
                  <a:gd name="T9" fmla="*/ 2147483646 h 272"/>
                  <a:gd name="T10" fmla="*/ 2147483646 w 171"/>
                  <a:gd name="T11" fmla="*/ 2147483646 h 272"/>
                  <a:gd name="T12" fmla="*/ 2147483646 w 171"/>
                  <a:gd name="T13" fmla="*/ 2147483646 h 272"/>
                  <a:gd name="T14" fmla="*/ 2147483646 w 171"/>
                  <a:gd name="T15" fmla="*/ 2147483646 h 272"/>
                  <a:gd name="T16" fmla="*/ 2147483646 w 171"/>
                  <a:gd name="T17" fmla="*/ 2147483646 h 272"/>
                  <a:gd name="T18" fmla="*/ 2147483646 w 171"/>
                  <a:gd name="T19" fmla="*/ 2147483646 h 272"/>
                  <a:gd name="T20" fmla="*/ 2147483646 w 171"/>
                  <a:gd name="T21" fmla="*/ 2147483646 h 272"/>
                  <a:gd name="T22" fmla="*/ 2147483646 w 171"/>
                  <a:gd name="T23" fmla="*/ 2147483646 h 272"/>
                  <a:gd name="T24" fmla="*/ 2147483646 w 171"/>
                  <a:gd name="T25" fmla="*/ 2147483646 h 272"/>
                  <a:gd name="T26" fmla="*/ 2147483646 w 171"/>
                  <a:gd name="T27" fmla="*/ 2147483646 h 272"/>
                  <a:gd name="T28" fmla="*/ 2147483646 w 171"/>
                  <a:gd name="T29" fmla="*/ 2147483646 h 272"/>
                  <a:gd name="T30" fmla="*/ 2147483646 w 171"/>
                  <a:gd name="T31" fmla="*/ 2147483646 h 272"/>
                  <a:gd name="T32" fmla="*/ 2147483646 w 171"/>
                  <a:gd name="T33" fmla="*/ 0 h 272"/>
                  <a:gd name="T34" fmla="*/ 2147483646 w 171"/>
                  <a:gd name="T35" fmla="*/ 0 h 272"/>
                  <a:gd name="T36" fmla="*/ 2147483646 w 171"/>
                  <a:gd name="T37" fmla="*/ 2147483646 h 272"/>
                  <a:gd name="T38" fmla="*/ 2147483646 w 171"/>
                  <a:gd name="T39" fmla="*/ 2147483646 h 272"/>
                  <a:gd name="T40" fmla="*/ 2147483646 w 171"/>
                  <a:gd name="T41" fmla="*/ 2147483646 h 272"/>
                  <a:gd name="T42" fmla="*/ 2147483646 w 171"/>
                  <a:gd name="T43" fmla="*/ 2147483646 h 272"/>
                  <a:gd name="T44" fmla="*/ 2147483646 w 171"/>
                  <a:gd name="T45" fmla="*/ 2147483646 h 272"/>
                  <a:gd name="T46" fmla="*/ 2147483646 w 171"/>
                  <a:gd name="T47" fmla="*/ 2147483646 h 272"/>
                  <a:gd name="T48" fmla="*/ 2147483646 w 171"/>
                  <a:gd name="T49" fmla="*/ 2147483646 h 272"/>
                  <a:gd name="T50" fmla="*/ 2147483646 w 171"/>
                  <a:gd name="T51" fmla="*/ 2147483646 h 272"/>
                  <a:gd name="T52" fmla="*/ 2147483646 w 171"/>
                  <a:gd name="T53" fmla="*/ 2147483646 h 272"/>
                  <a:gd name="T54" fmla="*/ 2147483646 w 171"/>
                  <a:gd name="T55" fmla="*/ 2147483646 h 272"/>
                  <a:gd name="T56" fmla="*/ 2147483646 w 171"/>
                  <a:gd name="T57" fmla="*/ 2147483646 h 272"/>
                  <a:gd name="T58" fmla="*/ 2147483646 w 171"/>
                  <a:gd name="T59" fmla="*/ 2147483646 h 272"/>
                  <a:gd name="T60" fmla="*/ 2147483646 w 171"/>
                  <a:gd name="T61" fmla="*/ 2147483646 h 272"/>
                  <a:gd name="T62" fmla="*/ 2147483646 w 171"/>
                  <a:gd name="T63" fmla="*/ 2147483646 h 272"/>
                  <a:gd name="T64" fmla="*/ 2147483646 w 171"/>
                  <a:gd name="T65" fmla="*/ 2147483646 h 272"/>
                  <a:gd name="T66" fmla="*/ 2147483646 w 171"/>
                  <a:gd name="T67" fmla="*/ 2147483646 h 272"/>
                  <a:gd name="T68" fmla="*/ 2147483646 w 171"/>
                  <a:gd name="T69" fmla="*/ 2147483646 h 272"/>
                  <a:gd name="T70" fmla="*/ 2147483646 w 171"/>
                  <a:gd name="T71" fmla="*/ 2147483646 h 272"/>
                  <a:gd name="T72" fmla="*/ 2147483646 w 171"/>
                  <a:gd name="T73" fmla="*/ 2147483646 h 272"/>
                  <a:gd name="T74" fmla="*/ 2147483646 w 171"/>
                  <a:gd name="T75" fmla="*/ 2147483646 h 272"/>
                  <a:gd name="T76" fmla="*/ 2147483646 w 171"/>
                  <a:gd name="T77" fmla="*/ 2147483646 h 272"/>
                  <a:gd name="T78" fmla="*/ 2147483646 w 171"/>
                  <a:gd name="T79" fmla="*/ 2147483646 h 272"/>
                  <a:gd name="T80" fmla="*/ 2147483646 w 171"/>
                  <a:gd name="T81" fmla="*/ 2147483646 h 272"/>
                  <a:gd name="T82" fmla="*/ 2147483646 w 171"/>
                  <a:gd name="T83" fmla="*/ 2147483646 h 272"/>
                  <a:gd name="T84" fmla="*/ 2147483646 w 171"/>
                  <a:gd name="T85" fmla="*/ 2147483646 h 272"/>
                  <a:gd name="T86" fmla="*/ 2147483646 w 171"/>
                  <a:gd name="T87" fmla="*/ 2147483646 h 2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1"/>
                  <a:gd name="T133" fmla="*/ 0 h 272"/>
                  <a:gd name="T134" fmla="*/ 171 w 171"/>
                  <a:gd name="T135" fmla="*/ 272 h 2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1" h="272">
                    <a:moveTo>
                      <a:pt x="12" y="272"/>
                    </a:moveTo>
                    <a:lnTo>
                      <a:pt x="0" y="251"/>
                    </a:lnTo>
                    <a:lnTo>
                      <a:pt x="0" y="246"/>
                    </a:lnTo>
                    <a:lnTo>
                      <a:pt x="0" y="240"/>
                    </a:lnTo>
                    <a:lnTo>
                      <a:pt x="0" y="236"/>
                    </a:lnTo>
                    <a:lnTo>
                      <a:pt x="0" y="230"/>
                    </a:lnTo>
                    <a:lnTo>
                      <a:pt x="0" y="225"/>
                    </a:lnTo>
                    <a:lnTo>
                      <a:pt x="2" y="219"/>
                    </a:lnTo>
                    <a:lnTo>
                      <a:pt x="2" y="211"/>
                    </a:lnTo>
                    <a:lnTo>
                      <a:pt x="2" y="206"/>
                    </a:lnTo>
                    <a:lnTo>
                      <a:pt x="2" y="200"/>
                    </a:lnTo>
                    <a:lnTo>
                      <a:pt x="4" y="192"/>
                    </a:lnTo>
                    <a:lnTo>
                      <a:pt x="4" y="187"/>
                    </a:lnTo>
                    <a:lnTo>
                      <a:pt x="6" y="179"/>
                    </a:lnTo>
                    <a:lnTo>
                      <a:pt x="6" y="171"/>
                    </a:lnTo>
                    <a:lnTo>
                      <a:pt x="8" y="164"/>
                    </a:lnTo>
                    <a:lnTo>
                      <a:pt x="8" y="156"/>
                    </a:lnTo>
                    <a:lnTo>
                      <a:pt x="10" y="151"/>
                    </a:lnTo>
                    <a:lnTo>
                      <a:pt x="10" y="147"/>
                    </a:lnTo>
                    <a:lnTo>
                      <a:pt x="12" y="141"/>
                    </a:lnTo>
                    <a:lnTo>
                      <a:pt x="12" y="137"/>
                    </a:lnTo>
                    <a:lnTo>
                      <a:pt x="14" y="133"/>
                    </a:lnTo>
                    <a:lnTo>
                      <a:pt x="16" y="128"/>
                    </a:lnTo>
                    <a:lnTo>
                      <a:pt x="18" y="120"/>
                    </a:lnTo>
                    <a:lnTo>
                      <a:pt x="18" y="116"/>
                    </a:lnTo>
                    <a:lnTo>
                      <a:pt x="19" y="113"/>
                    </a:lnTo>
                    <a:lnTo>
                      <a:pt x="19" y="107"/>
                    </a:lnTo>
                    <a:lnTo>
                      <a:pt x="21" y="105"/>
                    </a:lnTo>
                    <a:lnTo>
                      <a:pt x="23" y="97"/>
                    </a:lnTo>
                    <a:lnTo>
                      <a:pt x="27" y="90"/>
                    </a:lnTo>
                    <a:lnTo>
                      <a:pt x="29" y="82"/>
                    </a:lnTo>
                    <a:lnTo>
                      <a:pt x="33" y="74"/>
                    </a:lnTo>
                    <a:lnTo>
                      <a:pt x="35" y="69"/>
                    </a:lnTo>
                    <a:lnTo>
                      <a:pt x="38" y="61"/>
                    </a:lnTo>
                    <a:lnTo>
                      <a:pt x="42" y="54"/>
                    </a:lnTo>
                    <a:lnTo>
                      <a:pt x="46" y="48"/>
                    </a:lnTo>
                    <a:lnTo>
                      <a:pt x="50" y="40"/>
                    </a:lnTo>
                    <a:lnTo>
                      <a:pt x="56" y="35"/>
                    </a:lnTo>
                    <a:lnTo>
                      <a:pt x="59" y="29"/>
                    </a:lnTo>
                    <a:lnTo>
                      <a:pt x="63" y="25"/>
                    </a:lnTo>
                    <a:lnTo>
                      <a:pt x="67" y="21"/>
                    </a:lnTo>
                    <a:lnTo>
                      <a:pt x="71" y="17"/>
                    </a:lnTo>
                    <a:lnTo>
                      <a:pt x="75" y="14"/>
                    </a:lnTo>
                    <a:lnTo>
                      <a:pt x="80" y="10"/>
                    </a:lnTo>
                    <a:lnTo>
                      <a:pt x="84" y="8"/>
                    </a:lnTo>
                    <a:lnTo>
                      <a:pt x="90" y="6"/>
                    </a:lnTo>
                    <a:lnTo>
                      <a:pt x="94" y="4"/>
                    </a:lnTo>
                    <a:lnTo>
                      <a:pt x="99" y="2"/>
                    </a:lnTo>
                    <a:lnTo>
                      <a:pt x="103" y="0"/>
                    </a:lnTo>
                    <a:lnTo>
                      <a:pt x="109" y="0"/>
                    </a:lnTo>
                    <a:lnTo>
                      <a:pt x="113" y="0"/>
                    </a:lnTo>
                    <a:lnTo>
                      <a:pt x="116" y="0"/>
                    </a:lnTo>
                    <a:lnTo>
                      <a:pt x="122" y="0"/>
                    </a:lnTo>
                    <a:lnTo>
                      <a:pt x="126" y="0"/>
                    </a:lnTo>
                    <a:lnTo>
                      <a:pt x="130" y="0"/>
                    </a:lnTo>
                    <a:lnTo>
                      <a:pt x="133" y="2"/>
                    </a:lnTo>
                    <a:lnTo>
                      <a:pt x="137" y="4"/>
                    </a:lnTo>
                    <a:lnTo>
                      <a:pt x="143" y="6"/>
                    </a:lnTo>
                    <a:lnTo>
                      <a:pt x="145" y="8"/>
                    </a:lnTo>
                    <a:lnTo>
                      <a:pt x="149" y="10"/>
                    </a:lnTo>
                    <a:lnTo>
                      <a:pt x="152" y="14"/>
                    </a:lnTo>
                    <a:lnTo>
                      <a:pt x="156" y="16"/>
                    </a:lnTo>
                    <a:lnTo>
                      <a:pt x="158" y="19"/>
                    </a:lnTo>
                    <a:lnTo>
                      <a:pt x="162" y="23"/>
                    </a:lnTo>
                    <a:lnTo>
                      <a:pt x="164" y="27"/>
                    </a:lnTo>
                    <a:lnTo>
                      <a:pt x="166" y="31"/>
                    </a:lnTo>
                    <a:lnTo>
                      <a:pt x="168" y="35"/>
                    </a:lnTo>
                    <a:lnTo>
                      <a:pt x="170" y="38"/>
                    </a:lnTo>
                    <a:lnTo>
                      <a:pt x="170" y="44"/>
                    </a:lnTo>
                    <a:lnTo>
                      <a:pt x="171" y="50"/>
                    </a:lnTo>
                    <a:lnTo>
                      <a:pt x="149" y="55"/>
                    </a:lnTo>
                    <a:lnTo>
                      <a:pt x="147" y="55"/>
                    </a:lnTo>
                    <a:lnTo>
                      <a:pt x="143" y="52"/>
                    </a:lnTo>
                    <a:lnTo>
                      <a:pt x="137" y="46"/>
                    </a:lnTo>
                    <a:lnTo>
                      <a:pt x="132" y="44"/>
                    </a:lnTo>
                    <a:lnTo>
                      <a:pt x="128" y="40"/>
                    </a:lnTo>
                    <a:lnTo>
                      <a:pt x="124" y="38"/>
                    </a:lnTo>
                    <a:lnTo>
                      <a:pt x="118" y="38"/>
                    </a:lnTo>
                    <a:lnTo>
                      <a:pt x="114" y="38"/>
                    </a:lnTo>
                    <a:lnTo>
                      <a:pt x="111" y="38"/>
                    </a:lnTo>
                    <a:lnTo>
                      <a:pt x="105" y="38"/>
                    </a:lnTo>
                    <a:lnTo>
                      <a:pt x="101" y="40"/>
                    </a:lnTo>
                    <a:lnTo>
                      <a:pt x="95" y="46"/>
                    </a:lnTo>
                    <a:lnTo>
                      <a:pt x="90" y="50"/>
                    </a:lnTo>
                    <a:lnTo>
                      <a:pt x="82" y="55"/>
                    </a:lnTo>
                    <a:lnTo>
                      <a:pt x="76" y="63"/>
                    </a:lnTo>
                    <a:lnTo>
                      <a:pt x="73" y="71"/>
                    </a:lnTo>
                    <a:lnTo>
                      <a:pt x="69" y="73"/>
                    </a:lnTo>
                    <a:lnTo>
                      <a:pt x="65" y="76"/>
                    </a:lnTo>
                    <a:lnTo>
                      <a:pt x="63" y="80"/>
                    </a:lnTo>
                    <a:lnTo>
                      <a:pt x="61" y="86"/>
                    </a:lnTo>
                    <a:lnTo>
                      <a:pt x="59" y="90"/>
                    </a:lnTo>
                    <a:lnTo>
                      <a:pt x="57" y="93"/>
                    </a:lnTo>
                    <a:lnTo>
                      <a:pt x="56" y="97"/>
                    </a:lnTo>
                    <a:lnTo>
                      <a:pt x="52" y="103"/>
                    </a:lnTo>
                    <a:lnTo>
                      <a:pt x="50" y="107"/>
                    </a:lnTo>
                    <a:lnTo>
                      <a:pt x="48" y="111"/>
                    </a:lnTo>
                    <a:lnTo>
                      <a:pt x="46" y="116"/>
                    </a:lnTo>
                    <a:lnTo>
                      <a:pt x="44" y="120"/>
                    </a:lnTo>
                    <a:lnTo>
                      <a:pt x="42" y="124"/>
                    </a:lnTo>
                    <a:lnTo>
                      <a:pt x="40" y="130"/>
                    </a:lnTo>
                    <a:lnTo>
                      <a:pt x="38" y="133"/>
                    </a:lnTo>
                    <a:lnTo>
                      <a:pt x="37" y="139"/>
                    </a:lnTo>
                    <a:lnTo>
                      <a:pt x="35" y="145"/>
                    </a:lnTo>
                    <a:lnTo>
                      <a:pt x="35" y="149"/>
                    </a:lnTo>
                    <a:lnTo>
                      <a:pt x="33" y="154"/>
                    </a:lnTo>
                    <a:lnTo>
                      <a:pt x="31" y="158"/>
                    </a:lnTo>
                    <a:lnTo>
                      <a:pt x="31" y="164"/>
                    </a:lnTo>
                    <a:lnTo>
                      <a:pt x="29" y="170"/>
                    </a:lnTo>
                    <a:lnTo>
                      <a:pt x="27" y="173"/>
                    </a:lnTo>
                    <a:lnTo>
                      <a:pt x="27" y="179"/>
                    </a:lnTo>
                    <a:lnTo>
                      <a:pt x="25" y="183"/>
                    </a:lnTo>
                    <a:lnTo>
                      <a:pt x="25" y="189"/>
                    </a:lnTo>
                    <a:lnTo>
                      <a:pt x="23" y="192"/>
                    </a:lnTo>
                    <a:lnTo>
                      <a:pt x="23" y="196"/>
                    </a:lnTo>
                    <a:lnTo>
                      <a:pt x="21" y="200"/>
                    </a:lnTo>
                    <a:lnTo>
                      <a:pt x="21" y="206"/>
                    </a:lnTo>
                    <a:lnTo>
                      <a:pt x="19" y="209"/>
                    </a:lnTo>
                    <a:lnTo>
                      <a:pt x="19" y="213"/>
                    </a:lnTo>
                    <a:lnTo>
                      <a:pt x="18" y="217"/>
                    </a:lnTo>
                    <a:lnTo>
                      <a:pt x="18" y="221"/>
                    </a:lnTo>
                    <a:lnTo>
                      <a:pt x="18" y="225"/>
                    </a:lnTo>
                    <a:lnTo>
                      <a:pt x="18" y="230"/>
                    </a:lnTo>
                    <a:lnTo>
                      <a:pt x="16" y="236"/>
                    </a:lnTo>
                    <a:lnTo>
                      <a:pt x="16" y="244"/>
                    </a:lnTo>
                    <a:lnTo>
                      <a:pt x="14" y="249"/>
                    </a:lnTo>
                    <a:lnTo>
                      <a:pt x="14" y="255"/>
                    </a:lnTo>
                    <a:lnTo>
                      <a:pt x="12" y="259"/>
                    </a:lnTo>
                    <a:lnTo>
                      <a:pt x="12" y="265"/>
                    </a:lnTo>
                    <a:lnTo>
                      <a:pt x="12" y="268"/>
                    </a:lnTo>
                    <a:lnTo>
                      <a:pt x="12" y="270"/>
                    </a:lnTo>
                    <a:lnTo>
                      <a:pt x="12" y="272"/>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60" name="Freeform 54"/>
              <p:cNvSpPr>
                <a:spLocks/>
              </p:cNvSpPr>
              <p:nvPr/>
            </p:nvSpPr>
            <p:spPr bwMode="auto">
              <a:xfrm>
                <a:off x="2906713" y="3497263"/>
                <a:ext cx="138113" cy="393700"/>
              </a:xfrm>
              <a:custGeom>
                <a:avLst/>
                <a:gdLst>
                  <a:gd name="T0" fmla="*/ 2147483646 w 173"/>
                  <a:gd name="T1" fmla="*/ 2147483646 h 497"/>
                  <a:gd name="T2" fmla="*/ 2147483646 w 173"/>
                  <a:gd name="T3" fmla="*/ 2147483646 h 497"/>
                  <a:gd name="T4" fmla="*/ 2147483646 w 173"/>
                  <a:gd name="T5" fmla="*/ 2147483646 h 497"/>
                  <a:gd name="T6" fmla="*/ 2147483646 w 173"/>
                  <a:gd name="T7" fmla="*/ 2147483646 h 497"/>
                  <a:gd name="T8" fmla="*/ 2147483646 w 173"/>
                  <a:gd name="T9" fmla="*/ 2147483646 h 497"/>
                  <a:gd name="T10" fmla="*/ 2147483646 w 173"/>
                  <a:gd name="T11" fmla="*/ 2147483646 h 497"/>
                  <a:gd name="T12" fmla="*/ 2147483646 w 173"/>
                  <a:gd name="T13" fmla="*/ 2147483646 h 497"/>
                  <a:gd name="T14" fmla="*/ 2147483646 w 173"/>
                  <a:gd name="T15" fmla="*/ 2147483646 h 497"/>
                  <a:gd name="T16" fmla="*/ 2147483646 w 173"/>
                  <a:gd name="T17" fmla="*/ 2147483646 h 497"/>
                  <a:gd name="T18" fmla="*/ 2147483646 w 173"/>
                  <a:gd name="T19" fmla="*/ 2147483646 h 497"/>
                  <a:gd name="T20" fmla="*/ 2147483646 w 173"/>
                  <a:gd name="T21" fmla="*/ 2147483646 h 497"/>
                  <a:gd name="T22" fmla="*/ 2147483646 w 173"/>
                  <a:gd name="T23" fmla="*/ 2147483646 h 497"/>
                  <a:gd name="T24" fmla="*/ 2147483646 w 173"/>
                  <a:gd name="T25" fmla="*/ 2147483646 h 497"/>
                  <a:gd name="T26" fmla="*/ 2147483646 w 173"/>
                  <a:gd name="T27" fmla="*/ 2147483646 h 497"/>
                  <a:gd name="T28" fmla="*/ 2147483646 w 173"/>
                  <a:gd name="T29" fmla="*/ 2147483646 h 497"/>
                  <a:gd name="T30" fmla="*/ 2147483646 w 173"/>
                  <a:gd name="T31" fmla="*/ 2147483646 h 497"/>
                  <a:gd name="T32" fmla="*/ 2147483646 w 173"/>
                  <a:gd name="T33" fmla="*/ 2147483646 h 497"/>
                  <a:gd name="T34" fmla="*/ 2147483646 w 173"/>
                  <a:gd name="T35" fmla="*/ 2147483646 h 497"/>
                  <a:gd name="T36" fmla="*/ 2147483646 w 173"/>
                  <a:gd name="T37" fmla="*/ 2147483646 h 497"/>
                  <a:gd name="T38" fmla="*/ 2147483646 w 173"/>
                  <a:gd name="T39" fmla="*/ 2147483646 h 497"/>
                  <a:gd name="T40" fmla="*/ 2147483646 w 173"/>
                  <a:gd name="T41" fmla="*/ 0 h 497"/>
                  <a:gd name="T42" fmla="*/ 2147483646 w 173"/>
                  <a:gd name="T43" fmla="*/ 2147483646 h 497"/>
                  <a:gd name="T44" fmla="*/ 2147483646 w 173"/>
                  <a:gd name="T45" fmla="*/ 2147483646 h 497"/>
                  <a:gd name="T46" fmla="*/ 2147483646 w 173"/>
                  <a:gd name="T47" fmla="*/ 2147483646 h 497"/>
                  <a:gd name="T48" fmla="*/ 2147483646 w 173"/>
                  <a:gd name="T49" fmla="*/ 2147483646 h 497"/>
                  <a:gd name="T50" fmla="*/ 2147483646 w 173"/>
                  <a:gd name="T51" fmla="*/ 2147483646 h 497"/>
                  <a:gd name="T52" fmla="*/ 2147483646 w 173"/>
                  <a:gd name="T53" fmla="*/ 2147483646 h 497"/>
                  <a:gd name="T54" fmla="*/ 2147483646 w 173"/>
                  <a:gd name="T55" fmla="*/ 2147483646 h 497"/>
                  <a:gd name="T56" fmla="*/ 2147483646 w 173"/>
                  <a:gd name="T57" fmla="*/ 2147483646 h 497"/>
                  <a:gd name="T58" fmla="*/ 2147483646 w 173"/>
                  <a:gd name="T59" fmla="*/ 2147483646 h 497"/>
                  <a:gd name="T60" fmla="*/ 2147483646 w 173"/>
                  <a:gd name="T61" fmla="*/ 2147483646 h 497"/>
                  <a:gd name="T62" fmla="*/ 2147483646 w 173"/>
                  <a:gd name="T63" fmla="*/ 2147483646 h 497"/>
                  <a:gd name="T64" fmla="*/ 2147483646 w 173"/>
                  <a:gd name="T65" fmla="*/ 2147483646 h 497"/>
                  <a:gd name="T66" fmla="*/ 2147483646 w 173"/>
                  <a:gd name="T67" fmla="*/ 2147483646 h 497"/>
                  <a:gd name="T68" fmla="*/ 2147483646 w 173"/>
                  <a:gd name="T69" fmla="*/ 2147483646 h 497"/>
                  <a:gd name="T70" fmla="*/ 2147483646 w 173"/>
                  <a:gd name="T71" fmla="*/ 2147483646 h 497"/>
                  <a:gd name="T72" fmla="*/ 2147483646 w 173"/>
                  <a:gd name="T73" fmla="*/ 2147483646 h 497"/>
                  <a:gd name="T74" fmla="*/ 2147483646 w 173"/>
                  <a:gd name="T75" fmla="*/ 2147483646 h 497"/>
                  <a:gd name="T76" fmla="*/ 2147483646 w 173"/>
                  <a:gd name="T77" fmla="*/ 2147483646 h 497"/>
                  <a:gd name="T78" fmla="*/ 2147483646 w 173"/>
                  <a:gd name="T79" fmla="*/ 2147483646 h 497"/>
                  <a:gd name="T80" fmla="*/ 2147483646 w 173"/>
                  <a:gd name="T81" fmla="*/ 2147483646 h 497"/>
                  <a:gd name="T82" fmla="*/ 2147483646 w 173"/>
                  <a:gd name="T83" fmla="*/ 2147483646 h 497"/>
                  <a:gd name="T84" fmla="*/ 2147483646 w 173"/>
                  <a:gd name="T85" fmla="*/ 2147483646 h 497"/>
                  <a:gd name="T86" fmla="*/ 2147483646 w 173"/>
                  <a:gd name="T87" fmla="*/ 2147483646 h 497"/>
                  <a:gd name="T88" fmla="*/ 2147483646 w 173"/>
                  <a:gd name="T89" fmla="*/ 2147483646 h 497"/>
                  <a:gd name="T90" fmla="*/ 2147483646 w 173"/>
                  <a:gd name="T91" fmla="*/ 2147483646 h 497"/>
                  <a:gd name="T92" fmla="*/ 2147483646 w 173"/>
                  <a:gd name="T93" fmla="*/ 2147483646 h 497"/>
                  <a:gd name="T94" fmla="*/ 2147483646 w 173"/>
                  <a:gd name="T95" fmla="*/ 2147483646 h 497"/>
                  <a:gd name="T96" fmla="*/ 2147483646 w 173"/>
                  <a:gd name="T97" fmla="*/ 2147483646 h 497"/>
                  <a:gd name="T98" fmla="*/ 2147483646 w 173"/>
                  <a:gd name="T99" fmla="*/ 2147483646 h 497"/>
                  <a:gd name="T100" fmla="*/ 2147483646 w 173"/>
                  <a:gd name="T101" fmla="*/ 2147483646 h 497"/>
                  <a:gd name="T102" fmla="*/ 2147483646 w 173"/>
                  <a:gd name="T103" fmla="*/ 2147483646 h 497"/>
                  <a:gd name="T104" fmla="*/ 2147483646 w 173"/>
                  <a:gd name="T105" fmla="*/ 2147483646 h 497"/>
                  <a:gd name="T106" fmla="*/ 2147483646 w 173"/>
                  <a:gd name="T107" fmla="*/ 2147483646 h 497"/>
                  <a:gd name="T108" fmla="*/ 2147483646 w 173"/>
                  <a:gd name="T109" fmla="*/ 2147483646 h 497"/>
                  <a:gd name="T110" fmla="*/ 2147483646 w 173"/>
                  <a:gd name="T111" fmla="*/ 2147483646 h 497"/>
                  <a:gd name="T112" fmla="*/ 2147483646 w 173"/>
                  <a:gd name="T113" fmla="*/ 2147483646 h 497"/>
                  <a:gd name="T114" fmla="*/ 0 w 173"/>
                  <a:gd name="T115" fmla="*/ 2147483646 h 497"/>
                  <a:gd name="T116" fmla="*/ 2147483646 w 173"/>
                  <a:gd name="T117" fmla="*/ 2147483646 h 49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3"/>
                  <a:gd name="T178" fmla="*/ 0 h 497"/>
                  <a:gd name="T179" fmla="*/ 173 w 173"/>
                  <a:gd name="T180" fmla="*/ 497 h 49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3" h="497">
                    <a:moveTo>
                      <a:pt x="2" y="497"/>
                    </a:moveTo>
                    <a:lnTo>
                      <a:pt x="2" y="495"/>
                    </a:lnTo>
                    <a:lnTo>
                      <a:pt x="4" y="491"/>
                    </a:lnTo>
                    <a:lnTo>
                      <a:pt x="4" y="487"/>
                    </a:lnTo>
                    <a:lnTo>
                      <a:pt x="4" y="483"/>
                    </a:lnTo>
                    <a:lnTo>
                      <a:pt x="4" y="480"/>
                    </a:lnTo>
                    <a:lnTo>
                      <a:pt x="5" y="476"/>
                    </a:lnTo>
                    <a:lnTo>
                      <a:pt x="5" y="470"/>
                    </a:lnTo>
                    <a:lnTo>
                      <a:pt x="7" y="464"/>
                    </a:lnTo>
                    <a:lnTo>
                      <a:pt x="7" y="459"/>
                    </a:lnTo>
                    <a:lnTo>
                      <a:pt x="9" y="451"/>
                    </a:lnTo>
                    <a:lnTo>
                      <a:pt x="11" y="443"/>
                    </a:lnTo>
                    <a:lnTo>
                      <a:pt x="13" y="438"/>
                    </a:lnTo>
                    <a:lnTo>
                      <a:pt x="13" y="434"/>
                    </a:lnTo>
                    <a:lnTo>
                      <a:pt x="15" y="430"/>
                    </a:lnTo>
                    <a:lnTo>
                      <a:pt x="15" y="426"/>
                    </a:lnTo>
                    <a:lnTo>
                      <a:pt x="19" y="422"/>
                    </a:lnTo>
                    <a:lnTo>
                      <a:pt x="19" y="417"/>
                    </a:lnTo>
                    <a:lnTo>
                      <a:pt x="21" y="413"/>
                    </a:lnTo>
                    <a:lnTo>
                      <a:pt x="21" y="409"/>
                    </a:lnTo>
                    <a:lnTo>
                      <a:pt x="23" y="405"/>
                    </a:lnTo>
                    <a:lnTo>
                      <a:pt x="23" y="400"/>
                    </a:lnTo>
                    <a:lnTo>
                      <a:pt x="24" y="396"/>
                    </a:lnTo>
                    <a:lnTo>
                      <a:pt x="24" y="392"/>
                    </a:lnTo>
                    <a:lnTo>
                      <a:pt x="28" y="386"/>
                    </a:lnTo>
                    <a:lnTo>
                      <a:pt x="28" y="383"/>
                    </a:lnTo>
                    <a:lnTo>
                      <a:pt x="30" y="377"/>
                    </a:lnTo>
                    <a:lnTo>
                      <a:pt x="32" y="373"/>
                    </a:lnTo>
                    <a:lnTo>
                      <a:pt x="34" y="369"/>
                    </a:lnTo>
                    <a:lnTo>
                      <a:pt x="36" y="364"/>
                    </a:lnTo>
                    <a:lnTo>
                      <a:pt x="38" y="360"/>
                    </a:lnTo>
                    <a:lnTo>
                      <a:pt x="40" y="354"/>
                    </a:lnTo>
                    <a:lnTo>
                      <a:pt x="42" y="350"/>
                    </a:lnTo>
                    <a:lnTo>
                      <a:pt x="43" y="345"/>
                    </a:lnTo>
                    <a:lnTo>
                      <a:pt x="45" y="339"/>
                    </a:lnTo>
                    <a:lnTo>
                      <a:pt x="47" y="335"/>
                    </a:lnTo>
                    <a:lnTo>
                      <a:pt x="49" y="329"/>
                    </a:lnTo>
                    <a:lnTo>
                      <a:pt x="51" y="324"/>
                    </a:lnTo>
                    <a:lnTo>
                      <a:pt x="53" y="320"/>
                    </a:lnTo>
                    <a:lnTo>
                      <a:pt x="57" y="314"/>
                    </a:lnTo>
                    <a:lnTo>
                      <a:pt x="59" y="310"/>
                    </a:lnTo>
                    <a:lnTo>
                      <a:pt x="61" y="305"/>
                    </a:lnTo>
                    <a:lnTo>
                      <a:pt x="62" y="301"/>
                    </a:lnTo>
                    <a:lnTo>
                      <a:pt x="66" y="295"/>
                    </a:lnTo>
                    <a:lnTo>
                      <a:pt x="68" y="291"/>
                    </a:lnTo>
                    <a:lnTo>
                      <a:pt x="70" y="288"/>
                    </a:lnTo>
                    <a:lnTo>
                      <a:pt x="74" y="282"/>
                    </a:lnTo>
                    <a:lnTo>
                      <a:pt x="78" y="278"/>
                    </a:lnTo>
                    <a:lnTo>
                      <a:pt x="80" y="272"/>
                    </a:lnTo>
                    <a:lnTo>
                      <a:pt x="81" y="269"/>
                    </a:lnTo>
                    <a:lnTo>
                      <a:pt x="85" y="263"/>
                    </a:lnTo>
                    <a:lnTo>
                      <a:pt x="87" y="259"/>
                    </a:lnTo>
                    <a:lnTo>
                      <a:pt x="91" y="255"/>
                    </a:lnTo>
                    <a:lnTo>
                      <a:pt x="93" y="251"/>
                    </a:lnTo>
                    <a:lnTo>
                      <a:pt x="97" y="246"/>
                    </a:lnTo>
                    <a:lnTo>
                      <a:pt x="99" y="242"/>
                    </a:lnTo>
                    <a:lnTo>
                      <a:pt x="102" y="238"/>
                    </a:lnTo>
                    <a:lnTo>
                      <a:pt x="104" y="234"/>
                    </a:lnTo>
                    <a:lnTo>
                      <a:pt x="106" y="230"/>
                    </a:lnTo>
                    <a:lnTo>
                      <a:pt x="110" y="227"/>
                    </a:lnTo>
                    <a:lnTo>
                      <a:pt x="112" y="221"/>
                    </a:lnTo>
                    <a:lnTo>
                      <a:pt x="118" y="213"/>
                    </a:lnTo>
                    <a:lnTo>
                      <a:pt x="123" y="208"/>
                    </a:lnTo>
                    <a:lnTo>
                      <a:pt x="127" y="200"/>
                    </a:lnTo>
                    <a:lnTo>
                      <a:pt x="133" y="192"/>
                    </a:lnTo>
                    <a:lnTo>
                      <a:pt x="137" y="187"/>
                    </a:lnTo>
                    <a:lnTo>
                      <a:pt x="140" y="179"/>
                    </a:lnTo>
                    <a:lnTo>
                      <a:pt x="146" y="173"/>
                    </a:lnTo>
                    <a:lnTo>
                      <a:pt x="150" y="166"/>
                    </a:lnTo>
                    <a:lnTo>
                      <a:pt x="154" y="160"/>
                    </a:lnTo>
                    <a:lnTo>
                      <a:pt x="157" y="154"/>
                    </a:lnTo>
                    <a:lnTo>
                      <a:pt x="159" y="147"/>
                    </a:lnTo>
                    <a:lnTo>
                      <a:pt x="163" y="141"/>
                    </a:lnTo>
                    <a:lnTo>
                      <a:pt x="165" y="135"/>
                    </a:lnTo>
                    <a:lnTo>
                      <a:pt x="167" y="130"/>
                    </a:lnTo>
                    <a:lnTo>
                      <a:pt x="167" y="122"/>
                    </a:lnTo>
                    <a:lnTo>
                      <a:pt x="171" y="116"/>
                    </a:lnTo>
                    <a:lnTo>
                      <a:pt x="171" y="111"/>
                    </a:lnTo>
                    <a:lnTo>
                      <a:pt x="173" y="105"/>
                    </a:lnTo>
                    <a:lnTo>
                      <a:pt x="173" y="97"/>
                    </a:lnTo>
                    <a:lnTo>
                      <a:pt x="173" y="92"/>
                    </a:lnTo>
                    <a:lnTo>
                      <a:pt x="173" y="84"/>
                    </a:lnTo>
                    <a:lnTo>
                      <a:pt x="171" y="78"/>
                    </a:lnTo>
                    <a:lnTo>
                      <a:pt x="169" y="71"/>
                    </a:lnTo>
                    <a:lnTo>
                      <a:pt x="167" y="65"/>
                    </a:lnTo>
                    <a:lnTo>
                      <a:pt x="165" y="57"/>
                    </a:lnTo>
                    <a:lnTo>
                      <a:pt x="163" y="52"/>
                    </a:lnTo>
                    <a:lnTo>
                      <a:pt x="161" y="46"/>
                    </a:lnTo>
                    <a:lnTo>
                      <a:pt x="157" y="40"/>
                    </a:lnTo>
                    <a:lnTo>
                      <a:pt x="156" y="37"/>
                    </a:lnTo>
                    <a:lnTo>
                      <a:pt x="154" y="31"/>
                    </a:lnTo>
                    <a:lnTo>
                      <a:pt x="150" y="27"/>
                    </a:lnTo>
                    <a:lnTo>
                      <a:pt x="146" y="23"/>
                    </a:lnTo>
                    <a:lnTo>
                      <a:pt x="142" y="19"/>
                    </a:lnTo>
                    <a:lnTo>
                      <a:pt x="140" y="18"/>
                    </a:lnTo>
                    <a:lnTo>
                      <a:pt x="135" y="14"/>
                    </a:lnTo>
                    <a:lnTo>
                      <a:pt x="131" y="12"/>
                    </a:lnTo>
                    <a:lnTo>
                      <a:pt x="127" y="10"/>
                    </a:lnTo>
                    <a:lnTo>
                      <a:pt x="123" y="6"/>
                    </a:lnTo>
                    <a:lnTo>
                      <a:pt x="118" y="4"/>
                    </a:lnTo>
                    <a:lnTo>
                      <a:pt x="114" y="4"/>
                    </a:lnTo>
                    <a:lnTo>
                      <a:pt x="110" y="2"/>
                    </a:lnTo>
                    <a:lnTo>
                      <a:pt x="106" y="2"/>
                    </a:lnTo>
                    <a:lnTo>
                      <a:pt x="100" y="0"/>
                    </a:lnTo>
                    <a:lnTo>
                      <a:pt x="97" y="0"/>
                    </a:lnTo>
                    <a:lnTo>
                      <a:pt x="91" y="0"/>
                    </a:lnTo>
                    <a:lnTo>
                      <a:pt x="87" y="2"/>
                    </a:lnTo>
                    <a:lnTo>
                      <a:pt x="83" y="2"/>
                    </a:lnTo>
                    <a:lnTo>
                      <a:pt x="78" y="2"/>
                    </a:lnTo>
                    <a:lnTo>
                      <a:pt x="74" y="4"/>
                    </a:lnTo>
                    <a:lnTo>
                      <a:pt x="70" y="6"/>
                    </a:lnTo>
                    <a:lnTo>
                      <a:pt x="64" y="8"/>
                    </a:lnTo>
                    <a:lnTo>
                      <a:pt x="61" y="10"/>
                    </a:lnTo>
                    <a:lnTo>
                      <a:pt x="57" y="14"/>
                    </a:lnTo>
                    <a:lnTo>
                      <a:pt x="53" y="16"/>
                    </a:lnTo>
                    <a:lnTo>
                      <a:pt x="49" y="19"/>
                    </a:lnTo>
                    <a:lnTo>
                      <a:pt x="45" y="23"/>
                    </a:lnTo>
                    <a:lnTo>
                      <a:pt x="42" y="29"/>
                    </a:lnTo>
                    <a:lnTo>
                      <a:pt x="40" y="35"/>
                    </a:lnTo>
                    <a:lnTo>
                      <a:pt x="36" y="37"/>
                    </a:lnTo>
                    <a:lnTo>
                      <a:pt x="34" y="40"/>
                    </a:lnTo>
                    <a:lnTo>
                      <a:pt x="32" y="46"/>
                    </a:lnTo>
                    <a:lnTo>
                      <a:pt x="30" y="50"/>
                    </a:lnTo>
                    <a:lnTo>
                      <a:pt x="28" y="54"/>
                    </a:lnTo>
                    <a:lnTo>
                      <a:pt x="26" y="57"/>
                    </a:lnTo>
                    <a:lnTo>
                      <a:pt x="24" y="61"/>
                    </a:lnTo>
                    <a:lnTo>
                      <a:pt x="24" y="67"/>
                    </a:lnTo>
                    <a:lnTo>
                      <a:pt x="23" y="71"/>
                    </a:lnTo>
                    <a:lnTo>
                      <a:pt x="23" y="75"/>
                    </a:lnTo>
                    <a:lnTo>
                      <a:pt x="23" y="78"/>
                    </a:lnTo>
                    <a:lnTo>
                      <a:pt x="23" y="84"/>
                    </a:lnTo>
                    <a:lnTo>
                      <a:pt x="21" y="88"/>
                    </a:lnTo>
                    <a:lnTo>
                      <a:pt x="21" y="92"/>
                    </a:lnTo>
                    <a:lnTo>
                      <a:pt x="23" y="96"/>
                    </a:lnTo>
                    <a:lnTo>
                      <a:pt x="23" y="101"/>
                    </a:lnTo>
                    <a:lnTo>
                      <a:pt x="23" y="107"/>
                    </a:lnTo>
                    <a:lnTo>
                      <a:pt x="24" y="115"/>
                    </a:lnTo>
                    <a:lnTo>
                      <a:pt x="26" y="122"/>
                    </a:lnTo>
                    <a:lnTo>
                      <a:pt x="30" y="128"/>
                    </a:lnTo>
                    <a:lnTo>
                      <a:pt x="32" y="134"/>
                    </a:lnTo>
                    <a:lnTo>
                      <a:pt x="36" y="139"/>
                    </a:lnTo>
                    <a:lnTo>
                      <a:pt x="40" y="143"/>
                    </a:lnTo>
                    <a:lnTo>
                      <a:pt x="45" y="149"/>
                    </a:lnTo>
                    <a:lnTo>
                      <a:pt x="49" y="151"/>
                    </a:lnTo>
                    <a:lnTo>
                      <a:pt x="53" y="153"/>
                    </a:lnTo>
                    <a:lnTo>
                      <a:pt x="57" y="154"/>
                    </a:lnTo>
                    <a:lnTo>
                      <a:pt x="61" y="156"/>
                    </a:lnTo>
                    <a:lnTo>
                      <a:pt x="68" y="156"/>
                    </a:lnTo>
                    <a:lnTo>
                      <a:pt x="76" y="156"/>
                    </a:lnTo>
                    <a:lnTo>
                      <a:pt x="81" y="154"/>
                    </a:lnTo>
                    <a:lnTo>
                      <a:pt x="87" y="151"/>
                    </a:lnTo>
                    <a:lnTo>
                      <a:pt x="91" y="147"/>
                    </a:lnTo>
                    <a:lnTo>
                      <a:pt x="97" y="143"/>
                    </a:lnTo>
                    <a:lnTo>
                      <a:pt x="100" y="137"/>
                    </a:lnTo>
                    <a:lnTo>
                      <a:pt x="104" y="132"/>
                    </a:lnTo>
                    <a:lnTo>
                      <a:pt x="106" y="126"/>
                    </a:lnTo>
                    <a:lnTo>
                      <a:pt x="108" y="122"/>
                    </a:lnTo>
                    <a:lnTo>
                      <a:pt x="110" y="118"/>
                    </a:lnTo>
                    <a:lnTo>
                      <a:pt x="112" y="116"/>
                    </a:lnTo>
                    <a:lnTo>
                      <a:pt x="112" y="113"/>
                    </a:lnTo>
                    <a:lnTo>
                      <a:pt x="114" y="113"/>
                    </a:lnTo>
                    <a:lnTo>
                      <a:pt x="100" y="105"/>
                    </a:lnTo>
                    <a:lnTo>
                      <a:pt x="99" y="105"/>
                    </a:lnTo>
                    <a:lnTo>
                      <a:pt x="97" y="109"/>
                    </a:lnTo>
                    <a:lnTo>
                      <a:pt x="93" y="113"/>
                    </a:lnTo>
                    <a:lnTo>
                      <a:pt x="89" y="116"/>
                    </a:lnTo>
                    <a:lnTo>
                      <a:pt x="83" y="120"/>
                    </a:lnTo>
                    <a:lnTo>
                      <a:pt x="78" y="122"/>
                    </a:lnTo>
                    <a:lnTo>
                      <a:pt x="72" y="122"/>
                    </a:lnTo>
                    <a:lnTo>
                      <a:pt x="66" y="122"/>
                    </a:lnTo>
                    <a:lnTo>
                      <a:pt x="64" y="118"/>
                    </a:lnTo>
                    <a:lnTo>
                      <a:pt x="62" y="116"/>
                    </a:lnTo>
                    <a:lnTo>
                      <a:pt x="61" y="111"/>
                    </a:lnTo>
                    <a:lnTo>
                      <a:pt x="61" y="107"/>
                    </a:lnTo>
                    <a:lnTo>
                      <a:pt x="59" y="101"/>
                    </a:lnTo>
                    <a:lnTo>
                      <a:pt x="59" y="97"/>
                    </a:lnTo>
                    <a:lnTo>
                      <a:pt x="59" y="90"/>
                    </a:lnTo>
                    <a:lnTo>
                      <a:pt x="61" y="86"/>
                    </a:lnTo>
                    <a:lnTo>
                      <a:pt x="61" y="78"/>
                    </a:lnTo>
                    <a:lnTo>
                      <a:pt x="62" y="73"/>
                    </a:lnTo>
                    <a:lnTo>
                      <a:pt x="64" y="67"/>
                    </a:lnTo>
                    <a:lnTo>
                      <a:pt x="68" y="61"/>
                    </a:lnTo>
                    <a:lnTo>
                      <a:pt x="72" y="56"/>
                    </a:lnTo>
                    <a:lnTo>
                      <a:pt x="78" y="52"/>
                    </a:lnTo>
                    <a:lnTo>
                      <a:pt x="81" y="48"/>
                    </a:lnTo>
                    <a:lnTo>
                      <a:pt x="89" y="44"/>
                    </a:lnTo>
                    <a:lnTo>
                      <a:pt x="93" y="42"/>
                    </a:lnTo>
                    <a:lnTo>
                      <a:pt x="97" y="40"/>
                    </a:lnTo>
                    <a:lnTo>
                      <a:pt x="100" y="38"/>
                    </a:lnTo>
                    <a:lnTo>
                      <a:pt x="106" y="38"/>
                    </a:lnTo>
                    <a:lnTo>
                      <a:pt x="108" y="38"/>
                    </a:lnTo>
                    <a:lnTo>
                      <a:pt x="114" y="38"/>
                    </a:lnTo>
                    <a:lnTo>
                      <a:pt x="116" y="38"/>
                    </a:lnTo>
                    <a:lnTo>
                      <a:pt x="121" y="40"/>
                    </a:lnTo>
                    <a:lnTo>
                      <a:pt x="125" y="44"/>
                    </a:lnTo>
                    <a:lnTo>
                      <a:pt x="133" y="48"/>
                    </a:lnTo>
                    <a:lnTo>
                      <a:pt x="135" y="52"/>
                    </a:lnTo>
                    <a:lnTo>
                      <a:pt x="137" y="56"/>
                    </a:lnTo>
                    <a:lnTo>
                      <a:pt x="138" y="59"/>
                    </a:lnTo>
                    <a:lnTo>
                      <a:pt x="140" y="63"/>
                    </a:lnTo>
                    <a:lnTo>
                      <a:pt x="142" y="65"/>
                    </a:lnTo>
                    <a:lnTo>
                      <a:pt x="144" y="71"/>
                    </a:lnTo>
                    <a:lnTo>
                      <a:pt x="144" y="75"/>
                    </a:lnTo>
                    <a:lnTo>
                      <a:pt x="146" y="78"/>
                    </a:lnTo>
                    <a:lnTo>
                      <a:pt x="146" y="82"/>
                    </a:lnTo>
                    <a:lnTo>
                      <a:pt x="146" y="88"/>
                    </a:lnTo>
                    <a:lnTo>
                      <a:pt x="146" y="94"/>
                    </a:lnTo>
                    <a:lnTo>
                      <a:pt x="148" y="97"/>
                    </a:lnTo>
                    <a:lnTo>
                      <a:pt x="146" y="103"/>
                    </a:lnTo>
                    <a:lnTo>
                      <a:pt x="146" y="109"/>
                    </a:lnTo>
                    <a:lnTo>
                      <a:pt x="144" y="113"/>
                    </a:lnTo>
                    <a:lnTo>
                      <a:pt x="142" y="118"/>
                    </a:lnTo>
                    <a:lnTo>
                      <a:pt x="140" y="122"/>
                    </a:lnTo>
                    <a:lnTo>
                      <a:pt x="140" y="130"/>
                    </a:lnTo>
                    <a:lnTo>
                      <a:pt x="138" y="134"/>
                    </a:lnTo>
                    <a:lnTo>
                      <a:pt x="135" y="139"/>
                    </a:lnTo>
                    <a:lnTo>
                      <a:pt x="133" y="145"/>
                    </a:lnTo>
                    <a:lnTo>
                      <a:pt x="129" y="149"/>
                    </a:lnTo>
                    <a:lnTo>
                      <a:pt x="125" y="154"/>
                    </a:lnTo>
                    <a:lnTo>
                      <a:pt x="123" y="158"/>
                    </a:lnTo>
                    <a:lnTo>
                      <a:pt x="119" y="162"/>
                    </a:lnTo>
                    <a:lnTo>
                      <a:pt x="116" y="166"/>
                    </a:lnTo>
                    <a:lnTo>
                      <a:pt x="112" y="170"/>
                    </a:lnTo>
                    <a:lnTo>
                      <a:pt x="110" y="173"/>
                    </a:lnTo>
                    <a:lnTo>
                      <a:pt x="106" y="177"/>
                    </a:lnTo>
                    <a:lnTo>
                      <a:pt x="102" y="181"/>
                    </a:lnTo>
                    <a:lnTo>
                      <a:pt x="99" y="185"/>
                    </a:lnTo>
                    <a:lnTo>
                      <a:pt x="97" y="189"/>
                    </a:lnTo>
                    <a:lnTo>
                      <a:pt x="91" y="192"/>
                    </a:lnTo>
                    <a:lnTo>
                      <a:pt x="89" y="196"/>
                    </a:lnTo>
                    <a:lnTo>
                      <a:pt x="85" y="200"/>
                    </a:lnTo>
                    <a:lnTo>
                      <a:pt x="81" y="204"/>
                    </a:lnTo>
                    <a:lnTo>
                      <a:pt x="78" y="208"/>
                    </a:lnTo>
                    <a:lnTo>
                      <a:pt x="74" y="211"/>
                    </a:lnTo>
                    <a:lnTo>
                      <a:pt x="70" y="215"/>
                    </a:lnTo>
                    <a:lnTo>
                      <a:pt x="66" y="221"/>
                    </a:lnTo>
                    <a:lnTo>
                      <a:pt x="62" y="225"/>
                    </a:lnTo>
                    <a:lnTo>
                      <a:pt x="61" y="229"/>
                    </a:lnTo>
                    <a:lnTo>
                      <a:pt x="57" y="234"/>
                    </a:lnTo>
                    <a:lnTo>
                      <a:pt x="53" y="240"/>
                    </a:lnTo>
                    <a:lnTo>
                      <a:pt x="49" y="246"/>
                    </a:lnTo>
                    <a:lnTo>
                      <a:pt x="45" y="251"/>
                    </a:lnTo>
                    <a:lnTo>
                      <a:pt x="42" y="257"/>
                    </a:lnTo>
                    <a:lnTo>
                      <a:pt x="40" y="263"/>
                    </a:lnTo>
                    <a:lnTo>
                      <a:pt x="38" y="267"/>
                    </a:lnTo>
                    <a:lnTo>
                      <a:pt x="36" y="270"/>
                    </a:lnTo>
                    <a:lnTo>
                      <a:pt x="34" y="272"/>
                    </a:lnTo>
                    <a:lnTo>
                      <a:pt x="32" y="278"/>
                    </a:lnTo>
                    <a:lnTo>
                      <a:pt x="30" y="280"/>
                    </a:lnTo>
                    <a:lnTo>
                      <a:pt x="30" y="286"/>
                    </a:lnTo>
                    <a:lnTo>
                      <a:pt x="28" y="289"/>
                    </a:lnTo>
                    <a:lnTo>
                      <a:pt x="26" y="293"/>
                    </a:lnTo>
                    <a:lnTo>
                      <a:pt x="24" y="297"/>
                    </a:lnTo>
                    <a:lnTo>
                      <a:pt x="23" y="301"/>
                    </a:lnTo>
                    <a:lnTo>
                      <a:pt x="21" y="305"/>
                    </a:lnTo>
                    <a:lnTo>
                      <a:pt x="21" y="310"/>
                    </a:lnTo>
                    <a:lnTo>
                      <a:pt x="19" y="314"/>
                    </a:lnTo>
                    <a:lnTo>
                      <a:pt x="17" y="318"/>
                    </a:lnTo>
                    <a:lnTo>
                      <a:pt x="15" y="322"/>
                    </a:lnTo>
                    <a:lnTo>
                      <a:pt x="15" y="327"/>
                    </a:lnTo>
                    <a:lnTo>
                      <a:pt x="13" y="331"/>
                    </a:lnTo>
                    <a:lnTo>
                      <a:pt x="13" y="335"/>
                    </a:lnTo>
                    <a:lnTo>
                      <a:pt x="11" y="339"/>
                    </a:lnTo>
                    <a:lnTo>
                      <a:pt x="11" y="345"/>
                    </a:lnTo>
                    <a:lnTo>
                      <a:pt x="9" y="348"/>
                    </a:lnTo>
                    <a:lnTo>
                      <a:pt x="9" y="352"/>
                    </a:lnTo>
                    <a:lnTo>
                      <a:pt x="7" y="356"/>
                    </a:lnTo>
                    <a:lnTo>
                      <a:pt x="7" y="362"/>
                    </a:lnTo>
                    <a:lnTo>
                      <a:pt x="7" y="365"/>
                    </a:lnTo>
                    <a:lnTo>
                      <a:pt x="5" y="369"/>
                    </a:lnTo>
                    <a:lnTo>
                      <a:pt x="5" y="373"/>
                    </a:lnTo>
                    <a:lnTo>
                      <a:pt x="5" y="379"/>
                    </a:lnTo>
                    <a:lnTo>
                      <a:pt x="4" y="383"/>
                    </a:lnTo>
                    <a:lnTo>
                      <a:pt x="4" y="386"/>
                    </a:lnTo>
                    <a:lnTo>
                      <a:pt x="4" y="390"/>
                    </a:lnTo>
                    <a:lnTo>
                      <a:pt x="4" y="396"/>
                    </a:lnTo>
                    <a:lnTo>
                      <a:pt x="4" y="400"/>
                    </a:lnTo>
                    <a:lnTo>
                      <a:pt x="2" y="403"/>
                    </a:lnTo>
                    <a:lnTo>
                      <a:pt x="2" y="407"/>
                    </a:lnTo>
                    <a:lnTo>
                      <a:pt x="2" y="411"/>
                    </a:lnTo>
                    <a:lnTo>
                      <a:pt x="2" y="415"/>
                    </a:lnTo>
                    <a:lnTo>
                      <a:pt x="2" y="419"/>
                    </a:lnTo>
                    <a:lnTo>
                      <a:pt x="2" y="422"/>
                    </a:lnTo>
                    <a:lnTo>
                      <a:pt x="2" y="428"/>
                    </a:lnTo>
                    <a:lnTo>
                      <a:pt x="2" y="434"/>
                    </a:lnTo>
                    <a:lnTo>
                      <a:pt x="0" y="441"/>
                    </a:lnTo>
                    <a:lnTo>
                      <a:pt x="0" y="447"/>
                    </a:lnTo>
                    <a:lnTo>
                      <a:pt x="0" y="455"/>
                    </a:lnTo>
                    <a:lnTo>
                      <a:pt x="0" y="461"/>
                    </a:lnTo>
                    <a:lnTo>
                      <a:pt x="0" y="466"/>
                    </a:lnTo>
                    <a:lnTo>
                      <a:pt x="0" y="472"/>
                    </a:lnTo>
                    <a:lnTo>
                      <a:pt x="2" y="478"/>
                    </a:lnTo>
                    <a:lnTo>
                      <a:pt x="2" y="481"/>
                    </a:lnTo>
                    <a:lnTo>
                      <a:pt x="2" y="485"/>
                    </a:lnTo>
                    <a:lnTo>
                      <a:pt x="2" y="487"/>
                    </a:lnTo>
                    <a:lnTo>
                      <a:pt x="2" y="491"/>
                    </a:lnTo>
                    <a:lnTo>
                      <a:pt x="2" y="495"/>
                    </a:lnTo>
                    <a:lnTo>
                      <a:pt x="2" y="497"/>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61" name="Freeform 55"/>
              <p:cNvSpPr>
                <a:spLocks/>
              </p:cNvSpPr>
              <p:nvPr/>
            </p:nvSpPr>
            <p:spPr bwMode="auto">
              <a:xfrm>
                <a:off x="2552701" y="3960813"/>
                <a:ext cx="263525" cy="119063"/>
              </a:xfrm>
              <a:custGeom>
                <a:avLst/>
                <a:gdLst>
                  <a:gd name="T0" fmla="*/ 2147483646 w 333"/>
                  <a:gd name="T1" fmla="*/ 2147483646 h 150"/>
                  <a:gd name="T2" fmla="*/ 2147483646 w 333"/>
                  <a:gd name="T3" fmla="*/ 2147483646 h 150"/>
                  <a:gd name="T4" fmla="*/ 2147483646 w 333"/>
                  <a:gd name="T5" fmla="*/ 2147483646 h 150"/>
                  <a:gd name="T6" fmla="*/ 2147483646 w 333"/>
                  <a:gd name="T7" fmla="*/ 2147483646 h 150"/>
                  <a:gd name="T8" fmla="*/ 2147483646 w 333"/>
                  <a:gd name="T9" fmla="*/ 2147483646 h 150"/>
                  <a:gd name="T10" fmla="*/ 2147483646 w 333"/>
                  <a:gd name="T11" fmla="*/ 2147483646 h 150"/>
                  <a:gd name="T12" fmla="*/ 2147483646 w 333"/>
                  <a:gd name="T13" fmla="*/ 2147483646 h 150"/>
                  <a:gd name="T14" fmla="*/ 2147483646 w 333"/>
                  <a:gd name="T15" fmla="*/ 2147483646 h 150"/>
                  <a:gd name="T16" fmla="*/ 2147483646 w 333"/>
                  <a:gd name="T17" fmla="*/ 2147483646 h 150"/>
                  <a:gd name="T18" fmla="*/ 2147483646 w 333"/>
                  <a:gd name="T19" fmla="*/ 2147483646 h 150"/>
                  <a:gd name="T20" fmla="*/ 2147483646 w 333"/>
                  <a:gd name="T21" fmla="*/ 2147483646 h 150"/>
                  <a:gd name="T22" fmla="*/ 2147483646 w 333"/>
                  <a:gd name="T23" fmla="*/ 2147483646 h 150"/>
                  <a:gd name="T24" fmla="*/ 2147483646 w 333"/>
                  <a:gd name="T25" fmla="*/ 2147483646 h 150"/>
                  <a:gd name="T26" fmla="*/ 2147483646 w 333"/>
                  <a:gd name="T27" fmla="*/ 2147483646 h 150"/>
                  <a:gd name="T28" fmla="*/ 2147483646 w 333"/>
                  <a:gd name="T29" fmla="*/ 2147483646 h 150"/>
                  <a:gd name="T30" fmla="*/ 2147483646 w 333"/>
                  <a:gd name="T31" fmla="*/ 2147483646 h 150"/>
                  <a:gd name="T32" fmla="*/ 2147483646 w 333"/>
                  <a:gd name="T33" fmla="*/ 2147483646 h 150"/>
                  <a:gd name="T34" fmla="*/ 2147483646 w 333"/>
                  <a:gd name="T35" fmla="*/ 2147483646 h 150"/>
                  <a:gd name="T36" fmla="*/ 2147483646 w 333"/>
                  <a:gd name="T37" fmla="*/ 0 h 150"/>
                  <a:gd name="T38" fmla="*/ 2147483646 w 333"/>
                  <a:gd name="T39" fmla="*/ 2147483646 h 150"/>
                  <a:gd name="T40" fmla="*/ 2147483646 w 333"/>
                  <a:gd name="T41" fmla="*/ 2147483646 h 150"/>
                  <a:gd name="T42" fmla="*/ 2147483646 w 333"/>
                  <a:gd name="T43" fmla="*/ 2147483646 h 150"/>
                  <a:gd name="T44" fmla="*/ 2147483646 w 333"/>
                  <a:gd name="T45" fmla="*/ 2147483646 h 150"/>
                  <a:gd name="T46" fmla="*/ 2147483646 w 333"/>
                  <a:gd name="T47" fmla="*/ 2147483646 h 150"/>
                  <a:gd name="T48" fmla="*/ 0 w 333"/>
                  <a:gd name="T49" fmla="*/ 2147483646 h 150"/>
                  <a:gd name="T50" fmla="*/ 2147483646 w 333"/>
                  <a:gd name="T51" fmla="*/ 2147483646 h 150"/>
                  <a:gd name="T52" fmla="*/ 2147483646 w 333"/>
                  <a:gd name="T53" fmla="*/ 2147483646 h 150"/>
                  <a:gd name="T54" fmla="*/ 2147483646 w 333"/>
                  <a:gd name="T55" fmla="*/ 2147483646 h 150"/>
                  <a:gd name="T56" fmla="*/ 2147483646 w 333"/>
                  <a:gd name="T57" fmla="*/ 2147483646 h 150"/>
                  <a:gd name="T58" fmla="*/ 2147483646 w 333"/>
                  <a:gd name="T59" fmla="*/ 2147483646 h 150"/>
                  <a:gd name="T60" fmla="*/ 2147483646 w 333"/>
                  <a:gd name="T61" fmla="*/ 2147483646 h 150"/>
                  <a:gd name="T62" fmla="*/ 2147483646 w 333"/>
                  <a:gd name="T63" fmla="*/ 2147483646 h 150"/>
                  <a:gd name="T64" fmla="*/ 2147483646 w 333"/>
                  <a:gd name="T65" fmla="*/ 2147483646 h 150"/>
                  <a:gd name="T66" fmla="*/ 2147483646 w 333"/>
                  <a:gd name="T67" fmla="*/ 2147483646 h 150"/>
                  <a:gd name="T68" fmla="*/ 2147483646 w 333"/>
                  <a:gd name="T69" fmla="*/ 2147483646 h 150"/>
                  <a:gd name="T70" fmla="*/ 2147483646 w 333"/>
                  <a:gd name="T71" fmla="*/ 2147483646 h 150"/>
                  <a:gd name="T72" fmla="*/ 2147483646 w 333"/>
                  <a:gd name="T73" fmla="*/ 2147483646 h 150"/>
                  <a:gd name="T74" fmla="*/ 2147483646 w 333"/>
                  <a:gd name="T75" fmla="*/ 2147483646 h 150"/>
                  <a:gd name="T76" fmla="*/ 2147483646 w 333"/>
                  <a:gd name="T77" fmla="*/ 2147483646 h 150"/>
                  <a:gd name="T78" fmla="*/ 2147483646 w 333"/>
                  <a:gd name="T79" fmla="*/ 2147483646 h 150"/>
                  <a:gd name="T80" fmla="*/ 2147483646 w 333"/>
                  <a:gd name="T81" fmla="*/ 2147483646 h 150"/>
                  <a:gd name="T82" fmla="*/ 2147483646 w 333"/>
                  <a:gd name="T83" fmla="*/ 2147483646 h 150"/>
                  <a:gd name="T84" fmla="*/ 2147483646 w 333"/>
                  <a:gd name="T85" fmla="*/ 2147483646 h 150"/>
                  <a:gd name="T86" fmla="*/ 2147483646 w 333"/>
                  <a:gd name="T87" fmla="*/ 2147483646 h 150"/>
                  <a:gd name="T88" fmla="*/ 2147483646 w 333"/>
                  <a:gd name="T89" fmla="*/ 2147483646 h 150"/>
                  <a:gd name="T90" fmla="*/ 2147483646 w 333"/>
                  <a:gd name="T91" fmla="*/ 2147483646 h 150"/>
                  <a:gd name="T92" fmla="*/ 2147483646 w 333"/>
                  <a:gd name="T93" fmla="*/ 2147483646 h 150"/>
                  <a:gd name="T94" fmla="*/ 2147483646 w 333"/>
                  <a:gd name="T95" fmla="*/ 2147483646 h 150"/>
                  <a:gd name="T96" fmla="*/ 2147483646 w 333"/>
                  <a:gd name="T97" fmla="*/ 2147483646 h 150"/>
                  <a:gd name="T98" fmla="*/ 2147483646 w 333"/>
                  <a:gd name="T99" fmla="*/ 2147483646 h 150"/>
                  <a:gd name="T100" fmla="*/ 2147483646 w 333"/>
                  <a:gd name="T101" fmla="*/ 2147483646 h 150"/>
                  <a:gd name="T102" fmla="*/ 2147483646 w 333"/>
                  <a:gd name="T103" fmla="*/ 2147483646 h 150"/>
                  <a:gd name="T104" fmla="*/ 2147483646 w 333"/>
                  <a:gd name="T105" fmla="*/ 2147483646 h 150"/>
                  <a:gd name="T106" fmla="*/ 2147483646 w 333"/>
                  <a:gd name="T107" fmla="*/ 2147483646 h 150"/>
                  <a:gd name="T108" fmla="*/ 2147483646 w 333"/>
                  <a:gd name="T109" fmla="*/ 2147483646 h 150"/>
                  <a:gd name="T110" fmla="*/ 2147483646 w 333"/>
                  <a:gd name="T111" fmla="*/ 2147483646 h 150"/>
                  <a:gd name="T112" fmla="*/ 2147483646 w 333"/>
                  <a:gd name="T113" fmla="*/ 2147483646 h 150"/>
                  <a:gd name="T114" fmla="*/ 2147483646 w 333"/>
                  <a:gd name="T115" fmla="*/ 2147483646 h 1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33"/>
                  <a:gd name="T175" fmla="*/ 0 h 150"/>
                  <a:gd name="T176" fmla="*/ 333 w 333"/>
                  <a:gd name="T177" fmla="*/ 150 h 1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33" h="150">
                    <a:moveTo>
                      <a:pt x="234" y="89"/>
                    </a:moveTo>
                    <a:lnTo>
                      <a:pt x="234" y="89"/>
                    </a:lnTo>
                    <a:lnTo>
                      <a:pt x="230" y="91"/>
                    </a:lnTo>
                    <a:lnTo>
                      <a:pt x="224" y="93"/>
                    </a:lnTo>
                    <a:lnTo>
                      <a:pt x="219" y="97"/>
                    </a:lnTo>
                    <a:lnTo>
                      <a:pt x="213" y="99"/>
                    </a:lnTo>
                    <a:lnTo>
                      <a:pt x="209" y="101"/>
                    </a:lnTo>
                    <a:lnTo>
                      <a:pt x="205" y="101"/>
                    </a:lnTo>
                    <a:lnTo>
                      <a:pt x="200" y="103"/>
                    </a:lnTo>
                    <a:lnTo>
                      <a:pt x="194" y="105"/>
                    </a:lnTo>
                    <a:lnTo>
                      <a:pt x="188" y="107"/>
                    </a:lnTo>
                    <a:lnTo>
                      <a:pt x="183" y="108"/>
                    </a:lnTo>
                    <a:lnTo>
                      <a:pt x="177" y="110"/>
                    </a:lnTo>
                    <a:lnTo>
                      <a:pt x="171" y="112"/>
                    </a:lnTo>
                    <a:lnTo>
                      <a:pt x="164" y="114"/>
                    </a:lnTo>
                    <a:lnTo>
                      <a:pt x="158" y="114"/>
                    </a:lnTo>
                    <a:lnTo>
                      <a:pt x="150" y="116"/>
                    </a:lnTo>
                    <a:lnTo>
                      <a:pt x="145" y="118"/>
                    </a:lnTo>
                    <a:lnTo>
                      <a:pt x="137" y="118"/>
                    </a:lnTo>
                    <a:lnTo>
                      <a:pt x="131" y="120"/>
                    </a:lnTo>
                    <a:lnTo>
                      <a:pt x="124" y="120"/>
                    </a:lnTo>
                    <a:lnTo>
                      <a:pt x="118" y="120"/>
                    </a:lnTo>
                    <a:lnTo>
                      <a:pt x="110" y="120"/>
                    </a:lnTo>
                    <a:lnTo>
                      <a:pt x="105" y="120"/>
                    </a:lnTo>
                    <a:lnTo>
                      <a:pt x="97" y="120"/>
                    </a:lnTo>
                    <a:lnTo>
                      <a:pt x="91" y="118"/>
                    </a:lnTo>
                    <a:lnTo>
                      <a:pt x="86" y="118"/>
                    </a:lnTo>
                    <a:lnTo>
                      <a:pt x="78" y="116"/>
                    </a:lnTo>
                    <a:lnTo>
                      <a:pt x="72" y="114"/>
                    </a:lnTo>
                    <a:lnTo>
                      <a:pt x="67" y="112"/>
                    </a:lnTo>
                    <a:lnTo>
                      <a:pt x="61" y="110"/>
                    </a:lnTo>
                    <a:lnTo>
                      <a:pt x="57" y="107"/>
                    </a:lnTo>
                    <a:lnTo>
                      <a:pt x="53" y="105"/>
                    </a:lnTo>
                    <a:lnTo>
                      <a:pt x="50" y="101"/>
                    </a:lnTo>
                    <a:lnTo>
                      <a:pt x="46" y="97"/>
                    </a:lnTo>
                    <a:lnTo>
                      <a:pt x="44" y="93"/>
                    </a:lnTo>
                    <a:lnTo>
                      <a:pt x="42" y="89"/>
                    </a:lnTo>
                    <a:lnTo>
                      <a:pt x="40" y="86"/>
                    </a:lnTo>
                    <a:lnTo>
                      <a:pt x="38" y="82"/>
                    </a:lnTo>
                    <a:lnTo>
                      <a:pt x="38" y="78"/>
                    </a:lnTo>
                    <a:lnTo>
                      <a:pt x="38" y="74"/>
                    </a:lnTo>
                    <a:lnTo>
                      <a:pt x="38" y="70"/>
                    </a:lnTo>
                    <a:lnTo>
                      <a:pt x="38" y="67"/>
                    </a:lnTo>
                    <a:lnTo>
                      <a:pt x="38" y="63"/>
                    </a:lnTo>
                    <a:lnTo>
                      <a:pt x="38" y="59"/>
                    </a:lnTo>
                    <a:lnTo>
                      <a:pt x="38" y="55"/>
                    </a:lnTo>
                    <a:lnTo>
                      <a:pt x="40" y="51"/>
                    </a:lnTo>
                    <a:lnTo>
                      <a:pt x="40" y="46"/>
                    </a:lnTo>
                    <a:lnTo>
                      <a:pt x="42" y="44"/>
                    </a:lnTo>
                    <a:lnTo>
                      <a:pt x="46" y="36"/>
                    </a:lnTo>
                    <a:lnTo>
                      <a:pt x="48" y="30"/>
                    </a:lnTo>
                    <a:lnTo>
                      <a:pt x="50" y="25"/>
                    </a:lnTo>
                    <a:lnTo>
                      <a:pt x="52" y="21"/>
                    </a:lnTo>
                    <a:lnTo>
                      <a:pt x="53" y="19"/>
                    </a:lnTo>
                    <a:lnTo>
                      <a:pt x="55" y="19"/>
                    </a:lnTo>
                    <a:lnTo>
                      <a:pt x="46" y="0"/>
                    </a:lnTo>
                    <a:lnTo>
                      <a:pt x="42" y="2"/>
                    </a:lnTo>
                    <a:lnTo>
                      <a:pt x="38" y="6"/>
                    </a:lnTo>
                    <a:lnTo>
                      <a:pt x="34" y="11"/>
                    </a:lnTo>
                    <a:lnTo>
                      <a:pt x="31" y="13"/>
                    </a:lnTo>
                    <a:lnTo>
                      <a:pt x="29" y="17"/>
                    </a:lnTo>
                    <a:lnTo>
                      <a:pt x="25" y="19"/>
                    </a:lnTo>
                    <a:lnTo>
                      <a:pt x="23" y="25"/>
                    </a:lnTo>
                    <a:lnTo>
                      <a:pt x="19" y="27"/>
                    </a:lnTo>
                    <a:lnTo>
                      <a:pt x="17" y="32"/>
                    </a:lnTo>
                    <a:lnTo>
                      <a:pt x="14" y="36"/>
                    </a:lnTo>
                    <a:lnTo>
                      <a:pt x="12" y="42"/>
                    </a:lnTo>
                    <a:lnTo>
                      <a:pt x="10" y="46"/>
                    </a:lnTo>
                    <a:lnTo>
                      <a:pt x="6" y="49"/>
                    </a:lnTo>
                    <a:lnTo>
                      <a:pt x="4" y="55"/>
                    </a:lnTo>
                    <a:lnTo>
                      <a:pt x="4" y="61"/>
                    </a:lnTo>
                    <a:lnTo>
                      <a:pt x="2" y="65"/>
                    </a:lnTo>
                    <a:lnTo>
                      <a:pt x="0" y="70"/>
                    </a:lnTo>
                    <a:lnTo>
                      <a:pt x="0" y="76"/>
                    </a:lnTo>
                    <a:lnTo>
                      <a:pt x="0" y="84"/>
                    </a:lnTo>
                    <a:lnTo>
                      <a:pt x="0" y="88"/>
                    </a:lnTo>
                    <a:lnTo>
                      <a:pt x="2" y="93"/>
                    </a:lnTo>
                    <a:lnTo>
                      <a:pt x="2" y="99"/>
                    </a:lnTo>
                    <a:lnTo>
                      <a:pt x="6" y="105"/>
                    </a:lnTo>
                    <a:lnTo>
                      <a:pt x="8" y="110"/>
                    </a:lnTo>
                    <a:lnTo>
                      <a:pt x="12" y="118"/>
                    </a:lnTo>
                    <a:lnTo>
                      <a:pt x="15" y="122"/>
                    </a:lnTo>
                    <a:lnTo>
                      <a:pt x="21" y="129"/>
                    </a:lnTo>
                    <a:lnTo>
                      <a:pt x="27" y="133"/>
                    </a:lnTo>
                    <a:lnTo>
                      <a:pt x="33" y="137"/>
                    </a:lnTo>
                    <a:lnTo>
                      <a:pt x="40" y="141"/>
                    </a:lnTo>
                    <a:lnTo>
                      <a:pt x="48" y="145"/>
                    </a:lnTo>
                    <a:lnTo>
                      <a:pt x="50" y="145"/>
                    </a:lnTo>
                    <a:lnTo>
                      <a:pt x="55" y="146"/>
                    </a:lnTo>
                    <a:lnTo>
                      <a:pt x="59" y="146"/>
                    </a:lnTo>
                    <a:lnTo>
                      <a:pt x="63" y="148"/>
                    </a:lnTo>
                    <a:lnTo>
                      <a:pt x="67" y="148"/>
                    </a:lnTo>
                    <a:lnTo>
                      <a:pt x="71" y="150"/>
                    </a:lnTo>
                    <a:lnTo>
                      <a:pt x="76" y="150"/>
                    </a:lnTo>
                    <a:lnTo>
                      <a:pt x="80" y="150"/>
                    </a:lnTo>
                    <a:lnTo>
                      <a:pt x="84" y="150"/>
                    </a:lnTo>
                    <a:lnTo>
                      <a:pt x="88" y="150"/>
                    </a:lnTo>
                    <a:lnTo>
                      <a:pt x="93" y="150"/>
                    </a:lnTo>
                    <a:lnTo>
                      <a:pt x="97" y="150"/>
                    </a:lnTo>
                    <a:lnTo>
                      <a:pt x="101" y="150"/>
                    </a:lnTo>
                    <a:lnTo>
                      <a:pt x="107" y="150"/>
                    </a:lnTo>
                    <a:lnTo>
                      <a:pt x="110" y="148"/>
                    </a:lnTo>
                    <a:lnTo>
                      <a:pt x="116" y="148"/>
                    </a:lnTo>
                    <a:lnTo>
                      <a:pt x="120" y="146"/>
                    </a:lnTo>
                    <a:lnTo>
                      <a:pt x="124" y="146"/>
                    </a:lnTo>
                    <a:lnTo>
                      <a:pt x="129" y="146"/>
                    </a:lnTo>
                    <a:lnTo>
                      <a:pt x="133" y="146"/>
                    </a:lnTo>
                    <a:lnTo>
                      <a:pt x="139" y="145"/>
                    </a:lnTo>
                    <a:lnTo>
                      <a:pt x="143" y="145"/>
                    </a:lnTo>
                    <a:lnTo>
                      <a:pt x="148" y="143"/>
                    </a:lnTo>
                    <a:lnTo>
                      <a:pt x="152" y="143"/>
                    </a:lnTo>
                    <a:lnTo>
                      <a:pt x="156" y="141"/>
                    </a:lnTo>
                    <a:lnTo>
                      <a:pt x="162" y="141"/>
                    </a:lnTo>
                    <a:lnTo>
                      <a:pt x="166" y="137"/>
                    </a:lnTo>
                    <a:lnTo>
                      <a:pt x="169" y="137"/>
                    </a:lnTo>
                    <a:lnTo>
                      <a:pt x="173" y="135"/>
                    </a:lnTo>
                    <a:lnTo>
                      <a:pt x="179" y="135"/>
                    </a:lnTo>
                    <a:lnTo>
                      <a:pt x="183" y="133"/>
                    </a:lnTo>
                    <a:lnTo>
                      <a:pt x="186" y="133"/>
                    </a:lnTo>
                    <a:lnTo>
                      <a:pt x="190" y="129"/>
                    </a:lnTo>
                    <a:lnTo>
                      <a:pt x="194" y="129"/>
                    </a:lnTo>
                    <a:lnTo>
                      <a:pt x="198" y="127"/>
                    </a:lnTo>
                    <a:lnTo>
                      <a:pt x="202" y="127"/>
                    </a:lnTo>
                    <a:lnTo>
                      <a:pt x="209" y="124"/>
                    </a:lnTo>
                    <a:lnTo>
                      <a:pt x="217" y="122"/>
                    </a:lnTo>
                    <a:lnTo>
                      <a:pt x="223" y="120"/>
                    </a:lnTo>
                    <a:lnTo>
                      <a:pt x="228" y="116"/>
                    </a:lnTo>
                    <a:lnTo>
                      <a:pt x="234" y="114"/>
                    </a:lnTo>
                    <a:lnTo>
                      <a:pt x="238" y="112"/>
                    </a:lnTo>
                    <a:lnTo>
                      <a:pt x="242" y="110"/>
                    </a:lnTo>
                    <a:lnTo>
                      <a:pt x="245" y="110"/>
                    </a:lnTo>
                    <a:lnTo>
                      <a:pt x="247" y="108"/>
                    </a:lnTo>
                    <a:lnTo>
                      <a:pt x="249" y="108"/>
                    </a:lnTo>
                    <a:lnTo>
                      <a:pt x="251" y="107"/>
                    </a:lnTo>
                    <a:lnTo>
                      <a:pt x="255" y="105"/>
                    </a:lnTo>
                    <a:lnTo>
                      <a:pt x="259" y="103"/>
                    </a:lnTo>
                    <a:lnTo>
                      <a:pt x="264" y="103"/>
                    </a:lnTo>
                    <a:lnTo>
                      <a:pt x="268" y="101"/>
                    </a:lnTo>
                    <a:lnTo>
                      <a:pt x="274" y="99"/>
                    </a:lnTo>
                    <a:lnTo>
                      <a:pt x="280" y="97"/>
                    </a:lnTo>
                    <a:lnTo>
                      <a:pt x="285" y="95"/>
                    </a:lnTo>
                    <a:lnTo>
                      <a:pt x="291" y="93"/>
                    </a:lnTo>
                    <a:lnTo>
                      <a:pt x="297" y="93"/>
                    </a:lnTo>
                    <a:lnTo>
                      <a:pt x="302" y="93"/>
                    </a:lnTo>
                    <a:lnTo>
                      <a:pt x="310" y="93"/>
                    </a:lnTo>
                    <a:lnTo>
                      <a:pt x="316" y="93"/>
                    </a:lnTo>
                    <a:lnTo>
                      <a:pt x="321" y="93"/>
                    </a:lnTo>
                    <a:lnTo>
                      <a:pt x="327" y="95"/>
                    </a:lnTo>
                    <a:lnTo>
                      <a:pt x="333" y="97"/>
                    </a:lnTo>
                    <a:lnTo>
                      <a:pt x="331" y="93"/>
                    </a:lnTo>
                    <a:lnTo>
                      <a:pt x="327" y="89"/>
                    </a:lnTo>
                    <a:lnTo>
                      <a:pt x="323" y="84"/>
                    </a:lnTo>
                    <a:lnTo>
                      <a:pt x="319" y="82"/>
                    </a:lnTo>
                    <a:lnTo>
                      <a:pt x="316" y="78"/>
                    </a:lnTo>
                    <a:lnTo>
                      <a:pt x="312" y="76"/>
                    </a:lnTo>
                    <a:lnTo>
                      <a:pt x="308" y="74"/>
                    </a:lnTo>
                    <a:lnTo>
                      <a:pt x="302" y="72"/>
                    </a:lnTo>
                    <a:lnTo>
                      <a:pt x="297" y="72"/>
                    </a:lnTo>
                    <a:lnTo>
                      <a:pt x="291" y="70"/>
                    </a:lnTo>
                    <a:lnTo>
                      <a:pt x="285" y="72"/>
                    </a:lnTo>
                    <a:lnTo>
                      <a:pt x="280" y="72"/>
                    </a:lnTo>
                    <a:lnTo>
                      <a:pt x="272" y="72"/>
                    </a:lnTo>
                    <a:lnTo>
                      <a:pt x="266" y="74"/>
                    </a:lnTo>
                    <a:lnTo>
                      <a:pt x="262" y="76"/>
                    </a:lnTo>
                    <a:lnTo>
                      <a:pt x="257" y="76"/>
                    </a:lnTo>
                    <a:lnTo>
                      <a:pt x="253" y="78"/>
                    </a:lnTo>
                    <a:lnTo>
                      <a:pt x="249" y="80"/>
                    </a:lnTo>
                    <a:lnTo>
                      <a:pt x="247" y="82"/>
                    </a:lnTo>
                    <a:lnTo>
                      <a:pt x="242" y="86"/>
                    </a:lnTo>
                    <a:lnTo>
                      <a:pt x="238" y="88"/>
                    </a:lnTo>
                    <a:lnTo>
                      <a:pt x="234" y="89"/>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62" name="Freeform 56"/>
              <p:cNvSpPr>
                <a:spLocks/>
              </p:cNvSpPr>
              <p:nvPr/>
            </p:nvSpPr>
            <p:spPr bwMode="auto">
              <a:xfrm>
                <a:off x="2460626" y="3940176"/>
                <a:ext cx="107950" cy="158750"/>
              </a:xfrm>
              <a:custGeom>
                <a:avLst/>
                <a:gdLst>
                  <a:gd name="T0" fmla="*/ 2147483646 w 135"/>
                  <a:gd name="T1" fmla="*/ 2147483646 h 202"/>
                  <a:gd name="T2" fmla="*/ 2147483646 w 135"/>
                  <a:gd name="T3" fmla="*/ 2147483646 h 202"/>
                  <a:gd name="T4" fmla="*/ 2147483646 w 135"/>
                  <a:gd name="T5" fmla="*/ 2147483646 h 202"/>
                  <a:gd name="T6" fmla="*/ 2147483646 w 135"/>
                  <a:gd name="T7" fmla="*/ 2147483646 h 202"/>
                  <a:gd name="T8" fmla="*/ 2147483646 w 135"/>
                  <a:gd name="T9" fmla="*/ 2147483646 h 202"/>
                  <a:gd name="T10" fmla="*/ 2147483646 w 135"/>
                  <a:gd name="T11" fmla="*/ 2147483646 h 202"/>
                  <a:gd name="T12" fmla="*/ 2147483646 w 135"/>
                  <a:gd name="T13" fmla="*/ 2147483646 h 202"/>
                  <a:gd name="T14" fmla="*/ 2147483646 w 135"/>
                  <a:gd name="T15" fmla="*/ 2147483646 h 202"/>
                  <a:gd name="T16" fmla="*/ 2147483646 w 135"/>
                  <a:gd name="T17" fmla="*/ 2147483646 h 202"/>
                  <a:gd name="T18" fmla="*/ 2147483646 w 135"/>
                  <a:gd name="T19" fmla="*/ 2147483646 h 202"/>
                  <a:gd name="T20" fmla="*/ 2147483646 w 135"/>
                  <a:gd name="T21" fmla="*/ 2147483646 h 202"/>
                  <a:gd name="T22" fmla="*/ 2147483646 w 135"/>
                  <a:gd name="T23" fmla="*/ 2147483646 h 202"/>
                  <a:gd name="T24" fmla="*/ 2147483646 w 135"/>
                  <a:gd name="T25" fmla="*/ 2147483646 h 202"/>
                  <a:gd name="T26" fmla="*/ 2147483646 w 135"/>
                  <a:gd name="T27" fmla="*/ 2147483646 h 202"/>
                  <a:gd name="T28" fmla="*/ 2147483646 w 135"/>
                  <a:gd name="T29" fmla="*/ 2147483646 h 202"/>
                  <a:gd name="T30" fmla="*/ 2147483646 w 135"/>
                  <a:gd name="T31" fmla="*/ 2147483646 h 202"/>
                  <a:gd name="T32" fmla="*/ 2147483646 w 135"/>
                  <a:gd name="T33" fmla="*/ 2147483646 h 202"/>
                  <a:gd name="T34" fmla="*/ 2147483646 w 135"/>
                  <a:gd name="T35" fmla="*/ 2147483646 h 202"/>
                  <a:gd name="T36" fmla="*/ 2147483646 w 135"/>
                  <a:gd name="T37" fmla="*/ 2147483646 h 202"/>
                  <a:gd name="T38" fmla="*/ 2147483646 w 135"/>
                  <a:gd name="T39" fmla="*/ 2147483646 h 202"/>
                  <a:gd name="T40" fmla="*/ 2147483646 w 135"/>
                  <a:gd name="T41" fmla="*/ 2147483646 h 202"/>
                  <a:gd name="T42" fmla="*/ 2147483646 w 135"/>
                  <a:gd name="T43" fmla="*/ 2147483646 h 202"/>
                  <a:gd name="T44" fmla="*/ 2147483646 w 135"/>
                  <a:gd name="T45" fmla="*/ 2147483646 h 202"/>
                  <a:gd name="T46" fmla="*/ 2147483646 w 135"/>
                  <a:gd name="T47" fmla="*/ 2147483646 h 202"/>
                  <a:gd name="T48" fmla="*/ 2147483646 w 135"/>
                  <a:gd name="T49" fmla="*/ 2147483646 h 202"/>
                  <a:gd name="T50" fmla="*/ 2147483646 w 135"/>
                  <a:gd name="T51" fmla="*/ 2147483646 h 202"/>
                  <a:gd name="T52" fmla="*/ 2147483646 w 135"/>
                  <a:gd name="T53" fmla="*/ 2147483646 h 202"/>
                  <a:gd name="T54" fmla="*/ 2147483646 w 135"/>
                  <a:gd name="T55" fmla="*/ 2147483646 h 202"/>
                  <a:gd name="T56" fmla="*/ 2147483646 w 135"/>
                  <a:gd name="T57" fmla="*/ 2147483646 h 202"/>
                  <a:gd name="T58" fmla="*/ 2147483646 w 135"/>
                  <a:gd name="T59" fmla="*/ 2147483646 h 202"/>
                  <a:gd name="T60" fmla="*/ 2147483646 w 135"/>
                  <a:gd name="T61" fmla="*/ 2147483646 h 202"/>
                  <a:gd name="T62" fmla="*/ 2147483646 w 135"/>
                  <a:gd name="T63" fmla="*/ 2147483646 h 202"/>
                  <a:gd name="T64" fmla="*/ 2147483646 w 135"/>
                  <a:gd name="T65" fmla="*/ 2147483646 h 202"/>
                  <a:gd name="T66" fmla="*/ 2147483646 w 135"/>
                  <a:gd name="T67" fmla="*/ 2147483646 h 202"/>
                  <a:gd name="T68" fmla="*/ 2147483646 w 135"/>
                  <a:gd name="T69" fmla="*/ 2147483646 h 202"/>
                  <a:gd name="T70" fmla="*/ 2147483646 w 135"/>
                  <a:gd name="T71" fmla="*/ 2147483646 h 202"/>
                  <a:gd name="T72" fmla="*/ 2147483646 w 135"/>
                  <a:gd name="T73" fmla="*/ 2147483646 h 202"/>
                  <a:gd name="T74" fmla="*/ 2147483646 w 135"/>
                  <a:gd name="T75" fmla="*/ 2147483646 h 202"/>
                  <a:gd name="T76" fmla="*/ 2147483646 w 135"/>
                  <a:gd name="T77" fmla="*/ 2147483646 h 202"/>
                  <a:gd name="T78" fmla="*/ 2147483646 w 135"/>
                  <a:gd name="T79" fmla="*/ 2147483646 h 202"/>
                  <a:gd name="T80" fmla="*/ 2147483646 w 135"/>
                  <a:gd name="T81" fmla="*/ 2147483646 h 202"/>
                  <a:gd name="T82" fmla="*/ 2147483646 w 135"/>
                  <a:gd name="T83" fmla="*/ 2147483646 h 202"/>
                  <a:gd name="T84" fmla="*/ 2147483646 w 135"/>
                  <a:gd name="T85" fmla="*/ 2147483646 h 202"/>
                  <a:gd name="T86" fmla="*/ 2147483646 w 135"/>
                  <a:gd name="T87" fmla="*/ 2147483646 h 202"/>
                  <a:gd name="T88" fmla="*/ 0 w 135"/>
                  <a:gd name="T89" fmla="*/ 2147483646 h 202"/>
                  <a:gd name="T90" fmla="*/ 0 w 135"/>
                  <a:gd name="T91" fmla="*/ 2147483646 h 202"/>
                  <a:gd name="T92" fmla="*/ 0 w 135"/>
                  <a:gd name="T93" fmla="*/ 2147483646 h 202"/>
                  <a:gd name="T94" fmla="*/ 0 w 135"/>
                  <a:gd name="T95" fmla="*/ 2147483646 h 202"/>
                  <a:gd name="T96" fmla="*/ 2147483646 w 135"/>
                  <a:gd name="T97" fmla="*/ 2147483646 h 202"/>
                  <a:gd name="T98" fmla="*/ 2147483646 w 135"/>
                  <a:gd name="T99" fmla="*/ 2147483646 h 202"/>
                  <a:gd name="T100" fmla="*/ 2147483646 w 135"/>
                  <a:gd name="T101" fmla="*/ 2147483646 h 202"/>
                  <a:gd name="T102" fmla="*/ 2147483646 w 135"/>
                  <a:gd name="T103" fmla="*/ 2147483646 h 202"/>
                  <a:gd name="T104" fmla="*/ 2147483646 w 135"/>
                  <a:gd name="T105" fmla="*/ 2147483646 h 202"/>
                  <a:gd name="T106" fmla="*/ 2147483646 w 135"/>
                  <a:gd name="T107" fmla="*/ 2147483646 h 202"/>
                  <a:gd name="T108" fmla="*/ 2147483646 w 135"/>
                  <a:gd name="T109" fmla="*/ 2147483646 h 202"/>
                  <a:gd name="T110" fmla="*/ 2147483646 w 135"/>
                  <a:gd name="T111" fmla="*/ 2147483646 h 202"/>
                  <a:gd name="T112" fmla="*/ 2147483646 w 135"/>
                  <a:gd name="T113" fmla="*/ 2147483646 h 202"/>
                  <a:gd name="T114" fmla="*/ 2147483646 w 135"/>
                  <a:gd name="T115" fmla="*/ 2147483646 h 202"/>
                  <a:gd name="T116" fmla="*/ 2147483646 w 135"/>
                  <a:gd name="T117" fmla="*/ 2147483646 h 202"/>
                  <a:gd name="T118" fmla="*/ 2147483646 w 135"/>
                  <a:gd name="T119" fmla="*/ 2147483646 h 202"/>
                  <a:gd name="T120" fmla="*/ 2147483646 w 135"/>
                  <a:gd name="T121" fmla="*/ 2147483646 h 202"/>
                  <a:gd name="T122" fmla="*/ 2147483646 w 135"/>
                  <a:gd name="T123" fmla="*/ 0 h 202"/>
                  <a:gd name="T124" fmla="*/ 2147483646 w 135"/>
                  <a:gd name="T125" fmla="*/ 2147483646 h 2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
                  <a:gd name="T190" fmla="*/ 0 h 202"/>
                  <a:gd name="T191" fmla="*/ 135 w 135"/>
                  <a:gd name="T192" fmla="*/ 202 h 2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 h="202">
                    <a:moveTo>
                      <a:pt x="120" y="16"/>
                    </a:moveTo>
                    <a:lnTo>
                      <a:pt x="118" y="16"/>
                    </a:lnTo>
                    <a:lnTo>
                      <a:pt x="116" y="16"/>
                    </a:lnTo>
                    <a:lnTo>
                      <a:pt x="111" y="19"/>
                    </a:lnTo>
                    <a:lnTo>
                      <a:pt x="107" y="21"/>
                    </a:lnTo>
                    <a:lnTo>
                      <a:pt x="99" y="25"/>
                    </a:lnTo>
                    <a:lnTo>
                      <a:pt x="93" y="31"/>
                    </a:lnTo>
                    <a:lnTo>
                      <a:pt x="90" y="33"/>
                    </a:lnTo>
                    <a:lnTo>
                      <a:pt x="86" y="37"/>
                    </a:lnTo>
                    <a:lnTo>
                      <a:pt x="82" y="38"/>
                    </a:lnTo>
                    <a:lnTo>
                      <a:pt x="78" y="42"/>
                    </a:lnTo>
                    <a:lnTo>
                      <a:pt x="74" y="46"/>
                    </a:lnTo>
                    <a:lnTo>
                      <a:pt x="71" y="48"/>
                    </a:lnTo>
                    <a:lnTo>
                      <a:pt x="67" y="52"/>
                    </a:lnTo>
                    <a:lnTo>
                      <a:pt x="63" y="56"/>
                    </a:lnTo>
                    <a:lnTo>
                      <a:pt x="59" y="59"/>
                    </a:lnTo>
                    <a:lnTo>
                      <a:pt x="55" y="63"/>
                    </a:lnTo>
                    <a:lnTo>
                      <a:pt x="52" y="69"/>
                    </a:lnTo>
                    <a:lnTo>
                      <a:pt x="50" y="73"/>
                    </a:lnTo>
                    <a:lnTo>
                      <a:pt x="46" y="76"/>
                    </a:lnTo>
                    <a:lnTo>
                      <a:pt x="42" y="80"/>
                    </a:lnTo>
                    <a:lnTo>
                      <a:pt x="40" y="86"/>
                    </a:lnTo>
                    <a:lnTo>
                      <a:pt x="38" y="90"/>
                    </a:lnTo>
                    <a:lnTo>
                      <a:pt x="36" y="94"/>
                    </a:lnTo>
                    <a:lnTo>
                      <a:pt x="35" y="99"/>
                    </a:lnTo>
                    <a:lnTo>
                      <a:pt x="33" y="105"/>
                    </a:lnTo>
                    <a:lnTo>
                      <a:pt x="33" y="111"/>
                    </a:lnTo>
                    <a:lnTo>
                      <a:pt x="33" y="115"/>
                    </a:lnTo>
                    <a:lnTo>
                      <a:pt x="33" y="118"/>
                    </a:lnTo>
                    <a:lnTo>
                      <a:pt x="33" y="124"/>
                    </a:lnTo>
                    <a:lnTo>
                      <a:pt x="35" y="128"/>
                    </a:lnTo>
                    <a:lnTo>
                      <a:pt x="35" y="132"/>
                    </a:lnTo>
                    <a:lnTo>
                      <a:pt x="36" y="137"/>
                    </a:lnTo>
                    <a:lnTo>
                      <a:pt x="38" y="141"/>
                    </a:lnTo>
                    <a:lnTo>
                      <a:pt x="40" y="145"/>
                    </a:lnTo>
                    <a:lnTo>
                      <a:pt x="42" y="149"/>
                    </a:lnTo>
                    <a:lnTo>
                      <a:pt x="44" y="153"/>
                    </a:lnTo>
                    <a:lnTo>
                      <a:pt x="46" y="156"/>
                    </a:lnTo>
                    <a:lnTo>
                      <a:pt x="50" y="160"/>
                    </a:lnTo>
                    <a:lnTo>
                      <a:pt x="54" y="164"/>
                    </a:lnTo>
                    <a:lnTo>
                      <a:pt x="55" y="168"/>
                    </a:lnTo>
                    <a:lnTo>
                      <a:pt x="61" y="170"/>
                    </a:lnTo>
                    <a:lnTo>
                      <a:pt x="65" y="173"/>
                    </a:lnTo>
                    <a:lnTo>
                      <a:pt x="69" y="175"/>
                    </a:lnTo>
                    <a:lnTo>
                      <a:pt x="71" y="179"/>
                    </a:lnTo>
                    <a:lnTo>
                      <a:pt x="76" y="181"/>
                    </a:lnTo>
                    <a:lnTo>
                      <a:pt x="80" y="183"/>
                    </a:lnTo>
                    <a:lnTo>
                      <a:pt x="84" y="185"/>
                    </a:lnTo>
                    <a:lnTo>
                      <a:pt x="88" y="187"/>
                    </a:lnTo>
                    <a:lnTo>
                      <a:pt x="93" y="189"/>
                    </a:lnTo>
                    <a:lnTo>
                      <a:pt x="97" y="192"/>
                    </a:lnTo>
                    <a:lnTo>
                      <a:pt x="103" y="192"/>
                    </a:lnTo>
                    <a:lnTo>
                      <a:pt x="107" y="194"/>
                    </a:lnTo>
                    <a:lnTo>
                      <a:pt x="112" y="196"/>
                    </a:lnTo>
                    <a:lnTo>
                      <a:pt x="116" y="196"/>
                    </a:lnTo>
                    <a:lnTo>
                      <a:pt x="120" y="198"/>
                    </a:lnTo>
                    <a:lnTo>
                      <a:pt x="126" y="198"/>
                    </a:lnTo>
                    <a:lnTo>
                      <a:pt x="130" y="198"/>
                    </a:lnTo>
                    <a:lnTo>
                      <a:pt x="135" y="200"/>
                    </a:lnTo>
                    <a:lnTo>
                      <a:pt x="133" y="200"/>
                    </a:lnTo>
                    <a:lnTo>
                      <a:pt x="130" y="202"/>
                    </a:lnTo>
                    <a:lnTo>
                      <a:pt x="126" y="202"/>
                    </a:lnTo>
                    <a:lnTo>
                      <a:pt x="122" y="202"/>
                    </a:lnTo>
                    <a:lnTo>
                      <a:pt x="118" y="202"/>
                    </a:lnTo>
                    <a:lnTo>
                      <a:pt x="114" y="202"/>
                    </a:lnTo>
                    <a:lnTo>
                      <a:pt x="109" y="202"/>
                    </a:lnTo>
                    <a:lnTo>
                      <a:pt x="103" y="202"/>
                    </a:lnTo>
                    <a:lnTo>
                      <a:pt x="97" y="202"/>
                    </a:lnTo>
                    <a:lnTo>
                      <a:pt x="92" y="202"/>
                    </a:lnTo>
                    <a:lnTo>
                      <a:pt x="86" y="202"/>
                    </a:lnTo>
                    <a:lnTo>
                      <a:pt x="80" y="200"/>
                    </a:lnTo>
                    <a:lnTo>
                      <a:pt x="73" y="200"/>
                    </a:lnTo>
                    <a:lnTo>
                      <a:pt x="69" y="198"/>
                    </a:lnTo>
                    <a:lnTo>
                      <a:pt x="61" y="196"/>
                    </a:lnTo>
                    <a:lnTo>
                      <a:pt x="55" y="196"/>
                    </a:lnTo>
                    <a:lnTo>
                      <a:pt x="50" y="194"/>
                    </a:lnTo>
                    <a:lnTo>
                      <a:pt x="44" y="192"/>
                    </a:lnTo>
                    <a:lnTo>
                      <a:pt x="36" y="189"/>
                    </a:lnTo>
                    <a:lnTo>
                      <a:pt x="33" y="185"/>
                    </a:lnTo>
                    <a:lnTo>
                      <a:pt x="27" y="181"/>
                    </a:lnTo>
                    <a:lnTo>
                      <a:pt x="23" y="177"/>
                    </a:lnTo>
                    <a:lnTo>
                      <a:pt x="17" y="172"/>
                    </a:lnTo>
                    <a:lnTo>
                      <a:pt x="14" y="168"/>
                    </a:lnTo>
                    <a:lnTo>
                      <a:pt x="10" y="162"/>
                    </a:lnTo>
                    <a:lnTo>
                      <a:pt x="6" y="154"/>
                    </a:lnTo>
                    <a:lnTo>
                      <a:pt x="4" y="151"/>
                    </a:lnTo>
                    <a:lnTo>
                      <a:pt x="4" y="147"/>
                    </a:lnTo>
                    <a:lnTo>
                      <a:pt x="2" y="143"/>
                    </a:lnTo>
                    <a:lnTo>
                      <a:pt x="2" y="139"/>
                    </a:lnTo>
                    <a:lnTo>
                      <a:pt x="0" y="135"/>
                    </a:lnTo>
                    <a:lnTo>
                      <a:pt x="0" y="132"/>
                    </a:lnTo>
                    <a:lnTo>
                      <a:pt x="0" y="128"/>
                    </a:lnTo>
                    <a:lnTo>
                      <a:pt x="0" y="124"/>
                    </a:lnTo>
                    <a:lnTo>
                      <a:pt x="0" y="116"/>
                    </a:lnTo>
                    <a:lnTo>
                      <a:pt x="0" y="111"/>
                    </a:lnTo>
                    <a:lnTo>
                      <a:pt x="0" y="103"/>
                    </a:lnTo>
                    <a:lnTo>
                      <a:pt x="2" y="97"/>
                    </a:lnTo>
                    <a:lnTo>
                      <a:pt x="4" y="92"/>
                    </a:lnTo>
                    <a:lnTo>
                      <a:pt x="6" y="86"/>
                    </a:lnTo>
                    <a:lnTo>
                      <a:pt x="8" y="80"/>
                    </a:lnTo>
                    <a:lnTo>
                      <a:pt x="12" y="76"/>
                    </a:lnTo>
                    <a:lnTo>
                      <a:pt x="14" y="69"/>
                    </a:lnTo>
                    <a:lnTo>
                      <a:pt x="17" y="65"/>
                    </a:lnTo>
                    <a:lnTo>
                      <a:pt x="19" y="59"/>
                    </a:lnTo>
                    <a:lnTo>
                      <a:pt x="23" y="56"/>
                    </a:lnTo>
                    <a:lnTo>
                      <a:pt x="27" y="50"/>
                    </a:lnTo>
                    <a:lnTo>
                      <a:pt x="31" y="46"/>
                    </a:lnTo>
                    <a:lnTo>
                      <a:pt x="35" y="42"/>
                    </a:lnTo>
                    <a:lnTo>
                      <a:pt x="40" y="38"/>
                    </a:lnTo>
                    <a:lnTo>
                      <a:pt x="44" y="35"/>
                    </a:lnTo>
                    <a:lnTo>
                      <a:pt x="48" y="29"/>
                    </a:lnTo>
                    <a:lnTo>
                      <a:pt x="54" y="25"/>
                    </a:lnTo>
                    <a:lnTo>
                      <a:pt x="57" y="23"/>
                    </a:lnTo>
                    <a:lnTo>
                      <a:pt x="63" y="19"/>
                    </a:lnTo>
                    <a:lnTo>
                      <a:pt x="67" y="16"/>
                    </a:lnTo>
                    <a:lnTo>
                      <a:pt x="73" y="14"/>
                    </a:lnTo>
                    <a:lnTo>
                      <a:pt x="78" y="12"/>
                    </a:lnTo>
                    <a:lnTo>
                      <a:pt x="82" y="10"/>
                    </a:lnTo>
                    <a:lnTo>
                      <a:pt x="88" y="6"/>
                    </a:lnTo>
                    <a:lnTo>
                      <a:pt x="92" y="4"/>
                    </a:lnTo>
                    <a:lnTo>
                      <a:pt x="97" y="4"/>
                    </a:lnTo>
                    <a:lnTo>
                      <a:pt x="101" y="2"/>
                    </a:lnTo>
                    <a:lnTo>
                      <a:pt x="107" y="2"/>
                    </a:lnTo>
                    <a:lnTo>
                      <a:pt x="111" y="0"/>
                    </a:lnTo>
                    <a:lnTo>
                      <a:pt x="116" y="0"/>
                    </a:lnTo>
                    <a:lnTo>
                      <a:pt x="120" y="16"/>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63" name="Freeform 57"/>
              <p:cNvSpPr>
                <a:spLocks/>
              </p:cNvSpPr>
              <p:nvPr/>
            </p:nvSpPr>
            <p:spPr bwMode="auto">
              <a:xfrm>
                <a:off x="2393951" y="3703638"/>
                <a:ext cx="177800" cy="219075"/>
              </a:xfrm>
              <a:custGeom>
                <a:avLst/>
                <a:gdLst>
                  <a:gd name="T0" fmla="*/ 2147483646 w 222"/>
                  <a:gd name="T1" fmla="*/ 2147483646 h 276"/>
                  <a:gd name="T2" fmla="*/ 2147483646 w 222"/>
                  <a:gd name="T3" fmla="*/ 2147483646 h 276"/>
                  <a:gd name="T4" fmla="*/ 2147483646 w 222"/>
                  <a:gd name="T5" fmla="*/ 2147483646 h 276"/>
                  <a:gd name="T6" fmla="*/ 2147483646 w 222"/>
                  <a:gd name="T7" fmla="*/ 2147483646 h 276"/>
                  <a:gd name="T8" fmla="*/ 2147483646 w 222"/>
                  <a:gd name="T9" fmla="*/ 2147483646 h 276"/>
                  <a:gd name="T10" fmla="*/ 2147483646 w 222"/>
                  <a:gd name="T11" fmla="*/ 2147483646 h 276"/>
                  <a:gd name="T12" fmla="*/ 2147483646 w 222"/>
                  <a:gd name="T13" fmla="*/ 2147483646 h 276"/>
                  <a:gd name="T14" fmla="*/ 2147483646 w 222"/>
                  <a:gd name="T15" fmla="*/ 2147483646 h 276"/>
                  <a:gd name="T16" fmla="*/ 2147483646 w 222"/>
                  <a:gd name="T17" fmla="*/ 2147483646 h 276"/>
                  <a:gd name="T18" fmla="*/ 2147483646 w 222"/>
                  <a:gd name="T19" fmla="*/ 2147483646 h 276"/>
                  <a:gd name="T20" fmla="*/ 2147483646 w 222"/>
                  <a:gd name="T21" fmla="*/ 2147483646 h 276"/>
                  <a:gd name="T22" fmla="*/ 2147483646 w 222"/>
                  <a:gd name="T23" fmla="*/ 2147483646 h 276"/>
                  <a:gd name="T24" fmla="*/ 2147483646 w 222"/>
                  <a:gd name="T25" fmla="*/ 2147483646 h 276"/>
                  <a:gd name="T26" fmla="*/ 2147483646 w 222"/>
                  <a:gd name="T27" fmla="*/ 2147483646 h 276"/>
                  <a:gd name="T28" fmla="*/ 2147483646 w 222"/>
                  <a:gd name="T29" fmla="*/ 2147483646 h 276"/>
                  <a:gd name="T30" fmla="*/ 2147483646 w 222"/>
                  <a:gd name="T31" fmla="*/ 2147483646 h 276"/>
                  <a:gd name="T32" fmla="*/ 2147483646 w 222"/>
                  <a:gd name="T33" fmla="*/ 2147483646 h 276"/>
                  <a:gd name="T34" fmla="*/ 2147483646 w 222"/>
                  <a:gd name="T35" fmla="*/ 2147483646 h 276"/>
                  <a:gd name="T36" fmla="*/ 2147483646 w 222"/>
                  <a:gd name="T37" fmla="*/ 2147483646 h 276"/>
                  <a:gd name="T38" fmla="*/ 2147483646 w 222"/>
                  <a:gd name="T39" fmla="*/ 2147483646 h 276"/>
                  <a:gd name="T40" fmla="*/ 2147483646 w 222"/>
                  <a:gd name="T41" fmla="*/ 2147483646 h 276"/>
                  <a:gd name="T42" fmla="*/ 2147483646 w 222"/>
                  <a:gd name="T43" fmla="*/ 0 h 276"/>
                  <a:gd name="T44" fmla="*/ 2147483646 w 222"/>
                  <a:gd name="T45" fmla="*/ 0 h 276"/>
                  <a:gd name="T46" fmla="*/ 2147483646 w 222"/>
                  <a:gd name="T47" fmla="*/ 2147483646 h 276"/>
                  <a:gd name="T48" fmla="*/ 2147483646 w 222"/>
                  <a:gd name="T49" fmla="*/ 2147483646 h 276"/>
                  <a:gd name="T50" fmla="*/ 2147483646 w 222"/>
                  <a:gd name="T51" fmla="*/ 2147483646 h 276"/>
                  <a:gd name="T52" fmla="*/ 2147483646 w 222"/>
                  <a:gd name="T53" fmla="*/ 2147483646 h 276"/>
                  <a:gd name="T54" fmla="*/ 2147483646 w 222"/>
                  <a:gd name="T55" fmla="*/ 2147483646 h 276"/>
                  <a:gd name="T56" fmla="*/ 2147483646 w 222"/>
                  <a:gd name="T57" fmla="*/ 2147483646 h 276"/>
                  <a:gd name="T58" fmla="*/ 2147483646 w 222"/>
                  <a:gd name="T59" fmla="*/ 2147483646 h 276"/>
                  <a:gd name="T60" fmla="*/ 2147483646 w 222"/>
                  <a:gd name="T61" fmla="*/ 2147483646 h 276"/>
                  <a:gd name="T62" fmla="*/ 2147483646 w 222"/>
                  <a:gd name="T63" fmla="*/ 2147483646 h 276"/>
                  <a:gd name="T64" fmla="*/ 2147483646 w 222"/>
                  <a:gd name="T65" fmla="*/ 2147483646 h 276"/>
                  <a:gd name="T66" fmla="*/ 2147483646 w 222"/>
                  <a:gd name="T67" fmla="*/ 2147483646 h 276"/>
                  <a:gd name="T68" fmla="*/ 2147483646 w 222"/>
                  <a:gd name="T69" fmla="*/ 2147483646 h 276"/>
                  <a:gd name="T70" fmla="*/ 2147483646 w 222"/>
                  <a:gd name="T71" fmla="*/ 2147483646 h 276"/>
                  <a:gd name="T72" fmla="*/ 2147483646 w 222"/>
                  <a:gd name="T73" fmla="*/ 2147483646 h 276"/>
                  <a:gd name="T74" fmla="*/ 2147483646 w 222"/>
                  <a:gd name="T75" fmla="*/ 2147483646 h 276"/>
                  <a:gd name="T76" fmla="*/ 2147483646 w 222"/>
                  <a:gd name="T77" fmla="*/ 2147483646 h 276"/>
                  <a:gd name="T78" fmla="*/ 2147483646 w 222"/>
                  <a:gd name="T79" fmla="*/ 2147483646 h 276"/>
                  <a:gd name="T80" fmla="*/ 2147483646 w 222"/>
                  <a:gd name="T81" fmla="*/ 2147483646 h 276"/>
                  <a:gd name="T82" fmla="*/ 2147483646 w 222"/>
                  <a:gd name="T83" fmla="*/ 2147483646 h 276"/>
                  <a:gd name="T84" fmla="*/ 2147483646 w 222"/>
                  <a:gd name="T85" fmla="*/ 2147483646 h 276"/>
                  <a:gd name="T86" fmla="*/ 2147483646 w 222"/>
                  <a:gd name="T87" fmla="*/ 2147483646 h 276"/>
                  <a:gd name="T88" fmla="*/ 2147483646 w 222"/>
                  <a:gd name="T89" fmla="*/ 2147483646 h 276"/>
                  <a:gd name="T90" fmla="*/ 2147483646 w 222"/>
                  <a:gd name="T91" fmla="*/ 2147483646 h 276"/>
                  <a:gd name="T92" fmla="*/ 2147483646 w 222"/>
                  <a:gd name="T93" fmla="*/ 2147483646 h 276"/>
                  <a:gd name="T94" fmla="*/ 2147483646 w 222"/>
                  <a:gd name="T95" fmla="*/ 2147483646 h 276"/>
                  <a:gd name="T96" fmla="*/ 2147483646 w 222"/>
                  <a:gd name="T97" fmla="*/ 2147483646 h 276"/>
                  <a:gd name="T98" fmla="*/ 2147483646 w 222"/>
                  <a:gd name="T99" fmla="*/ 2147483646 h 276"/>
                  <a:gd name="T100" fmla="*/ 2147483646 w 222"/>
                  <a:gd name="T101" fmla="*/ 2147483646 h 276"/>
                  <a:gd name="T102" fmla="*/ 2147483646 w 222"/>
                  <a:gd name="T103" fmla="*/ 2147483646 h 276"/>
                  <a:gd name="T104" fmla="*/ 2147483646 w 222"/>
                  <a:gd name="T105" fmla="*/ 2147483646 h 276"/>
                  <a:gd name="T106" fmla="*/ 2147483646 w 222"/>
                  <a:gd name="T107" fmla="*/ 2147483646 h 276"/>
                  <a:gd name="T108" fmla="*/ 2147483646 w 222"/>
                  <a:gd name="T109" fmla="*/ 2147483646 h 276"/>
                  <a:gd name="T110" fmla="*/ 2147483646 w 222"/>
                  <a:gd name="T111" fmla="*/ 2147483646 h 276"/>
                  <a:gd name="T112" fmla="*/ 2147483646 w 222"/>
                  <a:gd name="T113" fmla="*/ 2147483646 h 276"/>
                  <a:gd name="T114" fmla="*/ 2147483646 w 222"/>
                  <a:gd name="T115" fmla="*/ 2147483646 h 276"/>
                  <a:gd name="T116" fmla="*/ 2147483646 w 222"/>
                  <a:gd name="T117" fmla="*/ 2147483646 h 27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2"/>
                  <a:gd name="T178" fmla="*/ 0 h 276"/>
                  <a:gd name="T179" fmla="*/ 222 w 222"/>
                  <a:gd name="T180" fmla="*/ 276 h 27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2" h="276">
                    <a:moveTo>
                      <a:pt x="220" y="276"/>
                    </a:moveTo>
                    <a:lnTo>
                      <a:pt x="220" y="274"/>
                    </a:lnTo>
                    <a:lnTo>
                      <a:pt x="222" y="268"/>
                    </a:lnTo>
                    <a:lnTo>
                      <a:pt x="222" y="264"/>
                    </a:lnTo>
                    <a:lnTo>
                      <a:pt x="222" y="262"/>
                    </a:lnTo>
                    <a:lnTo>
                      <a:pt x="222" y="258"/>
                    </a:lnTo>
                    <a:lnTo>
                      <a:pt x="222" y="255"/>
                    </a:lnTo>
                    <a:lnTo>
                      <a:pt x="220" y="249"/>
                    </a:lnTo>
                    <a:lnTo>
                      <a:pt x="220" y="243"/>
                    </a:lnTo>
                    <a:lnTo>
                      <a:pt x="220" y="238"/>
                    </a:lnTo>
                    <a:lnTo>
                      <a:pt x="220" y="234"/>
                    </a:lnTo>
                    <a:lnTo>
                      <a:pt x="218" y="226"/>
                    </a:lnTo>
                    <a:lnTo>
                      <a:pt x="218" y="220"/>
                    </a:lnTo>
                    <a:lnTo>
                      <a:pt x="218" y="215"/>
                    </a:lnTo>
                    <a:lnTo>
                      <a:pt x="216" y="207"/>
                    </a:lnTo>
                    <a:lnTo>
                      <a:pt x="214" y="203"/>
                    </a:lnTo>
                    <a:lnTo>
                      <a:pt x="214" y="200"/>
                    </a:lnTo>
                    <a:lnTo>
                      <a:pt x="214" y="196"/>
                    </a:lnTo>
                    <a:lnTo>
                      <a:pt x="213" y="192"/>
                    </a:lnTo>
                    <a:lnTo>
                      <a:pt x="213" y="188"/>
                    </a:lnTo>
                    <a:lnTo>
                      <a:pt x="211" y="184"/>
                    </a:lnTo>
                    <a:lnTo>
                      <a:pt x="211" y="180"/>
                    </a:lnTo>
                    <a:lnTo>
                      <a:pt x="211" y="177"/>
                    </a:lnTo>
                    <a:lnTo>
                      <a:pt x="209" y="173"/>
                    </a:lnTo>
                    <a:lnTo>
                      <a:pt x="207" y="167"/>
                    </a:lnTo>
                    <a:lnTo>
                      <a:pt x="205" y="163"/>
                    </a:lnTo>
                    <a:lnTo>
                      <a:pt x="205" y="160"/>
                    </a:lnTo>
                    <a:lnTo>
                      <a:pt x="203" y="156"/>
                    </a:lnTo>
                    <a:lnTo>
                      <a:pt x="201" y="150"/>
                    </a:lnTo>
                    <a:lnTo>
                      <a:pt x="199" y="146"/>
                    </a:lnTo>
                    <a:lnTo>
                      <a:pt x="199" y="142"/>
                    </a:lnTo>
                    <a:lnTo>
                      <a:pt x="197" y="137"/>
                    </a:lnTo>
                    <a:lnTo>
                      <a:pt x="195" y="133"/>
                    </a:lnTo>
                    <a:lnTo>
                      <a:pt x="194" y="127"/>
                    </a:lnTo>
                    <a:lnTo>
                      <a:pt x="192" y="123"/>
                    </a:lnTo>
                    <a:lnTo>
                      <a:pt x="190" y="120"/>
                    </a:lnTo>
                    <a:lnTo>
                      <a:pt x="188" y="114"/>
                    </a:lnTo>
                    <a:lnTo>
                      <a:pt x="186" y="110"/>
                    </a:lnTo>
                    <a:lnTo>
                      <a:pt x="184" y="106"/>
                    </a:lnTo>
                    <a:lnTo>
                      <a:pt x="180" y="101"/>
                    </a:lnTo>
                    <a:lnTo>
                      <a:pt x="178" y="95"/>
                    </a:lnTo>
                    <a:lnTo>
                      <a:pt x="176" y="91"/>
                    </a:lnTo>
                    <a:lnTo>
                      <a:pt x="175" y="85"/>
                    </a:lnTo>
                    <a:lnTo>
                      <a:pt x="171" y="80"/>
                    </a:lnTo>
                    <a:lnTo>
                      <a:pt x="169" y="76"/>
                    </a:lnTo>
                    <a:lnTo>
                      <a:pt x="167" y="70"/>
                    </a:lnTo>
                    <a:lnTo>
                      <a:pt x="163" y="66"/>
                    </a:lnTo>
                    <a:lnTo>
                      <a:pt x="161" y="61"/>
                    </a:lnTo>
                    <a:lnTo>
                      <a:pt x="157" y="57"/>
                    </a:lnTo>
                    <a:lnTo>
                      <a:pt x="154" y="51"/>
                    </a:lnTo>
                    <a:lnTo>
                      <a:pt x="152" y="47"/>
                    </a:lnTo>
                    <a:lnTo>
                      <a:pt x="148" y="44"/>
                    </a:lnTo>
                    <a:lnTo>
                      <a:pt x="144" y="40"/>
                    </a:lnTo>
                    <a:lnTo>
                      <a:pt x="142" y="34"/>
                    </a:lnTo>
                    <a:lnTo>
                      <a:pt x="138" y="32"/>
                    </a:lnTo>
                    <a:lnTo>
                      <a:pt x="131" y="25"/>
                    </a:lnTo>
                    <a:lnTo>
                      <a:pt x="125" y="19"/>
                    </a:lnTo>
                    <a:lnTo>
                      <a:pt x="118" y="15"/>
                    </a:lnTo>
                    <a:lnTo>
                      <a:pt x="110" y="11"/>
                    </a:lnTo>
                    <a:lnTo>
                      <a:pt x="106" y="9"/>
                    </a:lnTo>
                    <a:lnTo>
                      <a:pt x="102" y="8"/>
                    </a:lnTo>
                    <a:lnTo>
                      <a:pt x="99" y="6"/>
                    </a:lnTo>
                    <a:lnTo>
                      <a:pt x="95" y="4"/>
                    </a:lnTo>
                    <a:lnTo>
                      <a:pt x="87" y="2"/>
                    </a:lnTo>
                    <a:lnTo>
                      <a:pt x="80" y="0"/>
                    </a:lnTo>
                    <a:lnTo>
                      <a:pt x="74" y="0"/>
                    </a:lnTo>
                    <a:lnTo>
                      <a:pt x="66" y="0"/>
                    </a:lnTo>
                    <a:lnTo>
                      <a:pt x="59" y="0"/>
                    </a:lnTo>
                    <a:lnTo>
                      <a:pt x="53" y="0"/>
                    </a:lnTo>
                    <a:lnTo>
                      <a:pt x="45" y="2"/>
                    </a:lnTo>
                    <a:lnTo>
                      <a:pt x="40" y="2"/>
                    </a:lnTo>
                    <a:lnTo>
                      <a:pt x="34" y="6"/>
                    </a:lnTo>
                    <a:lnTo>
                      <a:pt x="28" y="8"/>
                    </a:lnTo>
                    <a:lnTo>
                      <a:pt x="23" y="9"/>
                    </a:lnTo>
                    <a:lnTo>
                      <a:pt x="19" y="13"/>
                    </a:lnTo>
                    <a:lnTo>
                      <a:pt x="15" y="17"/>
                    </a:lnTo>
                    <a:lnTo>
                      <a:pt x="11" y="21"/>
                    </a:lnTo>
                    <a:lnTo>
                      <a:pt x="7" y="25"/>
                    </a:lnTo>
                    <a:lnTo>
                      <a:pt x="5" y="28"/>
                    </a:lnTo>
                    <a:lnTo>
                      <a:pt x="2" y="34"/>
                    </a:lnTo>
                    <a:lnTo>
                      <a:pt x="2" y="38"/>
                    </a:lnTo>
                    <a:lnTo>
                      <a:pt x="0" y="42"/>
                    </a:lnTo>
                    <a:lnTo>
                      <a:pt x="2" y="47"/>
                    </a:lnTo>
                    <a:lnTo>
                      <a:pt x="2" y="53"/>
                    </a:lnTo>
                    <a:lnTo>
                      <a:pt x="4" y="59"/>
                    </a:lnTo>
                    <a:lnTo>
                      <a:pt x="7" y="65"/>
                    </a:lnTo>
                    <a:lnTo>
                      <a:pt x="11" y="70"/>
                    </a:lnTo>
                    <a:lnTo>
                      <a:pt x="15" y="76"/>
                    </a:lnTo>
                    <a:lnTo>
                      <a:pt x="21" y="80"/>
                    </a:lnTo>
                    <a:lnTo>
                      <a:pt x="26" y="82"/>
                    </a:lnTo>
                    <a:lnTo>
                      <a:pt x="32" y="84"/>
                    </a:lnTo>
                    <a:lnTo>
                      <a:pt x="36" y="85"/>
                    </a:lnTo>
                    <a:lnTo>
                      <a:pt x="42" y="85"/>
                    </a:lnTo>
                    <a:lnTo>
                      <a:pt x="47" y="85"/>
                    </a:lnTo>
                    <a:lnTo>
                      <a:pt x="51" y="85"/>
                    </a:lnTo>
                    <a:lnTo>
                      <a:pt x="55" y="84"/>
                    </a:lnTo>
                    <a:lnTo>
                      <a:pt x="61" y="84"/>
                    </a:lnTo>
                    <a:lnTo>
                      <a:pt x="66" y="82"/>
                    </a:lnTo>
                    <a:lnTo>
                      <a:pt x="68" y="82"/>
                    </a:lnTo>
                    <a:lnTo>
                      <a:pt x="64" y="61"/>
                    </a:lnTo>
                    <a:lnTo>
                      <a:pt x="61" y="61"/>
                    </a:lnTo>
                    <a:lnTo>
                      <a:pt x="55" y="61"/>
                    </a:lnTo>
                    <a:lnTo>
                      <a:pt x="53" y="59"/>
                    </a:lnTo>
                    <a:lnTo>
                      <a:pt x="49" y="59"/>
                    </a:lnTo>
                    <a:lnTo>
                      <a:pt x="45" y="59"/>
                    </a:lnTo>
                    <a:lnTo>
                      <a:pt x="42" y="59"/>
                    </a:lnTo>
                    <a:lnTo>
                      <a:pt x="36" y="55"/>
                    </a:lnTo>
                    <a:lnTo>
                      <a:pt x="32" y="51"/>
                    </a:lnTo>
                    <a:lnTo>
                      <a:pt x="32" y="47"/>
                    </a:lnTo>
                    <a:lnTo>
                      <a:pt x="34" y="44"/>
                    </a:lnTo>
                    <a:lnTo>
                      <a:pt x="36" y="40"/>
                    </a:lnTo>
                    <a:lnTo>
                      <a:pt x="42" y="36"/>
                    </a:lnTo>
                    <a:lnTo>
                      <a:pt x="45" y="30"/>
                    </a:lnTo>
                    <a:lnTo>
                      <a:pt x="51" y="27"/>
                    </a:lnTo>
                    <a:lnTo>
                      <a:pt x="57" y="25"/>
                    </a:lnTo>
                    <a:lnTo>
                      <a:pt x="64" y="23"/>
                    </a:lnTo>
                    <a:lnTo>
                      <a:pt x="70" y="23"/>
                    </a:lnTo>
                    <a:lnTo>
                      <a:pt x="78" y="25"/>
                    </a:lnTo>
                    <a:lnTo>
                      <a:pt x="83" y="27"/>
                    </a:lnTo>
                    <a:lnTo>
                      <a:pt x="91" y="30"/>
                    </a:lnTo>
                    <a:lnTo>
                      <a:pt x="99" y="32"/>
                    </a:lnTo>
                    <a:lnTo>
                      <a:pt x="106" y="36"/>
                    </a:lnTo>
                    <a:lnTo>
                      <a:pt x="112" y="42"/>
                    </a:lnTo>
                    <a:lnTo>
                      <a:pt x="119" y="49"/>
                    </a:lnTo>
                    <a:lnTo>
                      <a:pt x="121" y="51"/>
                    </a:lnTo>
                    <a:lnTo>
                      <a:pt x="125" y="55"/>
                    </a:lnTo>
                    <a:lnTo>
                      <a:pt x="129" y="59"/>
                    </a:lnTo>
                    <a:lnTo>
                      <a:pt x="133" y="63"/>
                    </a:lnTo>
                    <a:lnTo>
                      <a:pt x="135" y="68"/>
                    </a:lnTo>
                    <a:lnTo>
                      <a:pt x="138" y="72"/>
                    </a:lnTo>
                    <a:lnTo>
                      <a:pt x="140" y="76"/>
                    </a:lnTo>
                    <a:lnTo>
                      <a:pt x="144" y="82"/>
                    </a:lnTo>
                    <a:lnTo>
                      <a:pt x="146" y="85"/>
                    </a:lnTo>
                    <a:lnTo>
                      <a:pt x="150" y="91"/>
                    </a:lnTo>
                    <a:lnTo>
                      <a:pt x="152" y="97"/>
                    </a:lnTo>
                    <a:lnTo>
                      <a:pt x="156" y="103"/>
                    </a:lnTo>
                    <a:lnTo>
                      <a:pt x="159" y="110"/>
                    </a:lnTo>
                    <a:lnTo>
                      <a:pt x="161" y="116"/>
                    </a:lnTo>
                    <a:lnTo>
                      <a:pt x="163" y="120"/>
                    </a:lnTo>
                    <a:lnTo>
                      <a:pt x="165" y="123"/>
                    </a:lnTo>
                    <a:lnTo>
                      <a:pt x="167" y="127"/>
                    </a:lnTo>
                    <a:lnTo>
                      <a:pt x="169" y="131"/>
                    </a:lnTo>
                    <a:lnTo>
                      <a:pt x="171" y="135"/>
                    </a:lnTo>
                    <a:lnTo>
                      <a:pt x="171" y="139"/>
                    </a:lnTo>
                    <a:lnTo>
                      <a:pt x="173" y="142"/>
                    </a:lnTo>
                    <a:lnTo>
                      <a:pt x="175" y="148"/>
                    </a:lnTo>
                    <a:lnTo>
                      <a:pt x="176" y="152"/>
                    </a:lnTo>
                    <a:lnTo>
                      <a:pt x="178" y="156"/>
                    </a:lnTo>
                    <a:lnTo>
                      <a:pt x="178" y="160"/>
                    </a:lnTo>
                    <a:lnTo>
                      <a:pt x="180" y="163"/>
                    </a:lnTo>
                    <a:lnTo>
                      <a:pt x="182" y="167"/>
                    </a:lnTo>
                    <a:lnTo>
                      <a:pt x="184" y="173"/>
                    </a:lnTo>
                    <a:lnTo>
                      <a:pt x="186" y="177"/>
                    </a:lnTo>
                    <a:lnTo>
                      <a:pt x="188" y="180"/>
                    </a:lnTo>
                    <a:lnTo>
                      <a:pt x="188" y="184"/>
                    </a:lnTo>
                    <a:lnTo>
                      <a:pt x="190" y="188"/>
                    </a:lnTo>
                    <a:lnTo>
                      <a:pt x="192" y="192"/>
                    </a:lnTo>
                    <a:lnTo>
                      <a:pt x="194" y="198"/>
                    </a:lnTo>
                    <a:lnTo>
                      <a:pt x="194" y="200"/>
                    </a:lnTo>
                    <a:lnTo>
                      <a:pt x="195" y="203"/>
                    </a:lnTo>
                    <a:lnTo>
                      <a:pt x="197" y="207"/>
                    </a:lnTo>
                    <a:lnTo>
                      <a:pt x="199" y="211"/>
                    </a:lnTo>
                    <a:lnTo>
                      <a:pt x="199" y="215"/>
                    </a:lnTo>
                    <a:lnTo>
                      <a:pt x="201" y="219"/>
                    </a:lnTo>
                    <a:lnTo>
                      <a:pt x="201" y="222"/>
                    </a:lnTo>
                    <a:lnTo>
                      <a:pt x="203" y="226"/>
                    </a:lnTo>
                    <a:lnTo>
                      <a:pt x="205" y="234"/>
                    </a:lnTo>
                    <a:lnTo>
                      <a:pt x="209" y="239"/>
                    </a:lnTo>
                    <a:lnTo>
                      <a:pt x="211" y="245"/>
                    </a:lnTo>
                    <a:lnTo>
                      <a:pt x="213" y="253"/>
                    </a:lnTo>
                    <a:lnTo>
                      <a:pt x="214" y="257"/>
                    </a:lnTo>
                    <a:lnTo>
                      <a:pt x="214" y="262"/>
                    </a:lnTo>
                    <a:lnTo>
                      <a:pt x="216" y="266"/>
                    </a:lnTo>
                    <a:lnTo>
                      <a:pt x="218" y="270"/>
                    </a:lnTo>
                    <a:lnTo>
                      <a:pt x="220" y="274"/>
                    </a:lnTo>
                    <a:lnTo>
                      <a:pt x="220" y="276"/>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64" name="Freeform 58"/>
              <p:cNvSpPr>
                <a:spLocks/>
              </p:cNvSpPr>
              <p:nvPr/>
            </p:nvSpPr>
            <p:spPr bwMode="auto">
              <a:xfrm>
                <a:off x="2274888" y="3427413"/>
                <a:ext cx="93663" cy="93663"/>
              </a:xfrm>
              <a:custGeom>
                <a:avLst/>
                <a:gdLst>
                  <a:gd name="T0" fmla="*/ 2147483646 w 117"/>
                  <a:gd name="T1" fmla="*/ 0 h 120"/>
                  <a:gd name="T2" fmla="*/ 2147483646 w 117"/>
                  <a:gd name="T3" fmla="*/ 0 h 120"/>
                  <a:gd name="T4" fmla="*/ 2147483646 w 117"/>
                  <a:gd name="T5" fmla="*/ 2147483646 h 120"/>
                  <a:gd name="T6" fmla="*/ 2147483646 w 117"/>
                  <a:gd name="T7" fmla="*/ 2147483646 h 120"/>
                  <a:gd name="T8" fmla="*/ 2147483646 w 117"/>
                  <a:gd name="T9" fmla="*/ 2147483646 h 120"/>
                  <a:gd name="T10" fmla="*/ 2147483646 w 117"/>
                  <a:gd name="T11" fmla="*/ 2147483646 h 120"/>
                  <a:gd name="T12" fmla="*/ 2147483646 w 117"/>
                  <a:gd name="T13" fmla="*/ 2147483646 h 120"/>
                  <a:gd name="T14" fmla="*/ 2147483646 w 117"/>
                  <a:gd name="T15" fmla="*/ 2147483646 h 120"/>
                  <a:gd name="T16" fmla="*/ 2147483646 w 117"/>
                  <a:gd name="T17" fmla="*/ 2147483646 h 120"/>
                  <a:gd name="T18" fmla="*/ 2147483646 w 117"/>
                  <a:gd name="T19" fmla="*/ 2147483646 h 120"/>
                  <a:gd name="T20" fmla="*/ 2147483646 w 117"/>
                  <a:gd name="T21" fmla="*/ 2147483646 h 120"/>
                  <a:gd name="T22" fmla="*/ 2147483646 w 117"/>
                  <a:gd name="T23" fmla="*/ 2147483646 h 120"/>
                  <a:gd name="T24" fmla="*/ 2147483646 w 117"/>
                  <a:gd name="T25" fmla="*/ 2147483646 h 120"/>
                  <a:gd name="T26" fmla="*/ 2147483646 w 117"/>
                  <a:gd name="T27" fmla="*/ 2147483646 h 120"/>
                  <a:gd name="T28" fmla="*/ 2147483646 w 117"/>
                  <a:gd name="T29" fmla="*/ 2147483646 h 120"/>
                  <a:gd name="T30" fmla="*/ 2147483646 w 117"/>
                  <a:gd name="T31" fmla="*/ 2147483646 h 120"/>
                  <a:gd name="T32" fmla="*/ 0 w 117"/>
                  <a:gd name="T33" fmla="*/ 2147483646 h 120"/>
                  <a:gd name="T34" fmla="*/ 2147483646 w 117"/>
                  <a:gd name="T35" fmla="*/ 2147483646 h 120"/>
                  <a:gd name="T36" fmla="*/ 2147483646 w 117"/>
                  <a:gd name="T37" fmla="*/ 2147483646 h 120"/>
                  <a:gd name="T38" fmla="*/ 2147483646 w 117"/>
                  <a:gd name="T39" fmla="*/ 2147483646 h 120"/>
                  <a:gd name="T40" fmla="*/ 2147483646 w 117"/>
                  <a:gd name="T41" fmla="*/ 2147483646 h 120"/>
                  <a:gd name="T42" fmla="*/ 2147483646 w 117"/>
                  <a:gd name="T43" fmla="*/ 2147483646 h 120"/>
                  <a:gd name="T44" fmla="*/ 2147483646 w 117"/>
                  <a:gd name="T45" fmla="*/ 2147483646 h 120"/>
                  <a:gd name="T46" fmla="*/ 2147483646 w 117"/>
                  <a:gd name="T47" fmla="*/ 2147483646 h 120"/>
                  <a:gd name="T48" fmla="*/ 2147483646 w 117"/>
                  <a:gd name="T49" fmla="*/ 2147483646 h 120"/>
                  <a:gd name="T50" fmla="*/ 2147483646 w 117"/>
                  <a:gd name="T51" fmla="*/ 2147483646 h 120"/>
                  <a:gd name="T52" fmla="*/ 2147483646 w 117"/>
                  <a:gd name="T53" fmla="*/ 2147483646 h 120"/>
                  <a:gd name="T54" fmla="*/ 2147483646 w 117"/>
                  <a:gd name="T55" fmla="*/ 2147483646 h 120"/>
                  <a:gd name="T56" fmla="*/ 2147483646 w 117"/>
                  <a:gd name="T57" fmla="*/ 2147483646 h 120"/>
                  <a:gd name="T58" fmla="*/ 2147483646 w 117"/>
                  <a:gd name="T59" fmla="*/ 2147483646 h 120"/>
                  <a:gd name="T60" fmla="*/ 2147483646 w 117"/>
                  <a:gd name="T61" fmla="*/ 2147483646 h 120"/>
                  <a:gd name="T62" fmla="*/ 2147483646 w 117"/>
                  <a:gd name="T63" fmla="*/ 2147483646 h 120"/>
                  <a:gd name="T64" fmla="*/ 2147483646 w 117"/>
                  <a:gd name="T65" fmla="*/ 2147483646 h 120"/>
                  <a:gd name="T66" fmla="*/ 2147483646 w 117"/>
                  <a:gd name="T67" fmla="*/ 0 h 1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7"/>
                  <a:gd name="T103" fmla="*/ 0 h 120"/>
                  <a:gd name="T104" fmla="*/ 117 w 117"/>
                  <a:gd name="T105" fmla="*/ 120 h 1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7" h="120">
                    <a:moveTo>
                      <a:pt x="104" y="0"/>
                    </a:moveTo>
                    <a:lnTo>
                      <a:pt x="102" y="0"/>
                    </a:lnTo>
                    <a:lnTo>
                      <a:pt x="100" y="0"/>
                    </a:lnTo>
                    <a:lnTo>
                      <a:pt x="95" y="0"/>
                    </a:lnTo>
                    <a:lnTo>
                      <a:pt x="89" y="2"/>
                    </a:lnTo>
                    <a:lnTo>
                      <a:pt x="85" y="2"/>
                    </a:lnTo>
                    <a:lnTo>
                      <a:pt x="81" y="4"/>
                    </a:lnTo>
                    <a:lnTo>
                      <a:pt x="78" y="4"/>
                    </a:lnTo>
                    <a:lnTo>
                      <a:pt x="74" y="8"/>
                    </a:lnTo>
                    <a:lnTo>
                      <a:pt x="70" y="8"/>
                    </a:lnTo>
                    <a:lnTo>
                      <a:pt x="66" y="10"/>
                    </a:lnTo>
                    <a:lnTo>
                      <a:pt x="60" y="12"/>
                    </a:lnTo>
                    <a:lnTo>
                      <a:pt x="57" y="15"/>
                    </a:lnTo>
                    <a:lnTo>
                      <a:pt x="51" y="17"/>
                    </a:lnTo>
                    <a:lnTo>
                      <a:pt x="47" y="21"/>
                    </a:lnTo>
                    <a:lnTo>
                      <a:pt x="41" y="25"/>
                    </a:lnTo>
                    <a:lnTo>
                      <a:pt x="38" y="29"/>
                    </a:lnTo>
                    <a:lnTo>
                      <a:pt x="34" y="32"/>
                    </a:lnTo>
                    <a:lnTo>
                      <a:pt x="30" y="38"/>
                    </a:lnTo>
                    <a:lnTo>
                      <a:pt x="24" y="44"/>
                    </a:lnTo>
                    <a:lnTo>
                      <a:pt x="22" y="50"/>
                    </a:lnTo>
                    <a:lnTo>
                      <a:pt x="17" y="57"/>
                    </a:lnTo>
                    <a:lnTo>
                      <a:pt x="13" y="63"/>
                    </a:lnTo>
                    <a:lnTo>
                      <a:pt x="11" y="67"/>
                    </a:lnTo>
                    <a:lnTo>
                      <a:pt x="9" y="70"/>
                    </a:lnTo>
                    <a:lnTo>
                      <a:pt x="9" y="74"/>
                    </a:lnTo>
                    <a:lnTo>
                      <a:pt x="7" y="78"/>
                    </a:lnTo>
                    <a:lnTo>
                      <a:pt x="5" y="82"/>
                    </a:lnTo>
                    <a:lnTo>
                      <a:pt x="5" y="86"/>
                    </a:lnTo>
                    <a:lnTo>
                      <a:pt x="3" y="91"/>
                    </a:lnTo>
                    <a:lnTo>
                      <a:pt x="3" y="95"/>
                    </a:lnTo>
                    <a:lnTo>
                      <a:pt x="2" y="101"/>
                    </a:lnTo>
                    <a:lnTo>
                      <a:pt x="0" y="105"/>
                    </a:lnTo>
                    <a:lnTo>
                      <a:pt x="0" y="110"/>
                    </a:lnTo>
                    <a:lnTo>
                      <a:pt x="0" y="116"/>
                    </a:lnTo>
                    <a:lnTo>
                      <a:pt x="19" y="120"/>
                    </a:lnTo>
                    <a:lnTo>
                      <a:pt x="19" y="118"/>
                    </a:lnTo>
                    <a:lnTo>
                      <a:pt x="19" y="116"/>
                    </a:lnTo>
                    <a:lnTo>
                      <a:pt x="19" y="112"/>
                    </a:lnTo>
                    <a:lnTo>
                      <a:pt x="21" y="108"/>
                    </a:lnTo>
                    <a:lnTo>
                      <a:pt x="22" y="101"/>
                    </a:lnTo>
                    <a:lnTo>
                      <a:pt x="24" y="95"/>
                    </a:lnTo>
                    <a:lnTo>
                      <a:pt x="26" y="91"/>
                    </a:lnTo>
                    <a:lnTo>
                      <a:pt x="28" y="88"/>
                    </a:lnTo>
                    <a:lnTo>
                      <a:pt x="30" y="84"/>
                    </a:lnTo>
                    <a:lnTo>
                      <a:pt x="32" y="80"/>
                    </a:lnTo>
                    <a:lnTo>
                      <a:pt x="34" y="76"/>
                    </a:lnTo>
                    <a:lnTo>
                      <a:pt x="38" y="70"/>
                    </a:lnTo>
                    <a:lnTo>
                      <a:pt x="40" y="67"/>
                    </a:lnTo>
                    <a:lnTo>
                      <a:pt x="43" y="63"/>
                    </a:lnTo>
                    <a:lnTo>
                      <a:pt x="47" y="59"/>
                    </a:lnTo>
                    <a:lnTo>
                      <a:pt x="51" y="55"/>
                    </a:lnTo>
                    <a:lnTo>
                      <a:pt x="57" y="51"/>
                    </a:lnTo>
                    <a:lnTo>
                      <a:pt x="62" y="48"/>
                    </a:lnTo>
                    <a:lnTo>
                      <a:pt x="66" y="44"/>
                    </a:lnTo>
                    <a:lnTo>
                      <a:pt x="74" y="40"/>
                    </a:lnTo>
                    <a:lnTo>
                      <a:pt x="79" y="36"/>
                    </a:lnTo>
                    <a:lnTo>
                      <a:pt x="87" y="34"/>
                    </a:lnTo>
                    <a:lnTo>
                      <a:pt x="89" y="32"/>
                    </a:lnTo>
                    <a:lnTo>
                      <a:pt x="93" y="31"/>
                    </a:lnTo>
                    <a:lnTo>
                      <a:pt x="97" y="29"/>
                    </a:lnTo>
                    <a:lnTo>
                      <a:pt x="100" y="29"/>
                    </a:lnTo>
                    <a:lnTo>
                      <a:pt x="104" y="27"/>
                    </a:lnTo>
                    <a:lnTo>
                      <a:pt x="108" y="27"/>
                    </a:lnTo>
                    <a:lnTo>
                      <a:pt x="114" y="25"/>
                    </a:lnTo>
                    <a:lnTo>
                      <a:pt x="117" y="25"/>
                    </a:lnTo>
                    <a:lnTo>
                      <a:pt x="104"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65" name="Freeform 60"/>
              <p:cNvSpPr>
                <a:spLocks/>
              </p:cNvSpPr>
              <p:nvPr/>
            </p:nvSpPr>
            <p:spPr bwMode="auto">
              <a:xfrm>
                <a:off x="2311401" y="3643313"/>
                <a:ext cx="136525" cy="146050"/>
              </a:xfrm>
              <a:custGeom>
                <a:avLst/>
                <a:gdLst>
                  <a:gd name="T0" fmla="*/ 2147483646 w 171"/>
                  <a:gd name="T1" fmla="*/ 2147483646 h 182"/>
                  <a:gd name="T2" fmla="*/ 2147483646 w 171"/>
                  <a:gd name="T3" fmla="*/ 2147483646 h 182"/>
                  <a:gd name="T4" fmla="*/ 2147483646 w 171"/>
                  <a:gd name="T5" fmla="*/ 2147483646 h 182"/>
                  <a:gd name="T6" fmla="*/ 2147483646 w 171"/>
                  <a:gd name="T7" fmla="*/ 2147483646 h 182"/>
                  <a:gd name="T8" fmla="*/ 2147483646 w 171"/>
                  <a:gd name="T9" fmla="*/ 2147483646 h 182"/>
                  <a:gd name="T10" fmla="*/ 2147483646 w 171"/>
                  <a:gd name="T11" fmla="*/ 2147483646 h 182"/>
                  <a:gd name="T12" fmla="*/ 2147483646 w 171"/>
                  <a:gd name="T13" fmla="*/ 2147483646 h 182"/>
                  <a:gd name="T14" fmla="*/ 2147483646 w 171"/>
                  <a:gd name="T15" fmla="*/ 2147483646 h 182"/>
                  <a:gd name="T16" fmla="*/ 2147483646 w 171"/>
                  <a:gd name="T17" fmla="*/ 2147483646 h 182"/>
                  <a:gd name="T18" fmla="*/ 2147483646 w 171"/>
                  <a:gd name="T19" fmla="*/ 2147483646 h 182"/>
                  <a:gd name="T20" fmla="*/ 2147483646 w 171"/>
                  <a:gd name="T21" fmla="*/ 2147483646 h 182"/>
                  <a:gd name="T22" fmla="*/ 2147483646 w 171"/>
                  <a:gd name="T23" fmla="*/ 2147483646 h 182"/>
                  <a:gd name="T24" fmla="*/ 2147483646 w 171"/>
                  <a:gd name="T25" fmla="*/ 2147483646 h 182"/>
                  <a:gd name="T26" fmla="*/ 2147483646 w 171"/>
                  <a:gd name="T27" fmla="*/ 2147483646 h 182"/>
                  <a:gd name="T28" fmla="*/ 2147483646 w 171"/>
                  <a:gd name="T29" fmla="*/ 2147483646 h 182"/>
                  <a:gd name="T30" fmla="*/ 2147483646 w 171"/>
                  <a:gd name="T31" fmla="*/ 2147483646 h 182"/>
                  <a:gd name="T32" fmla="*/ 2147483646 w 171"/>
                  <a:gd name="T33" fmla="*/ 2147483646 h 182"/>
                  <a:gd name="T34" fmla="*/ 2147483646 w 171"/>
                  <a:gd name="T35" fmla="*/ 2147483646 h 182"/>
                  <a:gd name="T36" fmla="*/ 2147483646 w 171"/>
                  <a:gd name="T37" fmla="*/ 2147483646 h 182"/>
                  <a:gd name="T38" fmla="*/ 2147483646 w 171"/>
                  <a:gd name="T39" fmla="*/ 2147483646 h 182"/>
                  <a:gd name="T40" fmla="*/ 2147483646 w 171"/>
                  <a:gd name="T41" fmla="*/ 2147483646 h 182"/>
                  <a:gd name="T42" fmla="*/ 2147483646 w 171"/>
                  <a:gd name="T43" fmla="*/ 2147483646 h 182"/>
                  <a:gd name="T44" fmla="*/ 2147483646 w 171"/>
                  <a:gd name="T45" fmla="*/ 2147483646 h 182"/>
                  <a:gd name="T46" fmla="*/ 2147483646 w 171"/>
                  <a:gd name="T47" fmla="*/ 2147483646 h 182"/>
                  <a:gd name="T48" fmla="*/ 2147483646 w 171"/>
                  <a:gd name="T49" fmla="*/ 2147483646 h 182"/>
                  <a:gd name="T50" fmla="*/ 2147483646 w 171"/>
                  <a:gd name="T51" fmla="*/ 2147483646 h 182"/>
                  <a:gd name="T52" fmla="*/ 2147483646 w 171"/>
                  <a:gd name="T53" fmla="*/ 2147483646 h 182"/>
                  <a:gd name="T54" fmla="*/ 2147483646 w 171"/>
                  <a:gd name="T55" fmla="*/ 2147483646 h 182"/>
                  <a:gd name="T56" fmla="*/ 2147483646 w 171"/>
                  <a:gd name="T57" fmla="*/ 2147483646 h 182"/>
                  <a:gd name="T58" fmla="*/ 2147483646 w 171"/>
                  <a:gd name="T59" fmla="*/ 2147483646 h 182"/>
                  <a:gd name="T60" fmla="*/ 0 w 171"/>
                  <a:gd name="T61" fmla="*/ 2147483646 h 182"/>
                  <a:gd name="T62" fmla="*/ 0 w 171"/>
                  <a:gd name="T63" fmla="*/ 2147483646 h 182"/>
                  <a:gd name="T64" fmla="*/ 0 w 171"/>
                  <a:gd name="T65" fmla="*/ 2147483646 h 182"/>
                  <a:gd name="T66" fmla="*/ 0 w 171"/>
                  <a:gd name="T67" fmla="*/ 2147483646 h 182"/>
                  <a:gd name="T68" fmla="*/ 2147483646 w 171"/>
                  <a:gd name="T69" fmla="*/ 2147483646 h 182"/>
                  <a:gd name="T70" fmla="*/ 2147483646 w 171"/>
                  <a:gd name="T71" fmla="*/ 2147483646 h 182"/>
                  <a:gd name="T72" fmla="*/ 2147483646 w 171"/>
                  <a:gd name="T73" fmla="*/ 2147483646 h 182"/>
                  <a:gd name="T74" fmla="*/ 2147483646 w 171"/>
                  <a:gd name="T75" fmla="*/ 2147483646 h 182"/>
                  <a:gd name="T76" fmla="*/ 2147483646 w 171"/>
                  <a:gd name="T77" fmla="*/ 2147483646 h 182"/>
                  <a:gd name="T78" fmla="*/ 2147483646 w 171"/>
                  <a:gd name="T79" fmla="*/ 2147483646 h 182"/>
                  <a:gd name="T80" fmla="*/ 2147483646 w 171"/>
                  <a:gd name="T81" fmla="*/ 2147483646 h 182"/>
                  <a:gd name="T82" fmla="*/ 2147483646 w 171"/>
                  <a:gd name="T83" fmla="*/ 2147483646 h 182"/>
                  <a:gd name="T84" fmla="*/ 2147483646 w 171"/>
                  <a:gd name="T85" fmla="*/ 2147483646 h 182"/>
                  <a:gd name="T86" fmla="*/ 2147483646 w 171"/>
                  <a:gd name="T87" fmla="*/ 2147483646 h 182"/>
                  <a:gd name="T88" fmla="*/ 2147483646 w 171"/>
                  <a:gd name="T89" fmla="*/ 2147483646 h 182"/>
                  <a:gd name="T90" fmla="*/ 2147483646 w 171"/>
                  <a:gd name="T91" fmla="*/ 2147483646 h 182"/>
                  <a:gd name="T92" fmla="*/ 2147483646 w 171"/>
                  <a:gd name="T93" fmla="*/ 0 h 182"/>
                  <a:gd name="T94" fmla="*/ 2147483646 w 171"/>
                  <a:gd name="T95" fmla="*/ 0 h 182"/>
                  <a:gd name="T96" fmla="*/ 2147483646 w 171"/>
                  <a:gd name="T97" fmla="*/ 0 h 182"/>
                  <a:gd name="T98" fmla="*/ 2147483646 w 171"/>
                  <a:gd name="T99" fmla="*/ 0 h 182"/>
                  <a:gd name="T100" fmla="*/ 2147483646 w 171"/>
                  <a:gd name="T101" fmla="*/ 2147483646 h 182"/>
                  <a:gd name="T102" fmla="*/ 2147483646 w 171"/>
                  <a:gd name="T103" fmla="*/ 2147483646 h 182"/>
                  <a:gd name="T104" fmla="*/ 2147483646 w 171"/>
                  <a:gd name="T105" fmla="*/ 2147483646 h 182"/>
                  <a:gd name="T106" fmla="*/ 2147483646 w 171"/>
                  <a:gd name="T107" fmla="*/ 2147483646 h 1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1"/>
                  <a:gd name="T163" fmla="*/ 0 h 182"/>
                  <a:gd name="T164" fmla="*/ 171 w 171"/>
                  <a:gd name="T165" fmla="*/ 182 h 1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1" h="182">
                    <a:moveTo>
                      <a:pt x="171" y="9"/>
                    </a:moveTo>
                    <a:lnTo>
                      <a:pt x="169" y="9"/>
                    </a:lnTo>
                    <a:lnTo>
                      <a:pt x="167" y="7"/>
                    </a:lnTo>
                    <a:lnTo>
                      <a:pt x="164" y="7"/>
                    </a:lnTo>
                    <a:lnTo>
                      <a:pt x="160" y="7"/>
                    </a:lnTo>
                    <a:lnTo>
                      <a:pt x="156" y="6"/>
                    </a:lnTo>
                    <a:lnTo>
                      <a:pt x="150" y="6"/>
                    </a:lnTo>
                    <a:lnTo>
                      <a:pt x="143" y="6"/>
                    </a:lnTo>
                    <a:lnTo>
                      <a:pt x="137" y="7"/>
                    </a:lnTo>
                    <a:lnTo>
                      <a:pt x="133" y="7"/>
                    </a:lnTo>
                    <a:lnTo>
                      <a:pt x="129" y="9"/>
                    </a:lnTo>
                    <a:lnTo>
                      <a:pt x="124" y="9"/>
                    </a:lnTo>
                    <a:lnTo>
                      <a:pt x="122" y="11"/>
                    </a:lnTo>
                    <a:lnTo>
                      <a:pt x="116" y="13"/>
                    </a:lnTo>
                    <a:lnTo>
                      <a:pt x="112" y="13"/>
                    </a:lnTo>
                    <a:lnTo>
                      <a:pt x="109" y="17"/>
                    </a:lnTo>
                    <a:lnTo>
                      <a:pt x="105" y="19"/>
                    </a:lnTo>
                    <a:lnTo>
                      <a:pt x="99" y="21"/>
                    </a:lnTo>
                    <a:lnTo>
                      <a:pt x="95" y="25"/>
                    </a:lnTo>
                    <a:lnTo>
                      <a:pt x="91" y="26"/>
                    </a:lnTo>
                    <a:lnTo>
                      <a:pt x="88" y="30"/>
                    </a:lnTo>
                    <a:lnTo>
                      <a:pt x="84" y="34"/>
                    </a:lnTo>
                    <a:lnTo>
                      <a:pt x="80" y="38"/>
                    </a:lnTo>
                    <a:lnTo>
                      <a:pt x="74" y="42"/>
                    </a:lnTo>
                    <a:lnTo>
                      <a:pt x="72" y="47"/>
                    </a:lnTo>
                    <a:lnTo>
                      <a:pt x="67" y="51"/>
                    </a:lnTo>
                    <a:lnTo>
                      <a:pt x="63" y="57"/>
                    </a:lnTo>
                    <a:lnTo>
                      <a:pt x="61" y="63"/>
                    </a:lnTo>
                    <a:lnTo>
                      <a:pt x="57" y="68"/>
                    </a:lnTo>
                    <a:lnTo>
                      <a:pt x="53" y="74"/>
                    </a:lnTo>
                    <a:lnTo>
                      <a:pt x="52" y="78"/>
                    </a:lnTo>
                    <a:lnTo>
                      <a:pt x="48" y="84"/>
                    </a:lnTo>
                    <a:lnTo>
                      <a:pt x="46" y="91"/>
                    </a:lnTo>
                    <a:lnTo>
                      <a:pt x="44" y="95"/>
                    </a:lnTo>
                    <a:lnTo>
                      <a:pt x="42" y="101"/>
                    </a:lnTo>
                    <a:lnTo>
                      <a:pt x="40" y="106"/>
                    </a:lnTo>
                    <a:lnTo>
                      <a:pt x="38" y="112"/>
                    </a:lnTo>
                    <a:lnTo>
                      <a:pt x="36" y="116"/>
                    </a:lnTo>
                    <a:lnTo>
                      <a:pt x="36" y="122"/>
                    </a:lnTo>
                    <a:lnTo>
                      <a:pt x="34" y="127"/>
                    </a:lnTo>
                    <a:lnTo>
                      <a:pt x="34" y="133"/>
                    </a:lnTo>
                    <a:lnTo>
                      <a:pt x="33" y="137"/>
                    </a:lnTo>
                    <a:lnTo>
                      <a:pt x="31" y="142"/>
                    </a:lnTo>
                    <a:lnTo>
                      <a:pt x="31" y="146"/>
                    </a:lnTo>
                    <a:lnTo>
                      <a:pt x="31" y="150"/>
                    </a:lnTo>
                    <a:lnTo>
                      <a:pt x="29" y="154"/>
                    </a:lnTo>
                    <a:lnTo>
                      <a:pt x="29" y="158"/>
                    </a:lnTo>
                    <a:lnTo>
                      <a:pt x="29" y="161"/>
                    </a:lnTo>
                    <a:lnTo>
                      <a:pt x="29" y="165"/>
                    </a:lnTo>
                    <a:lnTo>
                      <a:pt x="29" y="171"/>
                    </a:lnTo>
                    <a:lnTo>
                      <a:pt x="29" y="175"/>
                    </a:lnTo>
                    <a:lnTo>
                      <a:pt x="29" y="179"/>
                    </a:lnTo>
                    <a:lnTo>
                      <a:pt x="8" y="182"/>
                    </a:lnTo>
                    <a:lnTo>
                      <a:pt x="6" y="180"/>
                    </a:lnTo>
                    <a:lnTo>
                      <a:pt x="6" y="179"/>
                    </a:lnTo>
                    <a:lnTo>
                      <a:pt x="4" y="175"/>
                    </a:lnTo>
                    <a:lnTo>
                      <a:pt x="4" y="169"/>
                    </a:lnTo>
                    <a:lnTo>
                      <a:pt x="2" y="165"/>
                    </a:lnTo>
                    <a:lnTo>
                      <a:pt x="2" y="161"/>
                    </a:lnTo>
                    <a:lnTo>
                      <a:pt x="0" y="158"/>
                    </a:lnTo>
                    <a:lnTo>
                      <a:pt x="0" y="154"/>
                    </a:lnTo>
                    <a:lnTo>
                      <a:pt x="0" y="150"/>
                    </a:lnTo>
                    <a:lnTo>
                      <a:pt x="0" y="144"/>
                    </a:lnTo>
                    <a:lnTo>
                      <a:pt x="0" y="141"/>
                    </a:lnTo>
                    <a:lnTo>
                      <a:pt x="0" y="135"/>
                    </a:lnTo>
                    <a:lnTo>
                      <a:pt x="0" y="129"/>
                    </a:lnTo>
                    <a:lnTo>
                      <a:pt x="0" y="125"/>
                    </a:lnTo>
                    <a:lnTo>
                      <a:pt x="0" y="120"/>
                    </a:lnTo>
                    <a:lnTo>
                      <a:pt x="2" y="114"/>
                    </a:lnTo>
                    <a:lnTo>
                      <a:pt x="2" y="108"/>
                    </a:lnTo>
                    <a:lnTo>
                      <a:pt x="4" y="101"/>
                    </a:lnTo>
                    <a:lnTo>
                      <a:pt x="6" y="95"/>
                    </a:lnTo>
                    <a:lnTo>
                      <a:pt x="8" y="89"/>
                    </a:lnTo>
                    <a:lnTo>
                      <a:pt x="10" y="84"/>
                    </a:lnTo>
                    <a:lnTo>
                      <a:pt x="14" y="78"/>
                    </a:lnTo>
                    <a:lnTo>
                      <a:pt x="15" y="70"/>
                    </a:lnTo>
                    <a:lnTo>
                      <a:pt x="19" y="64"/>
                    </a:lnTo>
                    <a:lnTo>
                      <a:pt x="23" y="59"/>
                    </a:lnTo>
                    <a:lnTo>
                      <a:pt x="29" y="53"/>
                    </a:lnTo>
                    <a:lnTo>
                      <a:pt x="34" y="45"/>
                    </a:lnTo>
                    <a:lnTo>
                      <a:pt x="40" y="40"/>
                    </a:lnTo>
                    <a:lnTo>
                      <a:pt x="46" y="34"/>
                    </a:lnTo>
                    <a:lnTo>
                      <a:pt x="52" y="28"/>
                    </a:lnTo>
                    <a:lnTo>
                      <a:pt x="55" y="23"/>
                    </a:lnTo>
                    <a:lnTo>
                      <a:pt x="63" y="19"/>
                    </a:lnTo>
                    <a:lnTo>
                      <a:pt x="67" y="15"/>
                    </a:lnTo>
                    <a:lnTo>
                      <a:pt x="72" y="11"/>
                    </a:lnTo>
                    <a:lnTo>
                      <a:pt x="78" y="9"/>
                    </a:lnTo>
                    <a:lnTo>
                      <a:pt x="86" y="6"/>
                    </a:lnTo>
                    <a:lnTo>
                      <a:pt x="90" y="4"/>
                    </a:lnTo>
                    <a:lnTo>
                      <a:pt x="95" y="2"/>
                    </a:lnTo>
                    <a:lnTo>
                      <a:pt x="101" y="2"/>
                    </a:lnTo>
                    <a:lnTo>
                      <a:pt x="107" y="0"/>
                    </a:lnTo>
                    <a:lnTo>
                      <a:pt x="112" y="0"/>
                    </a:lnTo>
                    <a:lnTo>
                      <a:pt x="116" y="0"/>
                    </a:lnTo>
                    <a:lnTo>
                      <a:pt x="122" y="0"/>
                    </a:lnTo>
                    <a:lnTo>
                      <a:pt x="128" y="0"/>
                    </a:lnTo>
                    <a:lnTo>
                      <a:pt x="131" y="0"/>
                    </a:lnTo>
                    <a:lnTo>
                      <a:pt x="135" y="0"/>
                    </a:lnTo>
                    <a:lnTo>
                      <a:pt x="139" y="0"/>
                    </a:lnTo>
                    <a:lnTo>
                      <a:pt x="145" y="2"/>
                    </a:lnTo>
                    <a:lnTo>
                      <a:pt x="150" y="2"/>
                    </a:lnTo>
                    <a:lnTo>
                      <a:pt x="158" y="4"/>
                    </a:lnTo>
                    <a:lnTo>
                      <a:pt x="164" y="6"/>
                    </a:lnTo>
                    <a:lnTo>
                      <a:pt x="167" y="7"/>
                    </a:lnTo>
                    <a:lnTo>
                      <a:pt x="169" y="9"/>
                    </a:lnTo>
                    <a:lnTo>
                      <a:pt x="171" y="9"/>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66" name="Freeform 61"/>
              <p:cNvSpPr>
                <a:spLocks/>
              </p:cNvSpPr>
              <p:nvPr/>
            </p:nvSpPr>
            <p:spPr bwMode="auto">
              <a:xfrm>
                <a:off x="1838326" y="3695701"/>
                <a:ext cx="207963" cy="452438"/>
              </a:xfrm>
              <a:custGeom>
                <a:avLst/>
                <a:gdLst>
                  <a:gd name="T0" fmla="*/ 2147483646 w 262"/>
                  <a:gd name="T1" fmla="*/ 2147483646 h 571"/>
                  <a:gd name="T2" fmla="*/ 2147483646 w 262"/>
                  <a:gd name="T3" fmla="*/ 2147483646 h 571"/>
                  <a:gd name="T4" fmla="*/ 2147483646 w 262"/>
                  <a:gd name="T5" fmla="*/ 2147483646 h 571"/>
                  <a:gd name="T6" fmla="*/ 2147483646 w 262"/>
                  <a:gd name="T7" fmla="*/ 2147483646 h 571"/>
                  <a:gd name="T8" fmla="*/ 2147483646 w 262"/>
                  <a:gd name="T9" fmla="*/ 2147483646 h 571"/>
                  <a:gd name="T10" fmla="*/ 2147483646 w 262"/>
                  <a:gd name="T11" fmla="*/ 2147483646 h 571"/>
                  <a:gd name="T12" fmla="*/ 2147483646 w 262"/>
                  <a:gd name="T13" fmla="*/ 2147483646 h 571"/>
                  <a:gd name="T14" fmla="*/ 2147483646 w 262"/>
                  <a:gd name="T15" fmla="*/ 2147483646 h 571"/>
                  <a:gd name="T16" fmla="*/ 2147483646 w 262"/>
                  <a:gd name="T17" fmla="*/ 2147483646 h 571"/>
                  <a:gd name="T18" fmla="*/ 2147483646 w 262"/>
                  <a:gd name="T19" fmla="*/ 2147483646 h 571"/>
                  <a:gd name="T20" fmla="*/ 2147483646 w 262"/>
                  <a:gd name="T21" fmla="*/ 2147483646 h 571"/>
                  <a:gd name="T22" fmla="*/ 2147483646 w 262"/>
                  <a:gd name="T23" fmla="*/ 2147483646 h 571"/>
                  <a:gd name="T24" fmla="*/ 2147483646 w 262"/>
                  <a:gd name="T25" fmla="*/ 2147483646 h 571"/>
                  <a:gd name="T26" fmla="*/ 2147483646 w 262"/>
                  <a:gd name="T27" fmla="*/ 2147483646 h 571"/>
                  <a:gd name="T28" fmla="*/ 2147483646 w 262"/>
                  <a:gd name="T29" fmla="*/ 2147483646 h 571"/>
                  <a:gd name="T30" fmla="*/ 2147483646 w 262"/>
                  <a:gd name="T31" fmla="*/ 2147483646 h 571"/>
                  <a:gd name="T32" fmla="*/ 2147483646 w 262"/>
                  <a:gd name="T33" fmla="*/ 2147483646 h 571"/>
                  <a:gd name="T34" fmla="*/ 2147483646 w 262"/>
                  <a:gd name="T35" fmla="*/ 2147483646 h 571"/>
                  <a:gd name="T36" fmla="*/ 2147483646 w 262"/>
                  <a:gd name="T37" fmla="*/ 2147483646 h 571"/>
                  <a:gd name="T38" fmla="*/ 2147483646 w 262"/>
                  <a:gd name="T39" fmla="*/ 2147483646 h 571"/>
                  <a:gd name="T40" fmla="*/ 2147483646 w 262"/>
                  <a:gd name="T41" fmla="*/ 2147483646 h 571"/>
                  <a:gd name="T42" fmla="*/ 2147483646 w 262"/>
                  <a:gd name="T43" fmla="*/ 2147483646 h 571"/>
                  <a:gd name="T44" fmla="*/ 2147483646 w 262"/>
                  <a:gd name="T45" fmla="*/ 2147483646 h 571"/>
                  <a:gd name="T46" fmla="*/ 2147483646 w 262"/>
                  <a:gd name="T47" fmla="*/ 2147483646 h 571"/>
                  <a:gd name="T48" fmla="*/ 2147483646 w 262"/>
                  <a:gd name="T49" fmla="*/ 2147483646 h 571"/>
                  <a:gd name="T50" fmla="*/ 2147483646 w 262"/>
                  <a:gd name="T51" fmla="*/ 2147483646 h 571"/>
                  <a:gd name="T52" fmla="*/ 2147483646 w 262"/>
                  <a:gd name="T53" fmla="*/ 2147483646 h 571"/>
                  <a:gd name="T54" fmla="*/ 2147483646 w 262"/>
                  <a:gd name="T55" fmla="*/ 2147483646 h 571"/>
                  <a:gd name="T56" fmla="*/ 2147483646 w 262"/>
                  <a:gd name="T57" fmla="*/ 2147483646 h 571"/>
                  <a:gd name="T58" fmla="*/ 2147483646 w 262"/>
                  <a:gd name="T59" fmla="*/ 2147483646 h 571"/>
                  <a:gd name="T60" fmla="*/ 2147483646 w 262"/>
                  <a:gd name="T61" fmla="*/ 2147483646 h 571"/>
                  <a:gd name="T62" fmla="*/ 2147483646 w 262"/>
                  <a:gd name="T63" fmla="*/ 2147483646 h 571"/>
                  <a:gd name="T64" fmla="*/ 2147483646 w 262"/>
                  <a:gd name="T65" fmla="*/ 2147483646 h 571"/>
                  <a:gd name="T66" fmla="*/ 0 w 262"/>
                  <a:gd name="T67" fmla="*/ 2147483646 h 571"/>
                  <a:gd name="T68" fmla="*/ 2147483646 w 262"/>
                  <a:gd name="T69" fmla="*/ 2147483646 h 571"/>
                  <a:gd name="T70" fmla="*/ 2147483646 w 262"/>
                  <a:gd name="T71" fmla="*/ 2147483646 h 571"/>
                  <a:gd name="T72" fmla="*/ 2147483646 w 262"/>
                  <a:gd name="T73" fmla="*/ 2147483646 h 571"/>
                  <a:gd name="T74" fmla="*/ 2147483646 w 262"/>
                  <a:gd name="T75" fmla="*/ 2147483646 h 571"/>
                  <a:gd name="T76" fmla="*/ 2147483646 w 262"/>
                  <a:gd name="T77" fmla="*/ 2147483646 h 571"/>
                  <a:gd name="T78" fmla="*/ 2147483646 w 262"/>
                  <a:gd name="T79" fmla="*/ 2147483646 h 571"/>
                  <a:gd name="T80" fmla="*/ 2147483646 w 262"/>
                  <a:gd name="T81" fmla="*/ 2147483646 h 571"/>
                  <a:gd name="T82" fmla="*/ 2147483646 w 262"/>
                  <a:gd name="T83" fmla="*/ 2147483646 h 571"/>
                  <a:gd name="T84" fmla="*/ 2147483646 w 262"/>
                  <a:gd name="T85" fmla="*/ 2147483646 h 571"/>
                  <a:gd name="T86" fmla="*/ 2147483646 w 262"/>
                  <a:gd name="T87" fmla="*/ 2147483646 h 571"/>
                  <a:gd name="T88" fmla="*/ 2147483646 w 262"/>
                  <a:gd name="T89" fmla="*/ 2147483646 h 571"/>
                  <a:gd name="T90" fmla="*/ 2147483646 w 262"/>
                  <a:gd name="T91" fmla="*/ 2147483646 h 571"/>
                  <a:gd name="T92" fmla="*/ 2147483646 w 262"/>
                  <a:gd name="T93" fmla="*/ 2147483646 h 571"/>
                  <a:gd name="T94" fmla="*/ 2147483646 w 262"/>
                  <a:gd name="T95" fmla="*/ 2147483646 h 571"/>
                  <a:gd name="T96" fmla="*/ 2147483646 w 262"/>
                  <a:gd name="T97" fmla="*/ 2147483646 h 571"/>
                  <a:gd name="T98" fmla="*/ 2147483646 w 262"/>
                  <a:gd name="T99" fmla="*/ 2147483646 h 571"/>
                  <a:gd name="T100" fmla="*/ 2147483646 w 262"/>
                  <a:gd name="T101" fmla="*/ 2147483646 h 571"/>
                  <a:gd name="T102" fmla="*/ 2147483646 w 262"/>
                  <a:gd name="T103" fmla="*/ 2147483646 h 571"/>
                  <a:gd name="T104" fmla="*/ 2147483646 w 262"/>
                  <a:gd name="T105" fmla="*/ 2147483646 h 571"/>
                  <a:gd name="T106" fmla="*/ 2147483646 w 262"/>
                  <a:gd name="T107" fmla="*/ 2147483646 h 571"/>
                  <a:gd name="T108" fmla="*/ 2147483646 w 262"/>
                  <a:gd name="T109" fmla="*/ 2147483646 h 571"/>
                  <a:gd name="T110" fmla="*/ 2147483646 w 262"/>
                  <a:gd name="T111" fmla="*/ 2147483646 h 571"/>
                  <a:gd name="T112" fmla="*/ 2147483646 w 262"/>
                  <a:gd name="T113" fmla="*/ 2147483646 h 571"/>
                  <a:gd name="T114" fmla="*/ 2147483646 w 262"/>
                  <a:gd name="T115" fmla="*/ 2147483646 h 571"/>
                  <a:gd name="T116" fmla="*/ 2147483646 w 262"/>
                  <a:gd name="T117" fmla="*/ 2147483646 h 571"/>
                  <a:gd name="T118" fmla="*/ 2147483646 w 262"/>
                  <a:gd name="T119" fmla="*/ 2147483646 h 571"/>
                  <a:gd name="T120" fmla="*/ 2147483646 w 262"/>
                  <a:gd name="T121" fmla="*/ 0 h 57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2"/>
                  <a:gd name="T184" fmla="*/ 0 h 571"/>
                  <a:gd name="T185" fmla="*/ 262 w 262"/>
                  <a:gd name="T186" fmla="*/ 571 h 57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2" h="571">
                    <a:moveTo>
                      <a:pt x="262" y="0"/>
                    </a:moveTo>
                    <a:lnTo>
                      <a:pt x="262" y="0"/>
                    </a:lnTo>
                    <a:lnTo>
                      <a:pt x="260" y="2"/>
                    </a:lnTo>
                    <a:lnTo>
                      <a:pt x="254" y="4"/>
                    </a:lnTo>
                    <a:lnTo>
                      <a:pt x="249" y="8"/>
                    </a:lnTo>
                    <a:lnTo>
                      <a:pt x="243" y="12"/>
                    </a:lnTo>
                    <a:lnTo>
                      <a:pt x="235" y="20"/>
                    </a:lnTo>
                    <a:lnTo>
                      <a:pt x="231" y="21"/>
                    </a:lnTo>
                    <a:lnTo>
                      <a:pt x="228" y="25"/>
                    </a:lnTo>
                    <a:lnTo>
                      <a:pt x="224" y="29"/>
                    </a:lnTo>
                    <a:lnTo>
                      <a:pt x="220" y="35"/>
                    </a:lnTo>
                    <a:lnTo>
                      <a:pt x="214" y="39"/>
                    </a:lnTo>
                    <a:lnTo>
                      <a:pt x="211" y="42"/>
                    </a:lnTo>
                    <a:lnTo>
                      <a:pt x="205" y="48"/>
                    </a:lnTo>
                    <a:lnTo>
                      <a:pt x="201" y="54"/>
                    </a:lnTo>
                    <a:lnTo>
                      <a:pt x="195" y="58"/>
                    </a:lnTo>
                    <a:lnTo>
                      <a:pt x="192" y="65"/>
                    </a:lnTo>
                    <a:lnTo>
                      <a:pt x="186" y="71"/>
                    </a:lnTo>
                    <a:lnTo>
                      <a:pt x="180" y="78"/>
                    </a:lnTo>
                    <a:lnTo>
                      <a:pt x="176" y="84"/>
                    </a:lnTo>
                    <a:lnTo>
                      <a:pt x="171" y="92"/>
                    </a:lnTo>
                    <a:lnTo>
                      <a:pt x="169" y="96"/>
                    </a:lnTo>
                    <a:lnTo>
                      <a:pt x="167" y="97"/>
                    </a:lnTo>
                    <a:lnTo>
                      <a:pt x="165" y="103"/>
                    </a:lnTo>
                    <a:lnTo>
                      <a:pt x="163" y="107"/>
                    </a:lnTo>
                    <a:lnTo>
                      <a:pt x="161" y="111"/>
                    </a:lnTo>
                    <a:lnTo>
                      <a:pt x="159" y="115"/>
                    </a:lnTo>
                    <a:lnTo>
                      <a:pt x="155" y="118"/>
                    </a:lnTo>
                    <a:lnTo>
                      <a:pt x="154" y="122"/>
                    </a:lnTo>
                    <a:lnTo>
                      <a:pt x="152" y="128"/>
                    </a:lnTo>
                    <a:lnTo>
                      <a:pt x="152" y="132"/>
                    </a:lnTo>
                    <a:lnTo>
                      <a:pt x="150" y="137"/>
                    </a:lnTo>
                    <a:lnTo>
                      <a:pt x="148" y="141"/>
                    </a:lnTo>
                    <a:lnTo>
                      <a:pt x="146" y="145"/>
                    </a:lnTo>
                    <a:lnTo>
                      <a:pt x="144" y="149"/>
                    </a:lnTo>
                    <a:lnTo>
                      <a:pt x="142" y="154"/>
                    </a:lnTo>
                    <a:lnTo>
                      <a:pt x="140" y="158"/>
                    </a:lnTo>
                    <a:lnTo>
                      <a:pt x="138" y="162"/>
                    </a:lnTo>
                    <a:lnTo>
                      <a:pt x="138" y="168"/>
                    </a:lnTo>
                    <a:lnTo>
                      <a:pt x="136" y="172"/>
                    </a:lnTo>
                    <a:lnTo>
                      <a:pt x="136" y="175"/>
                    </a:lnTo>
                    <a:lnTo>
                      <a:pt x="135" y="179"/>
                    </a:lnTo>
                    <a:lnTo>
                      <a:pt x="133" y="185"/>
                    </a:lnTo>
                    <a:lnTo>
                      <a:pt x="131" y="189"/>
                    </a:lnTo>
                    <a:lnTo>
                      <a:pt x="131" y="192"/>
                    </a:lnTo>
                    <a:lnTo>
                      <a:pt x="131" y="196"/>
                    </a:lnTo>
                    <a:lnTo>
                      <a:pt x="129" y="202"/>
                    </a:lnTo>
                    <a:lnTo>
                      <a:pt x="129" y="206"/>
                    </a:lnTo>
                    <a:lnTo>
                      <a:pt x="129" y="212"/>
                    </a:lnTo>
                    <a:lnTo>
                      <a:pt x="127" y="215"/>
                    </a:lnTo>
                    <a:lnTo>
                      <a:pt x="127" y="219"/>
                    </a:lnTo>
                    <a:lnTo>
                      <a:pt x="127" y="223"/>
                    </a:lnTo>
                    <a:lnTo>
                      <a:pt x="127" y="227"/>
                    </a:lnTo>
                    <a:lnTo>
                      <a:pt x="125" y="231"/>
                    </a:lnTo>
                    <a:lnTo>
                      <a:pt x="125" y="236"/>
                    </a:lnTo>
                    <a:lnTo>
                      <a:pt x="125" y="240"/>
                    </a:lnTo>
                    <a:lnTo>
                      <a:pt x="125" y="244"/>
                    </a:lnTo>
                    <a:lnTo>
                      <a:pt x="125" y="248"/>
                    </a:lnTo>
                    <a:lnTo>
                      <a:pt x="125" y="253"/>
                    </a:lnTo>
                    <a:lnTo>
                      <a:pt x="125" y="257"/>
                    </a:lnTo>
                    <a:lnTo>
                      <a:pt x="125" y="261"/>
                    </a:lnTo>
                    <a:lnTo>
                      <a:pt x="125" y="265"/>
                    </a:lnTo>
                    <a:lnTo>
                      <a:pt x="125" y="270"/>
                    </a:lnTo>
                    <a:lnTo>
                      <a:pt x="125" y="274"/>
                    </a:lnTo>
                    <a:lnTo>
                      <a:pt x="127" y="278"/>
                    </a:lnTo>
                    <a:lnTo>
                      <a:pt x="127" y="282"/>
                    </a:lnTo>
                    <a:lnTo>
                      <a:pt x="127" y="288"/>
                    </a:lnTo>
                    <a:lnTo>
                      <a:pt x="127" y="291"/>
                    </a:lnTo>
                    <a:lnTo>
                      <a:pt x="127" y="295"/>
                    </a:lnTo>
                    <a:lnTo>
                      <a:pt x="127" y="299"/>
                    </a:lnTo>
                    <a:lnTo>
                      <a:pt x="127" y="303"/>
                    </a:lnTo>
                    <a:lnTo>
                      <a:pt x="127" y="307"/>
                    </a:lnTo>
                    <a:lnTo>
                      <a:pt x="129" y="312"/>
                    </a:lnTo>
                    <a:lnTo>
                      <a:pt x="129" y="316"/>
                    </a:lnTo>
                    <a:lnTo>
                      <a:pt x="129" y="320"/>
                    </a:lnTo>
                    <a:lnTo>
                      <a:pt x="129" y="324"/>
                    </a:lnTo>
                    <a:lnTo>
                      <a:pt x="129" y="329"/>
                    </a:lnTo>
                    <a:lnTo>
                      <a:pt x="129" y="333"/>
                    </a:lnTo>
                    <a:lnTo>
                      <a:pt x="131" y="337"/>
                    </a:lnTo>
                    <a:lnTo>
                      <a:pt x="131" y="341"/>
                    </a:lnTo>
                    <a:lnTo>
                      <a:pt x="133" y="346"/>
                    </a:lnTo>
                    <a:lnTo>
                      <a:pt x="133" y="350"/>
                    </a:lnTo>
                    <a:lnTo>
                      <a:pt x="133" y="354"/>
                    </a:lnTo>
                    <a:lnTo>
                      <a:pt x="135" y="358"/>
                    </a:lnTo>
                    <a:lnTo>
                      <a:pt x="135" y="364"/>
                    </a:lnTo>
                    <a:lnTo>
                      <a:pt x="135" y="367"/>
                    </a:lnTo>
                    <a:lnTo>
                      <a:pt x="136" y="371"/>
                    </a:lnTo>
                    <a:lnTo>
                      <a:pt x="136" y="375"/>
                    </a:lnTo>
                    <a:lnTo>
                      <a:pt x="138" y="381"/>
                    </a:lnTo>
                    <a:lnTo>
                      <a:pt x="138" y="384"/>
                    </a:lnTo>
                    <a:lnTo>
                      <a:pt x="138" y="388"/>
                    </a:lnTo>
                    <a:lnTo>
                      <a:pt x="138" y="392"/>
                    </a:lnTo>
                    <a:lnTo>
                      <a:pt x="140" y="398"/>
                    </a:lnTo>
                    <a:lnTo>
                      <a:pt x="142" y="402"/>
                    </a:lnTo>
                    <a:lnTo>
                      <a:pt x="142" y="405"/>
                    </a:lnTo>
                    <a:lnTo>
                      <a:pt x="142" y="411"/>
                    </a:lnTo>
                    <a:lnTo>
                      <a:pt x="144" y="415"/>
                    </a:lnTo>
                    <a:lnTo>
                      <a:pt x="144" y="421"/>
                    </a:lnTo>
                    <a:lnTo>
                      <a:pt x="144" y="424"/>
                    </a:lnTo>
                    <a:lnTo>
                      <a:pt x="144" y="428"/>
                    </a:lnTo>
                    <a:lnTo>
                      <a:pt x="146" y="432"/>
                    </a:lnTo>
                    <a:lnTo>
                      <a:pt x="146" y="436"/>
                    </a:lnTo>
                    <a:lnTo>
                      <a:pt x="146" y="440"/>
                    </a:lnTo>
                    <a:lnTo>
                      <a:pt x="146" y="443"/>
                    </a:lnTo>
                    <a:lnTo>
                      <a:pt x="146" y="447"/>
                    </a:lnTo>
                    <a:lnTo>
                      <a:pt x="146" y="453"/>
                    </a:lnTo>
                    <a:lnTo>
                      <a:pt x="146" y="461"/>
                    </a:lnTo>
                    <a:lnTo>
                      <a:pt x="146" y="466"/>
                    </a:lnTo>
                    <a:lnTo>
                      <a:pt x="144" y="472"/>
                    </a:lnTo>
                    <a:lnTo>
                      <a:pt x="144" y="478"/>
                    </a:lnTo>
                    <a:lnTo>
                      <a:pt x="142" y="483"/>
                    </a:lnTo>
                    <a:lnTo>
                      <a:pt x="140" y="487"/>
                    </a:lnTo>
                    <a:lnTo>
                      <a:pt x="138" y="493"/>
                    </a:lnTo>
                    <a:lnTo>
                      <a:pt x="136" y="495"/>
                    </a:lnTo>
                    <a:lnTo>
                      <a:pt x="135" y="500"/>
                    </a:lnTo>
                    <a:lnTo>
                      <a:pt x="131" y="502"/>
                    </a:lnTo>
                    <a:lnTo>
                      <a:pt x="129" y="506"/>
                    </a:lnTo>
                    <a:lnTo>
                      <a:pt x="125" y="508"/>
                    </a:lnTo>
                    <a:lnTo>
                      <a:pt x="121" y="510"/>
                    </a:lnTo>
                    <a:lnTo>
                      <a:pt x="117" y="512"/>
                    </a:lnTo>
                    <a:lnTo>
                      <a:pt x="116" y="514"/>
                    </a:lnTo>
                    <a:lnTo>
                      <a:pt x="110" y="516"/>
                    </a:lnTo>
                    <a:lnTo>
                      <a:pt x="106" y="518"/>
                    </a:lnTo>
                    <a:lnTo>
                      <a:pt x="102" y="518"/>
                    </a:lnTo>
                    <a:lnTo>
                      <a:pt x="98" y="519"/>
                    </a:lnTo>
                    <a:lnTo>
                      <a:pt x="95" y="519"/>
                    </a:lnTo>
                    <a:lnTo>
                      <a:pt x="91" y="519"/>
                    </a:lnTo>
                    <a:lnTo>
                      <a:pt x="85" y="518"/>
                    </a:lnTo>
                    <a:lnTo>
                      <a:pt x="81" y="518"/>
                    </a:lnTo>
                    <a:lnTo>
                      <a:pt x="76" y="518"/>
                    </a:lnTo>
                    <a:lnTo>
                      <a:pt x="70" y="516"/>
                    </a:lnTo>
                    <a:lnTo>
                      <a:pt x="66" y="516"/>
                    </a:lnTo>
                    <a:lnTo>
                      <a:pt x="60" y="514"/>
                    </a:lnTo>
                    <a:lnTo>
                      <a:pt x="55" y="512"/>
                    </a:lnTo>
                    <a:lnTo>
                      <a:pt x="51" y="512"/>
                    </a:lnTo>
                    <a:lnTo>
                      <a:pt x="47" y="510"/>
                    </a:lnTo>
                    <a:lnTo>
                      <a:pt x="43" y="508"/>
                    </a:lnTo>
                    <a:lnTo>
                      <a:pt x="38" y="502"/>
                    </a:lnTo>
                    <a:lnTo>
                      <a:pt x="36" y="499"/>
                    </a:lnTo>
                    <a:lnTo>
                      <a:pt x="34" y="493"/>
                    </a:lnTo>
                    <a:lnTo>
                      <a:pt x="34" y="489"/>
                    </a:lnTo>
                    <a:lnTo>
                      <a:pt x="36" y="483"/>
                    </a:lnTo>
                    <a:lnTo>
                      <a:pt x="38" y="478"/>
                    </a:lnTo>
                    <a:lnTo>
                      <a:pt x="41" y="472"/>
                    </a:lnTo>
                    <a:lnTo>
                      <a:pt x="45" y="468"/>
                    </a:lnTo>
                    <a:lnTo>
                      <a:pt x="51" y="464"/>
                    </a:lnTo>
                    <a:lnTo>
                      <a:pt x="57" y="461"/>
                    </a:lnTo>
                    <a:lnTo>
                      <a:pt x="62" y="457"/>
                    </a:lnTo>
                    <a:lnTo>
                      <a:pt x="68" y="455"/>
                    </a:lnTo>
                    <a:lnTo>
                      <a:pt x="76" y="455"/>
                    </a:lnTo>
                    <a:lnTo>
                      <a:pt x="81" y="455"/>
                    </a:lnTo>
                    <a:lnTo>
                      <a:pt x="68" y="434"/>
                    </a:lnTo>
                    <a:lnTo>
                      <a:pt x="66" y="434"/>
                    </a:lnTo>
                    <a:lnTo>
                      <a:pt x="60" y="434"/>
                    </a:lnTo>
                    <a:lnTo>
                      <a:pt x="57" y="436"/>
                    </a:lnTo>
                    <a:lnTo>
                      <a:pt x="51" y="438"/>
                    </a:lnTo>
                    <a:lnTo>
                      <a:pt x="45" y="440"/>
                    </a:lnTo>
                    <a:lnTo>
                      <a:pt x="40" y="442"/>
                    </a:lnTo>
                    <a:lnTo>
                      <a:pt x="34" y="445"/>
                    </a:lnTo>
                    <a:lnTo>
                      <a:pt x="26" y="449"/>
                    </a:lnTo>
                    <a:lnTo>
                      <a:pt x="21" y="453"/>
                    </a:lnTo>
                    <a:lnTo>
                      <a:pt x="15" y="459"/>
                    </a:lnTo>
                    <a:lnTo>
                      <a:pt x="9" y="464"/>
                    </a:lnTo>
                    <a:lnTo>
                      <a:pt x="7" y="468"/>
                    </a:lnTo>
                    <a:lnTo>
                      <a:pt x="5" y="470"/>
                    </a:lnTo>
                    <a:lnTo>
                      <a:pt x="2" y="476"/>
                    </a:lnTo>
                    <a:lnTo>
                      <a:pt x="2" y="480"/>
                    </a:lnTo>
                    <a:lnTo>
                      <a:pt x="0" y="483"/>
                    </a:lnTo>
                    <a:lnTo>
                      <a:pt x="0" y="487"/>
                    </a:lnTo>
                    <a:lnTo>
                      <a:pt x="0" y="493"/>
                    </a:lnTo>
                    <a:lnTo>
                      <a:pt x="0" y="499"/>
                    </a:lnTo>
                    <a:lnTo>
                      <a:pt x="0" y="502"/>
                    </a:lnTo>
                    <a:lnTo>
                      <a:pt x="0" y="506"/>
                    </a:lnTo>
                    <a:lnTo>
                      <a:pt x="2" y="512"/>
                    </a:lnTo>
                    <a:lnTo>
                      <a:pt x="3" y="518"/>
                    </a:lnTo>
                    <a:lnTo>
                      <a:pt x="5" y="521"/>
                    </a:lnTo>
                    <a:lnTo>
                      <a:pt x="7" y="525"/>
                    </a:lnTo>
                    <a:lnTo>
                      <a:pt x="11" y="531"/>
                    </a:lnTo>
                    <a:lnTo>
                      <a:pt x="15" y="535"/>
                    </a:lnTo>
                    <a:lnTo>
                      <a:pt x="17" y="538"/>
                    </a:lnTo>
                    <a:lnTo>
                      <a:pt x="21" y="542"/>
                    </a:lnTo>
                    <a:lnTo>
                      <a:pt x="24" y="546"/>
                    </a:lnTo>
                    <a:lnTo>
                      <a:pt x="30" y="550"/>
                    </a:lnTo>
                    <a:lnTo>
                      <a:pt x="34" y="554"/>
                    </a:lnTo>
                    <a:lnTo>
                      <a:pt x="38" y="556"/>
                    </a:lnTo>
                    <a:lnTo>
                      <a:pt x="43" y="559"/>
                    </a:lnTo>
                    <a:lnTo>
                      <a:pt x="49" y="563"/>
                    </a:lnTo>
                    <a:lnTo>
                      <a:pt x="55" y="563"/>
                    </a:lnTo>
                    <a:lnTo>
                      <a:pt x="60" y="565"/>
                    </a:lnTo>
                    <a:lnTo>
                      <a:pt x="66" y="567"/>
                    </a:lnTo>
                    <a:lnTo>
                      <a:pt x="72" y="569"/>
                    </a:lnTo>
                    <a:lnTo>
                      <a:pt x="78" y="569"/>
                    </a:lnTo>
                    <a:lnTo>
                      <a:pt x="83" y="571"/>
                    </a:lnTo>
                    <a:lnTo>
                      <a:pt x="89" y="571"/>
                    </a:lnTo>
                    <a:lnTo>
                      <a:pt x="95" y="571"/>
                    </a:lnTo>
                    <a:lnTo>
                      <a:pt x="100" y="569"/>
                    </a:lnTo>
                    <a:lnTo>
                      <a:pt x="108" y="567"/>
                    </a:lnTo>
                    <a:lnTo>
                      <a:pt x="114" y="565"/>
                    </a:lnTo>
                    <a:lnTo>
                      <a:pt x="119" y="563"/>
                    </a:lnTo>
                    <a:lnTo>
                      <a:pt x="125" y="559"/>
                    </a:lnTo>
                    <a:lnTo>
                      <a:pt x="131" y="557"/>
                    </a:lnTo>
                    <a:lnTo>
                      <a:pt x="138" y="554"/>
                    </a:lnTo>
                    <a:lnTo>
                      <a:pt x="144" y="548"/>
                    </a:lnTo>
                    <a:lnTo>
                      <a:pt x="150" y="544"/>
                    </a:lnTo>
                    <a:lnTo>
                      <a:pt x="154" y="538"/>
                    </a:lnTo>
                    <a:lnTo>
                      <a:pt x="159" y="533"/>
                    </a:lnTo>
                    <a:lnTo>
                      <a:pt x="163" y="527"/>
                    </a:lnTo>
                    <a:lnTo>
                      <a:pt x="167" y="521"/>
                    </a:lnTo>
                    <a:lnTo>
                      <a:pt x="169" y="516"/>
                    </a:lnTo>
                    <a:lnTo>
                      <a:pt x="173" y="510"/>
                    </a:lnTo>
                    <a:lnTo>
                      <a:pt x="176" y="504"/>
                    </a:lnTo>
                    <a:lnTo>
                      <a:pt x="176" y="497"/>
                    </a:lnTo>
                    <a:lnTo>
                      <a:pt x="178" y="491"/>
                    </a:lnTo>
                    <a:lnTo>
                      <a:pt x="180" y="485"/>
                    </a:lnTo>
                    <a:lnTo>
                      <a:pt x="182" y="480"/>
                    </a:lnTo>
                    <a:lnTo>
                      <a:pt x="184" y="472"/>
                    </a:lnTo>
                    <a:lnTo>
                      <a:pt x="184" y="464"/>
                    </a:lnTo>
                    <a:lnTo>
                      <a:pt x="186" y="457"/>
                    </a:lnTo>
                    <a:lnTo>
                      <a:pt x="186" y="449"/>
                    </a:lnTo>
                    <a:lnTo>
                      <a:pt x="186" y="445"/>
                    </a:lnTo>
                    <a:lnTo>
                      <a:pt x="186" y="442"/>
                    </a:lnTo>
                    <a:lnTo>
                      <a:pt x="186" y="438"/>
                    </a:lnTo>
                    <a:lnTo>
                      <a:pt x="186" y="434"/>
                    </a:lnTo>
                    <a:lnTo>
                      <a:pt x="184" y="428"/>
                    </a:lnTo>
                    <a:lnTo>
                      <a:pt x="184" y="424"/>
                    </a:lnTo>
                    <a:lnTo>
                      <a:pt x="184" y="421"/>
                    </a:lnTo>
                    <a:lnTo>
                      <a:pt x="184" y="417"/>
                    </a:lnTo>
                    <a:lnTo>
                      <a:pt x="184" y="411"/>
                    </a:lnTo>
                    <a:lnTo>
                      <a:pt x="184" y="407"/>
                    </a:lnTo>
                    <a:lnTo>
                      <a:pt x="184" y="402"/>
                    </a:lnTo>
                    <a:lnTo>
                      <a:pt x="184" y="398"/>
                    </a:lnTo>
                    <a:lnTo>
                      <a:pt x="182" y="394"/>
                    </a:lnTo>
                    <a:lnTo>
                      <a:pt x="182" y="388"/>
                    </a:lnTo>
                    <a:lnTo>
                      <a:pt x="182" y="384"/>
                    </a:lnTo>
                    <a:lnTo>
                      <a:pt x="182" y="379"/>
                    </a:lnTo>
                    <a:lnTo>
                      <a:pt x="180" y="373"/>
                    </a:lnTo>
                    <a:lnTo>
                      <a:pt x="180" y="367"/>
                    </a:lnTo>
                    <a:lnTo>
                      <a:pt x="180" y="362"/>
                    </a:lnTo>
                    <a:lnTo>
                      <a:pt x="178" y="358"/>
                    </a:lnTo>
                    <a:lnTo>
                      <a:pt x="178" y="352"/>
                    </a:lnTo>
                    <a:lnTo>
                      <a:pt x="178" y="346"/>
                    </a:lnTo>
                    <a:lnTo>
                      <a:pt x="176" y="341"/>
                    </a:lnTo>
                    <a:lnTo>
                      <a:pt x="176" y="335"/>
                    </a:lnTo>
                    <a:lnTo>
                      <a:pt x="176" y="329"/>
                    </a:lnTo>
                    <a:lnTo>
                      <a:pt x="176" y="324"/>
                    </a:lnTo>
                    <a:lnTo>
                      <a:pt x="174" y="318"/>
                    </a:lnTo>
                    <a:lnTo>
                      <a:pt x="174" y="310"/>
                    </a:lnTo>
                    <a:lnTo>
                      <a:pt x="174" y="305"/>
                    </a:lnTo>
                    <a:lnTo>
                      <a:pt x="173" y="299"/>
                    </a:lnTo>
                    <a:lnTo>
                      <a:pt x="173" y="293"/>
                    </a:lnTo>
                    <a:lnTo>
                      <a:pt x="173" y="286"/>
                    </a:lnTo>
                    <a:lnTo>
                      <a:pt x="171" y="280"/>
                    </a:lnTo>
                    <a:lnTo>
                      <a:pt x="171" y="272"/>
                    </a:lnTo>
                    <a:lnTo>
                      <a:pt x="171" y="265"/>
                    </a:lnTo>
                    <a:lnTo>
                      <a:pt x="171" y="259"/>
                    </a:lnTo>
                    <a:lnTo>
                      <a:pt x="169" y="253"/>
                    </a:lnTo>
                    <a:lnTo>
                      <a:pt x="169" y="246"/>
                    </a:lnTo>
                    <a:lnTo>
                      <a:pt x="171" y="238"/>
                    </a:lnTo>
                    <a:lnTo>
                      <a:pt x="171" y="232"/>
                    </a:lnTo>
                    <a:lnTo>
                      <a:pt x="171" y="227"/>
                    </a:lnTo>
                    <a:lnTo>
                      <a:pt x="171" y="219"/>
                    </a:lnTo>
                    <a:lnTo>
                      <a:pt x="173" y="212"/>
                    </a:lnTo>
                    <a:lnTo>
                      <a:pt x="174" y="206"/>
                    </a:lnTo>
                    <a:lnTo>
                      <a:pt x="174" y="200"/>
                    </a:lnTo>
                    <a:lnTo>
                      <a:pt x="176" y="194"/>
                    </a:lnTo>
                    <a:lnTo>
                      <a:pt x="176" y="187"/>
                    </a:lnTo>
                    <a:lnTo>
                      <a:pt x="178" y="181"/>
                    </a:lnTo>
                    <a:lnTo>
                      <a:pt x="180" y="173"/>
                    </a:lnTo>
                    <a:lnTo>
                      <a:pt x="180" y="168"/>
                    </a:lnTo>
                    <a:lnTo>
                      <a:pt x="182" y="162"/>
                    </a:lnTo>
                    <a:lnTo>
                      <a:pt x="184" y="156"/>
                    </a:lnTo>
                    <a:lnTo>
                      <a:pt x="186" y="149"/>
                    </a:lnTo>
                    <a:lnTo>
                      <a:pt x="188" y="145"/>
                    </a:lnTo>
                    <a:lnTo>
                      <a:pt x="192" y="137"/>
                    </a:lnTo>
                    <a:lnTo>
                      <a:pt x="193" y="132"/>
                    </a:lnTo>
                    <a:lnTo>
                      <a:pt x="195" y="126"/>
                    </a:lnTo>
                    <a:lnTo>
                      <a:pt x="197" y="120"/>
                    </a:lnTo>
                    <a:lnTo>
                      <a:pt x="199" y="115"/>
                    </a:lnTo>
                    <a:lnTo>
                      <a:pt x="201" y="111"/>
                    </a:lnTo>
                    <a:lnTo>
                      <a:pt x="203" y="105"/>
                    </a:lnTo>
                    <a:lnTo>
                      <a:pt x="207" y="99"/>
                    </a:lnTo>
                    <a:lnTo>
                      <a:pt x="209" y="94"/>
                    </a:lnTo>
                    <a:lnTo>
                      <a:pt x="211" y="90"/>
                    </a:lnTo>
                    <a:lnTo>
                      <a:pt x="212" y="84"/>
                    </a:lnTo>
                    <a:lnTo>
                      <a:pt x="214" y="80"/>
                    </a:lnTo>
                    <a:lnTo>
                      <a:pt x="218" y="75"/>
                    </a:lnTo>
                    <a:lnTo>
                      <a:pt x="220" y="71"/>
                    </a:lnTo>
                    <a:lnTo>
                      <a:pt x="222" y="65"/>
                    </a:lnTo>
                    <a:lnTo>
                      <a:pt x="224" y="61"/>
                    </a:lnTo>
                    <a:lnTo>
                      <a:pt x="226" y="58"/>
                    </a:lnTo>
                    <a:lnTo>
                      <a:pt x="230" y="54"/>
                    </a:lnTo>
                    <a:lnTo>
                      <a:pt x="231" y="48"/>
                    </a:lnTo>
                    <a:lnTo>
                      <a:pt x="233" y="44"/>
                    </a:lnTo>
                    <a:lnTo>
                      <a:pt x="235" y="40"/>
                    </a:lnTo>
                    <a:lnTo>
                      <a:pt x="237" y="37"/>
                    </a:lnTo>
                    <a:lnTo>
                      <a:pt x="241" y="31"/>
                    </a:lnTo>
                    <a:lnTo>
                      <a:pt x="247" y="25"/>
                    </a:lnTo>
                    <a:lnTo>
                      <a:pt x="249" y="20"/>
                    </a:lnTo>
                    <a:lnTo>
                      <a:pt x="252" y="14"/>
                    </a:lnTo>
                    <a:lnTo>
                      <a:pt x="254" y="10"/>
                    </a:lnTo>
                    <a:lnTo>
                      <a:pt x="258" y="6"/>
                    </a:lnTo>
                    <a:lnTo>
                      <a:pt x="262" y="2"/>
                    </a:lnTo>
                    <a:lnTo>
                      <a:pt x="262"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67" name="Freeform 62"/>
              <p:cNvSpPr>
                <a:spLocks/>
              </p:cNvSpPr>
              <p:nvPr/>
            </p:nvSpPr>
            <p:spPr bwMode="auto">
              <a:xfrm>
                <a:off x="1662113" y="3898901"/>
                <a:ext cx="212725" cy="261938"/>
              </a:xfrm>
              <a:custGeom>
                <a:avLst/>
                <a:gdLst>
                  <a:gd name="T0" fmla="*/ 2147483646 w 268"/>
                  <a:gd name="T1" fmla="*/ 2147483646 h 331"/>
                  <a:gd name="T2" fmla="*/ 2147483646 w 268"/>
                  <a:gd name="T3" fmla="*/ 2147483646 h 331"/>
                  <a:gd name="T4" fmla="*/ 2147483646 w 268"/>
                  <a:gd name="T5" fmla="*/ 2147483646 h 331"/>
                  <a:gd name="T6" fmla="*/ 2147483646 w 268"/>
                  <a:gd name="T7" fmla="*/ 2147483646 h 331"/>
                  <a:gd name="T8" fmla="*/ 2147483646 w 268"/>
                  <a:gd name="T9" fmla="*/ 2147483646 h 331"/>
                  <a:gd name="T10" fmla="*/ 2147483646 w 268"/>
                  <a:gd name="T11" fmla="*/ 2147483646 h 331"/>
                  <a:gd name="T12" fmla="*/ 2147483646 w 268"/>
                  <a:gd name="T13" fmla="*/ 2147483646 h 331"/>
                  <a:gd name="T14" fmla="*/ 2147483646 w 268"/>
                  <a:gd name="T15" fmla="*/ 2147483646 h 331"/>
                  <a:gd name="T16" fmla="*/ 2147483646 w 268"/>
                  <a:gd name="T17" fmla="*/ 2147483646 h 331"/>
                  <a:gd name="T18" fmla="*/ 2147483646 w 268"/>
                  <a:gd name="T19" fmla="*/ 2147483646 h 331"/>
                  <a:gd name="T20" fmla="*/ 2147483646 w 268"/>
                  <a:gd name="T21" fmla="*/ 2147483646 h 331"/>
                  <a:gd name="T22" fmla="*/ 2147483646 w 268"/>
                  <a:gd name="T23" fmla="*/ 2147483646 h 331"/>
                  <a:gd name="T24" fmla="*/ 2147483646 w 268"/>
                  <a:gd name="T25" fmla="*/ 2147483646 h 331"/>
                  <a:gd name="T26" fmla="*/ 2147483646 w 268"/>
                  <a:gd name="T27" fmla="*/ 2147483646 h 331"/>
                  <a:gd name="T28" fmla="*/ 2147483646 w 268"/>
                  <a:gd name="T29" fmla="*/ 2147483646 h 331"/>
                  <a:gd name="T30" fmla="*/ 2147483646 w 268"/>
                  <a:gd name="T31" fmla="*/ 2147483646 h 331"/>
                  <a:gd name="T32" fmla="*/ 2147483646 w 268"/>
                  <a:gd name="T33" fmla="*/ 2147483646 h 331"/>
                  <a:gd name="T34" fmla="*/ 2147483646 w 268"/>
                  <a:gd name="T35" fmla="*/ 2147483646 h 331"/>
                  <a:gd name="T36" fmla="*/ 2147483646 w 268"/>
                  <a:gd name="T37" fmla="*/ 2147483646 h 331"/>
                  <a:gd name="T38" fmla="*/ 2147483646 w 268"/>
                  <a:gd name="T39" fmla="*/ 2147483646 h 331"/>
                  <a:gd name="T40" fmla="*/ 0 w 268"/>
                  <a:gd name="T41" fmla="*/ 2147483646 h 331"/>
                  <a:gd name="T42" fmla="*/ 2147483646 w 268"/>
                  <a:gd name="T43" fmla="*/ 2147483646 h 331"/>
                  <a:gd name="T44" fmla="*/ 2147483646 w 268"/>
                  <a:gd name="T45" fmla="*/ 2147483646 h 331"/>
                  <a:gd name="T46" fmla="*/ 2147483646 w 268"/>
                  <a:gd name="T47" fmla="*/ 2147483646 h 331"/>
                  <a:gd name="T48" fmla="*/ 2147483646 w 268"/>
                  <a:gd name="T49" fmla="*/ 2147483646 h 331"/>
                  <a:gd name="T50" fmla="*/ 2147483646 w 268"/>
                  <a:gd name="T51" fmla="*/ 2147483646 h 331"/>
                  <a:gd name="T52" fmla="*/ 2147483646 w 268"/>
                  <a:gd name="T53" fmla="*/ 2147483646 h 331"/>
                  <a:gd name="T54" fmla="*/ 2147483646 w 268"/>
                  <a:gd name="T55" fmla="*/ 2147483646 h 331"/>
                  <a:gd name="T56" fmla="*/ 2147483646 w 268"/>
                  <a:gd name="T57" fmla="*/ 2147483646 h 331"/>
                  <a:gd name="T58" fmla="*/ 2147483646 w 268"/>
                  <a:gd name="T59" fmla="*/ 2147483646 h 331"/>
                  <a:gd name="T60" fmla="*/ 2147483646 w 268"/>
                  <a:gd name="T61" fmla="*/ 2147483646 h 331"/>
                  <a:gd name="T62" fmla="*/ 2147483646 w 268"/>
                  <a:gd name="T63" fmla="*/ 2147483646 h 331"/>
                  <a:gd name="T64" fmla="*/ 2147483646 w 268"/>
                  <a:gd name="T65" fmla="*/ 2147483646 h 331"/>
                  <a:gd name="T66" fmla="*/ 2147483646 w 268"/>
                  <a:gd name="T67" fmla="*/ 2147483646 h 331"/>
                  <a:gd name="T68" fmla="*/ 2147483646 w 268"/>
                  <a:gd name="T69" fmla="*/ 2147483646 h 331"/>
                  <a:gd name="T70" fmla="*/ 2147483646 w 268"/>
                  <a:gd name="T71" fmla="*/ 2147483646 h 331"/>
                  <a:gd name="T72" fmla="*/ 2147483646 w 268"/>
                  <a:gd name="T73" fmla="*/ 2147483646 h 331"/>
                  <a:gd name="T74" fmla="*/ 2147483646 w 268"/>
                  <a:gd name="T75" fmla="*/ 2147483646 h 331"/>
                  <a:gd name="T76" fmla="*/ 2147483646 w 268"/>
                  <a:gd name="T77" fmla="*/ 2147483646 h 331"/>
                  <a:gd name="T78" fmla="*/ 2147483646 w 268"/>
                  <a:gd name="T79" fmla="*/ 2147483646 h 331"/>
                  <a:gd name="T80" fmla="*/ 2147483646 w 268"/>
                  <a:gd name="T81" fmla="*/ 2147483646 h 331"/>
                  <a:gd name="T82" fmla="*/ 2147483646 w 268"/>
                  <a:gd name="T83" fmla="*/ 2147483646 h 331"/>
                  <a:gd name="T84" fmla="*/ 2147483646 w 268"/>
                  <a:gd name="T85" fmla="*/ 2147483646 h 331"/>
                  <a:gd name="T86" fmla="*/ 2147483646 w 268"/>
                  <a:gd name="T87" fmla="*/ 2147483646 h 331"/>
                  <a:gd name="T88" fmla="*/ 2147483646 w 268"/>
                  <a:gd name="T89" fmla="*/ 2147483646 h 331"/>
                  <a:gd name="T90" fmla="*/ 2147483646 w 268"/>
                  <a:gd name="T91" fmla="*/ 0 h 33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8"/>
                  <a:gd name="T139" fmla="*/ 0 h 331"/>
                  <a:gd name="T140" fmla="*/ 268 w 268"/>
                  <a:gd name="T141" fmla="*/ 331 h 33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8" h="331">
                    <a:moveTo>
                      <a:pt x="268" y="8"/>
                    </a:moveTo>
                    <a:lnTo>
                      <a:pt x="268" y="8"/>
                    </a:lnTo>
                    <a:lnTo>
                      <a:pt x="268" y="12"/>
                    </a:lnTo>
                    <a:lnTo>
                      <a:pt x="266" y="13"/>
                    </a:lnTo>
                    <a:lnTo>
                      <a:pt x="266" y="19"/>
                    </a:lnTo>
                    <a:lnTo>
                      <a:pt x="264" y="23"/>
                    </a:lnTo>
                    <a:lnTo>
                      <a:pt x="264" y="25"/>
                    </a:lnTo>
                    <a:lnTo>
                      <a:pt x="263" y="31"/>
                    </a:lnTo>
                    <a:lnTo>
                      <a:pt x="263" y="34"/>
                    </a:lnTo>
                    <a:lnTo>
                      <a:pt x="261" y="38"/>
                    </a:lnTo>
                    <a:lnTo>
                      <a:pt x="261" y="42"/>
                    </a:lnTo>
                    <a:lnTo>
                      <a:pt x="259" y="48"/>
                    </a:lnTo>
                    <a:lnTo>
                      <a:pt x="259" y="53"/>
                    </a:lnTo>
                    <a:lnTo>
                      <a:pt x="257" y="57"/>
                    </a:lnTo>
                    <a:lnTo>
                      <a:pt x="255" y="63"/>
                    </a:lnTo>
                    <a:lnTo>
                      <a:pt x="253" y="69"/>
                    </a:lnTo>
                    <a:lnTo>
                      <a:pt x="251" y="74"/>
                    </a:lnTo>
                    <a:lnTo>
                      <a:pt x="249" y="80"/>
                    </a:lnTo>
                    <a:lnTo>
                      <a:pt x="247" y="86"/>
                    </a:lnTo>
                    <a:lnTo>
                      <a:pt x="245" y="93"/>
                    </a:lnTo>
                    <a:lnTo>
                      <a:pt x="244" y="99"/>
                    </a:lnTo>
                    <a:lnTo>
                      <a:pt x="242" y="107"/>
                    </a:lnTo>
                    <a:lnTo>
                      <a:pt x="238" y="112"/>
                    </a:lnTo>
                    <a:lnTo>
                      <a:pt x="236" y="120"/>
                    </a:lnTo>
                    <a:lnTo>
                      <a:pt x="234" y="127"/>
                    </a:lnTo>
                    <a:lnTo>
                      <a:pt x="230" y="133"/>
                    </a:lnTo>
                    <a:lnTo>
                      <a:pt x="228" y="141"/>
                    </a:lnTo>
                    <a:lnTo>
                      <a:pt x="225" y="148"/>
                    </a:lnTo>
                    <a:lnTo>
                      <a:pt x="223" y="156"/>
                    </a:lnTo>
                    <a:lnTo>
                      <a:pt x="217" y="162"/>
                    </a:lnTo>
                    <a:lnTo>
                      <a:pt x="213" y="169"/>
                    </a:lnTo>
                    <a:lnTo>
                      <a:pt x="209" y="175"/>
                    </a:lnTo>
                    <a:lnTo>
                      <a:pt x="206" y="183"/>
                    </a:lnTo>
                    <a:lnTo>
                      <a:pt x="202" y="190"/>
                    </a:lnTo>
                    <a:lnTo>
                      <a:pt x="198" y="198"/>
                    </a:lnTo>
                    <a:lnTo>
                      <a:pt x="192" y="204"/>
                    </a:lnTo>
                    <a:lnTo>
                      <a:pt x="188" y="211"/>
                    </a:lnTo>
                    <a:lnTo>
                      <a:pt x="183" y="219"/>
                    </a:lnTo>
                    <a:lnTo>
                      <a:pt x="177" y="224"/>
                    </a:lnTo>
                    <a:lnTo>
                      <a:pt x="173" y="232"/>
                    </a:lnTo>
                    <a:lnTo>
                      <a:pt x="168" y="238"/>
                    </a:lnTo>
                    <a:lnTo>
                      <a:pt x="162" y="245"/>
                    </a:lnTo>
                    <a:lnTo>
                      <a:pt x="156" y="251"/>
                    </a:lnTo>
                    <a:lnTo>
                      <a:pt x="150" y="257"/>
                    </a:lnTo>
                    <a:lnTo>
                      <a:pt x="145" y="264"/>
                    </a:lnTo>
                    <a:lnTo>
                      <a:pt x="139" y="270"/>
                    </a:lnTo>
                    <a:lnTo>
                      <a:pt x="131" y="276"/>
                    </a:lnTo>
                    <a:lnTo>
                      <a:pt x="124" y="281"/>
                    </a:lnTo>
                    <a:lnTo>
                      <a:pt x="118" y="287"/>
                    </a:lnTo>
                    <a:lnTo>
                      <a:pt x="111" y="291"/>
                    </a:lnTo>
                    <a:lnTo>
                      <a:pt x="103" y="297"/>
                    </a:lnTo>
                    <a:lnTo>
                      <a:pt x="95" y="300"/>
                    </a:lnTo>
                    <a:lnTo>
                      <a:pt x="88" y="306"/>
                    </a:lnTo>
                    <a:lnTo>
                      <a:pt x="80" y="310"/>
                    </a:lnTo>
                    <a:lnTo>
                      <a:pt x="71" y="314"/>
                    </a:lnTo>
                    <a:lnTo>
                      <a:pt x="63" y="318"/>
                    </a:lnTo>
                    <a:lnTo>
                      <a:pt x="54" y="321"/>
                    </a:lnTo>
                    <a:lnTo>
                      <a:pt x="44" y="323"/>
                    </a:lnTo>
                    <a:lnTo>
                      <a:pt x="36" y="327"/>
                    </a:lnTo>
                    <a:lnTo>
                      <a:pt x="27" y="329"/>
                    </a:lnTo>
                    <a:lnTo>
                      <a:pt x="17" y="331"/>
                    </a:lnTo>
                    <a:lnTo>
                      <a:pt x="0" y="320"/>
                    </a:lnTo>
                    <a:lnTo>
                      <a:pt x="0" y="318"/>
                    </a:lnTo>
                    <a:lnTo>
                      <a:pt x="4" y="318"/>
                    </a:lnTo>
                    <a:lnTo>
                      <a:pt x="6" y="314"/>
                    </a:lnTo>
                    <a:lnTo>
                      <a:pt x="12" y="312"/>
                    </a:lnTo>
                    <a:lnTo>
                      <a:pt x="14" y="310"/>
                    </a:lnTo>
                    <a:lnTo>
                      <a:pt x="17" y="308"/>
                    </a:lnTo>
                    <a:lnTo>
                      <a:pt x="21" y="306"/>
                    </a:lnTo>
                    <a:lnTo>
                      <a:pt x="27" y="304"/>
                    </a:lnTo>
                    <a:lnTo>
                      <a:pt x="29" y="300"/>
                    </a:lnTo>
                    <a:lnTo>
                      <a:pt x="35" y="297"/>
                    </a:lnTo>
                    <a:lnTo>
                      <a:pt x="38" y="295"/>
                    </a:lnTo>
                    <a:lnTo>
                      <a:pt x="44" y="291"/>
                    </a:lnTo>
                    <a:lnTo>
                      <a:pt x="48" y="287"/>
                    </a:lnTo>
                    <a:lnTo>
                      <a:pt x="54" y="283"/>
                    </a:lnTo>
                    <a:lnTo>
                      <a:pt x="59" y="280"/>
                    </a:lnTo>
                    <a:lnTo>
                      <a:pt x="65" y="276"/>
                    </a:lnTo>
                    <a:lnTo>
                      <a:pt x="71" y="270"/>
                    </a:lnTo>
                    <a:lnTo>
                      <a:pt x="76" y="266"/>
                    </a:lnTo>
                    <a:lnTo>
                      <a:pt x="82" y="261"/>
                    </a:lnTo>
                    <a:lnTo>
                      <a:pt x="88" y="257"/>
                    </a:lnTo>
                    <a:lnTo>
                      <a:pt x="95" y="251"/>
                    </a:lnTo>
                    <a:lnTo>
                      <a:pt x="101" y="245"/>
                    </a:lnTo>
                    <a:lnTo>
                      <a:pt x="107" y="240"/>
                    </a:lnTo>
                    <a:lnTo>
                      <a:pt x="112" y="234"/>
                    </a:lnTo>
                    <a:lnTo>
                      <a:pt x="120" y="226"/>
                    </a:lnTo>
                    <a:lnTo>
                      <a:pt x="126" y="221"/>
                    </a:lnTo>
                    <a:lnTo>
                      <a:pt x="131" y="213"/>
                    </a:lnTo>
                    <a:lnTo>
                      <a:pt x="139" y="207"/>
                    </a:lnTo>
                    <a:lnTo>
                      <a:pt x="141" y="204"/>
                    </a:lnTo>
                    <a:lnTo>
                      <a:pt x="145" y="198"/>
                    </a:lnTo>
                    <a:lnTo>
                      <a:pt x="147" y="194"/>
                    </a:lnTo>
                    <a:lnTo>
                      <a:pt x="150" y="190"/>
                    </a:lnTo>
                    <a:lnTo>
                      <a:pt x="154" y="186"/>
                    </a:lnTo>
                    <a:lnTo>
                      <a:pt x="156" y="183"/>
                    </a:lnTo>
                    <a:lnTo>
                      <a:pt x="158" y="179"/>
                    </a:lnTo>
                    <a:lnTo>
                      <a:pt x="162" y="175"/>
                    </a:lnTo>
                    <a:lnTo>
                      <a:pt x="164" y="171"/>
                    </a:lnTo>
                    <a:lnTo>
                      <a:pt x="168" y="167"/>
                    </a:lnTo>
                    <a:lnTo>
                      <a:pt x="169" y="164"/>
                    </a:lnTo>
                    <a:lnTo>
                      <a:pt x="173" y="158"/>
                    </a:lnTo>
                    <a:lnTo>
                      <a:pt x="175" y="154"/>
                    </a:lnTo>
                    <a:lnTo>
                      <a:pt x="179" y="150"/>
                    </a:lnTo>
                    <a:lnTo>
                      <a:pt x="181" y="147"/>
                    </a:lnTo>
                    <a:lnTo>
                      <a:pt x="185" y="143"/>
                    </a:lnTo>
                    <a:lnTo>
                      <a:pt x="187" y="137"/>
                    </a:lnTo>
                    <a:lnTo>
                      <a:pt x="188" y="133"/>
                    </a:lnTo>
                    <a:lnTo>
                      <a:pt x="190" y="129"/>
                    </a:lnTo>
                    <a:lnTo>
                      <a:pt x="194" y="124"/>
                    </a:lnTo>
                    <a:lnTo>
                      <a:pt x="196" y="120"/>
                    </a:lnTo>
                    <a:lnTo>
                      <a:pt x="198" y="116"/>
                    </a:lnTo>
                    <a:lnTo>
                      <a:pt x="200" y="112"/>
                    </a:lnTo>
                    <a:lnTo>
                      <a:pt x="204" y="107"/>
                    </a:lnTo>
                    <a:lnTo>
                      <a:pt x="206" y="103"/>
                    </a:lnTo>
                    <a:lnTo>
                      <a:pt x="207" y="99"/>
                    </a:lnTo>
                    <a:lnTo>
                      <a:pt x="209" y="95"/>
                    </a:lnTo>
                    <a:lnTo>
                      <a:pt x="211" y="91"/>
                    </a:lnTo>
                    <a:lnTo>
                      <a:pt x="213" y="88"/>
                    </a:lnTo>
                    <a:lnTo>
                      <a:pt x="215" y="82"/>
                    </a:lnTo>
                    <a:lnTo>
                      <a:pt x="217" y="78"/>
                    </a:lnTo>
                    <a:lnTo>
                      <a:pt x="219" y="74"/>
                    </a:lnTo>
                    <a:lnTo>
                      <a:pt x="221" y="70"/>
                    </a:lnTo>
                    <a:lnTo>
                      <a:pt x="223" y="67"/>
                    </a:lnTo>
                    <a:lnTo>
                      <a:pt x="223" y="63"/>
                    </a:lnTo>
                    <a:lnTo>
                      <a:pt x="225" y="59"/>
                    </a:lnTo>
                    <a:lnTo>
                      <a:pt x="228" y="51"/>
                    </a:lnTo>
                    <a:lnTo>
                      <a:pt x="230" y="46"/>
                    </a:lnTo>
                    <a:lnTo>
                      <a:pt x="232" y="38"/>
                    </a:lnTo>
                    <a:lnTo>
                      <a:pt x="236" y="32"/>
                    </a:lnTo>
                    <a:lnTo>
                      <a:pt x="238" y="25"/>
                    </a:lnTo>
                    <a:lnTo>
                      <a:pt x="240" y="21"/>
                    </a:lnTo>
                    <a:lnTo>
                      <a:pt x="242" y="15"/>
                    </a:lnTo>
                    <a:lnTo>
                      <a:pt x="244" y="12"/>
                    </a:lnTo>
                    <a:lnTo>
                      <a:pt x="245" y="8"/>
                    </a:lnTo>
                    <a:lnTo>
                      <a:pt x="247" y="6"/>
                    </a:lnTo>
                    <a:lnTo>
                      <a:pt x="247" y="0"/>
                    </a:lnTo>
                    <a:lnTo>
                      <a:pt x="249" y="0"/>
                    </a:lnTo>
                    <a:lnTo>
                      <a:pt x="268" y="8"/>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68" name="Freeform 63"/>
              <p:cNvSpPr>
                <a:spLocks/>
              </p:cNvSpPr>
              <p:nvPr/>
            </p:nvSpPr>
            <p:spPr bwMode="auto">
              <a:xfrm>
                <a:off x="2051051" y="3563938"/>
                <a:ext cx="206375" cy="322263"/>
              </a:xfrm>
              <a:custGeom>
                <a:avLst/>
                <a:gdLst>
                  <a:gd name="T0" fmla="*/ 2147483646 w 260"/>
                  <a:gd name="T1" fmla="*/ 2147483646 h 407"/>
                  <a:gd name="T2" fmla="*/ 2147483646 w 260"/>
                  <a:gd name="T3" fmla="*/ 2147483646 h 407"/>
                  <a:gd name="T4" fmla="*/ 2147483646 w 260"/>
                  <a:gd name="T5" fmla="*/ 2147483646 h 407"/>
                  <a:gd name="T6" fmla="*/ 2147483646 w 260"/>
                  <a:gd name="T7" fmla="*/ 2147483646 h 407"/>
                  <a:gd name="T8" fmla="*/ 2147483646 w 260"/>
                  <a:gd name="T9" fmla="*/ 2147483646 h 407"/>
                  <a:gd name="T10" fmla="*/ 2147483646 w 260"/>
                  <a:gd name="T11" fmla="*/ 2147483646 h 407"/>
                  <a:gd name="T12" fmla="*/ 2147483646 w 260"/>
                  <a:gd name="T13" fmla="*/ 2147483646 h 407"/>
                  <a:gd name="T14" fmla="*/ 2147483646 w 260"/>
                  <a:gd name="T15" fmla="*/ 2147483646 h 407"/>
                  <a:gd name="T16" fmla="*/ 2147483646 w 260"/>
                  <a:gd name="T17" fmla="*/ 2147483646 h 407"/>
                  <a:gd name="T18" fmla="*/ 2147483646 w 260"/>
                  <a:gd name="T19" fmla="*/ 2147483646 h 407"/>
                  <a:gd name="T20" fmla="*/ 2147483646 w 260"/>
                  <a:gd name="T21" fmla="*/ 2147483646 h 407"/>
                  <a:gd name="T22" fmla="*/ 2147483646 w 260"/>
                  <a:gd name="T23" fmla="*/ 2147483646 h 407"/>
                  <a:gd name="T24" fmla="*/ 2147483646 w 260"/>
                  <a:gd name="T25" fmla="*/ 2147483646 h 407"/>
                  <a:gd name="T26" fmla="*/ 2147483646 w 260"/>
                  <a:gd name="T27" fmla="*/ 2147483646 h 407"/>
                  <a:gd name="T28" fmla="*/ 2147483646 w 260"/>
                  <a:gd name="T29" fmla="*/ 2147483646 h 407"/>
                  <a:gd name="T30" fmla="*/ 2147483646 w 260"/>
                  <a:gd name="T31" fmla="*/ 2147483646 h 407"/>
                  <a:gd name="T32" fmla="*/ 2147483646 w 260"/>
                  <a:gd name="T33" fmla="*/ 2147483646 h 407"/>
                  <a:gd name="T34" fmla="*/ 2147483646 w 260"/>
                  <a:gd name="T35" fmla="*/ 2147483646 h 407"/>
                  <a:gd name="T36" fmla="*/ 2147483646 w 260"/>
                  <a:gd name="T37" fmla="*/ 2147483646 h 407"/>
                  <a:gd name="T38" fmla="*/ 2147483646 w 260"/>
                  <a:gd name="T39" fmla="*/ 2147483646 h 407"/>
                  <a:gd name="T40" fmla="*/ 2147483646 w 260"/>
                  <a:gd name="T41" fmla="*/ 2147483646 h 407"/>
                  <a:gd name="T42" fmla="*/ 2147483646 w 260"/>
                  <a:gd name="T43" fmla="*/ 2147483646 h 407"/>
                  <a:gd name="T44" fmla="*/ 2147483646 w 260"/>
                  <a:gd name="T45" fmla="*/ 2147483646 h 407"/>
                  <a:gd name="T46" fmla="*/ 2147483646 w 260"/>
                  <a:gd name="T47" fmla="*/ 2147483646 h 407"/>
                  <a:gd name="T48" fmla="*/ 2147483646 w 260"/>
                  <a:gd name="T49" fmla="*/ 2147483646 h 407"/>
                  <a:gd name="T50" fmla="*/ 2147483646 w 260"/>
                  <a:gd name="T51" fmla="*/ 2147483646 h 407"/>
                  <a:gd name="T52" fmla="*/ 2147483646 w 260"/>
                  <a:gd name="T53" fmla="*/ 2147483646 h 407"/>
                  <a:gd name="T54" fmla="*/ 2147483646 w 260"/>
                  <a:gd name="T55" fmla="*/ 2147483646 h 407"/>
                  <a:gd name="T56" fmla="*/ 2147483646 w 260"/>
                  <a:gd name="T57" fmla="*/ 0 h 407"/>
                  <a:gd name="T58" fmla="*/ 2147483646 w 260"/>
                  <a:gd name="T59" fmla="*/ 2147483646 h 407"/>
                  <a:gd name="T60" fmla="*/ 2147483646 w 260"/>
                  <a:gd name="T61" fmla="*/ 2147483646 h 407"/>
                  <a:gd name="T62" fmla="*/ 2147483646 w 260"/>
                  <a:gd name="T63" fmla="*/ 2147483646 h 407"/>
                  <a:gd name="T64" fmla="*/ 2147483646 w 260"/>
                  <a:gd name="T65" fmla="*/ 2147483646 h 407"/>
                  <a:gd name="T66" fmla="*/ 2147483646 w 260"/>
                  <a:gd name="T67" fmla="*/ 2147483646 h 407"/>
                  <a:gd name="T68" fmla="*/ 2147483646 w 260"/>
                  <a:gd name="T69" fmla="*/ 2147483646 h 407"/>
                  <a:gd name="T70" fmla="*/ 2147483646 w 260"/>
                  <a:gd name="T71" fmla="*/ 2147483646 h 407"/>
                  <a:gd name="T72" fmla="*/ 2147483646 w 260"/>
                  <a:gd name="T73" fmla="*/ 2147483646 h 407"/>
                  <a:gd name="T74" fmla="*/ 2147483646 w 260"/>
                  <a:gd name="T75" fmla="*/ 2147483646 h 407"/>
                  <a:gd name="T76" fmla="*/ 2147483646 w 260"/>
                  <a:gd name="T77" fmla="*/ 2147483646 h 407"/>
                  <a:gd name="T78" fmla="*/ 2147483646 w 260"/>
                  <a:gd name="T79" fmla="*/ 2147483646 h 407"/>
                  <a:gd name="T80" fmla="*/ 2147483646 w 260"/>
                  <a:gd name="T81" fmla="*/ 2147483646 h 407"/>
                  <a:gd name="T82" fmla="*/ 2147483646 w 260"/>
                  <a:gd name="T83" fmla="*/ 2147483646 h 407"/>
                  <a:gd name="T84" fmla="*/ 2147483646 w 260"/>
                  <a:gd name="T85" fmla="*/ 2147483646 h 407"/>
                  <a:gd name="T86" fmla="*/ 2147483646 w 260"/>
                  <a:gd name="T87" fmla="*/ 2147483646 h 407"/>
                  <a:gd name="T88" fmla="*/ 2147483646 w 260"/>
                  <a:gd name="T89" fmla="*/ 2147483646 h 407"/>
                  <a:gd name="T90" fmla="*/ 2147483646 w 260"/>
                  <a:gd name="T91" fmla="*/ 2147483646 h 407"/>
                  <a:gd name="T92" fmla="*/ 2147483646 w 260"/>
                  <a:gd name="T93" fmla="*/ 2147483646 h 407"/>
                  <a:gd name="T94" fmla="*/ 2147483646 w 260"/>
                  <a:gd name="T95" fmla="*/ 2147483646 h 407"/>
                  <a:gd name="T96" fmla="*/ 2147483646 w 260"/>
                  <a:gd name="T97" fmla="*/ 2147483646 h 407"/>
                  <a:gd name="T98" fmla="*/ 2147483646 w 260"/>
                  <a:gd name="T99" fmla="*/ 2147483646 h 407"/>
                  <a:gd name="T100" fmla="*/ 2147483646 w 260"/>
                  <a:gd name="T101" fmla="*/ 2147483646 h 407"/>
                  <a:gd name="T102" fmla="*/ 2147483646 w 260"/>
                  <a:gd name="T103" fmla="*/ 2147483646 h 407"/>
                  <a:gd name="T104" fmla="*/ 2147483646 w 260"/>
                  <a:gd name="T105" fmla="*/ 2147483646 h 407"/>
                  <a:gd name="T106" fmla="*/ 2147483646 w 260"/>
                  <a:gd name="T107" fmla="*/ 2147483646 h 407"/>
                  <a:gd name="T108" fmla="*/ 2147483646 w 260"/>
                  <a:gd name="T109" fmla="*/ 2147483646 h 407"/>
                  <a:gd name="T110" fmla="*/ 2147483646 w 260"/>
                  <a:gd name="T111" fmla="*/ 2147483646 h 407"/>
                  <a:gd name="T112" fmla="*/ 2147483646 w 260"/>
                  <a:gd name="T113" fmla="*/ 2147483646 h 407"/>
                  <a:gd name="T114" fmla="*/ 2147483646 w 260"/>
                  <a:gd name="T115" fmla="*/ 2147483646 h 407"/>
                  <a:gd name="T116" fmla="*/ 2147483646 w 260"/>
                  <a:gd name="T117" fmla="*/ 2147483646 h 407"/>
                  <a:gd name="T118" fmla="*/ 2147483646 w 260"/>
                  <a:gd name="T119" fmla="*/ 2147483646 h 407"/>
                  <a:gd name="T120" fmla="*/ 0 w 260"/>
                  <a:gd name="T121" fmla="*/ 2147483646 h 4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0"/>
                  <a:gd name="T184" fmla="*/ 0 h 407"/>
                  <a:gd name="T185" fmla="*/ 260 w 260"/>
                  <a:gd name="T186" fmla="*/ 407 h 4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0" h="407">
                    <a:moveTo>
                      <a:pt x="0" y="399"/>
                    </a:moveTo>
                    <a:lnTo>
                      <a:pt x="1" y="397"/>
                    </a:lnTo>
                    <a:lnTo>
                      <a:pt x="5" y="396"/>
                    </a:lnTo>
                    <a:lnTo>
                      <a:pt x="7" y="394"/>
                    </a:lnTo>
                    <a:lnTo>
                      <a:pt x="11" y="392"/>
                    </a:lnTo>
                    <a:lnTo>
                      <a:pt x="15" y="388"/>
                    </a:lnTo>
                    <a:lnTo>
                      <a:pt x="20" y="386"/>
                    </a:lnTo>
                    <a:lnTo>
                      <a:pt x="24" y="380"/>
                    </a:lnTo>
                    <a:lnTo>
                      <a:pt x="30" y="377"/>
                    </a:lnTo>
                    <a:lnTo>
                      <a:pt x="34" y="373"/>
                    </a:lnTo>
                    <a:lnTo>
                      <a:pt x="39" y="369"/>
                    </a:lnTo>
                    <a:lnTo>
                      <a:pt x="45" y="363"/>
                    </a:lnTo>
                    <a:lnTo>
                      <a:pt x="51" y="357"/>
                    </a:lnTo>
                    <a:lnTo>
                      <a:pt x="57" y="352"/>
                    </a:lnTo>
                    <a:lnTo>
                      <a:pt x="64" y="346"/>
                    </a:lnTo>
                    <a:lnTo>
                      <a:pt x="70" y="338"/>
                    </a:lnTo>
                    <a:lnTo>
                      <a:pt x="76" y="333"/>
                    </a:lnTo>
                    <a:lnTo>
                      <a:pt x="77" y="327"/>
                    </a:lnTo>
                    <a:lnTo>
                      <a:pt x="79" y="323"/>
                    </a:lnTo>
                    <a:lnTo>
                      <a:pt x="81" y="319"/>
                    </a:lnTo>
                    <a:lnTo>
                      <a:pt x="85" y="316"/>
                    </a:lnTo>
                    <a:lnTo>
                      <a:pt x="87" y="312"/>
                    </a:lnTo>
                    <a:lnTo>
                      <a:pt x="91" y="308"/>
                    </a:lnTo>
                    <a:lnTo>
                      <a:pt x="93" y="302"/>
                    </a:lnTo>
                    <a:lnTo>
                      <a:pt x="95" y="299"/>
                    </a:lnTo>
                    <a:lnTo>
                      <a:pt x="96" y="295"/>
                    </a:lnTo>
                    <a:lnTo>
                      <a:pt x="100" y="289"/>
                    </a:lnTo>
                    <a:lnTo>
                      <a:pt x="102" y="285"/>
                    </a:lnTo>
                    <a:lnTo>
                      <a:pt x="104" y="280"/>
                    </a:lnTo>
                    <a:lnTo>
                      <a:pt x="104" y="276"/>
                    </a:lnTo>
                    <a:lnTo>
                      <a:pt x="106" y="270"/>
                    </a:lnTo>
                    <a:lnTo>
                      <a:pt x="108" y="264"/>
                    </a:lnTo>
                    <a:lnTo>
                      <a:pt x="110" y="261"/>
                    </a:lnTo>
                    <a:lnTo>
                      <a:pt x="110" y="255"/>
                    </a:lnTo>
                    <a:lnTo>
                      <a:pt x="112" y="249"/>
                    </a:lnTo>
                    <a:lnTo>
                      <a:pt x="112" y="243"/>
                    </a:lnTo>
                    <a:lnTo>
                      <a:pt x="114" y="238"/>
                    </a:lnTo>
                    <a:lnTo>
                      <a:pt x="114" y="232"/>
                    </a:lnTo>
                    <a:lnTo>
                      <a:pt x="114" y="226"/>
                    </a:lnTo>
                    <a:lnTo>
                      <a:pt x="114" y="221"/>
                    </a:lnTo>
                    <a:lnTo>
                      <a:pt x="115" y="215"/>
                    </a:lnTo>
                    <a:lnTo>
                      <a:pt x="114" y="209"/>
                    </a:lnTo>
                    <a:lnTo>
                      <a:pt x="114" y="204"/>
                    </a:lnTo>
                    <a:lnTo>
                      <a:pt x="114" y="196"/>
                    </a:lnTo>
                    <a:lnTo>
                      <a:pt x="114" y="190"/>
                    </a:lnTo>
                    <a:lnTo>
                      <a:pt x="112" y="185"/>
                    </a:lnTo>
                    <a:lnTo>
                      <a:pt x="112" y="181"/>
                    </a:lnTo>
                    <a:lnTo>
                      <a:pt x="112" y="175"/>
                    </a:lnTo>
                    <a:lnTo>
                      <a:pt x="112" y="169"/>
                    </a:lnTo>
                    <a:lnTo>
                      <a:pt x="110" y="165"/>
                    </a:lnTo>
                    <a:lnTo>
                      <a:pt x="110" y="160"/>
                    </a:lnTo>
                    <a:lnTo>
                      <a:pt x="110" y="156"/>
                    </a:lnTo>
                    <a:lnTo>
                      <a:pt x="110" y="152"/>
                    </a:lnTo>
                    <a:lnTo>
                      <a:pt x="110" y="146"/>
                    </a:lnTo>
                    <a:lnTo>
                      <a:pt x="110" y="143"/>
                    </a:lnTo>
                    <a:lnTo>
                      <a:pt x="112" y="137"/>
                    </a:lnTo>
                    <a:lnTo>
                      <a:pt x="112" y="133"/>
                    </a:lnTo>
                    <a:lnTo>
                      <a:pt x="112" y="129"/>
                    </a:lnTo>
                    <a:lnTo>
                      <a:pt x="114" y="126"/>
                    </a:lnTo>
                    <a:lnTo>
                      <a:pt x="114" y="120"/>
                    </a:lnTo>
                    <a:lnTo>
                      <a:pt x="115" y="116"/>
                    </a:lnTo>
                    <a:lnTo>
                      <a:pt x="115" y="112"/>
                    </a:lnTo>
                    <a:lnTo>
                      <a:pt x="115" y="108"/>
                    </a:lnTo>
                    <a:lnTo>
                      <a:pt x="117" y="105"/>
                    </a:lnTo>
                    <a:lnTo>
                      <a:pt x="119" y="101"/>
                    </a:lnTo>
                    <a:lnTo>
                      <a:pt x="121" y="93"/>
                    </a:lnTo>
                    <a:lnTo>
                      <a:pt x="125" y="86"/>
                    </a:lnTo>
                    <a:lnTo>
                      <a:pt x="129" y="78"/>
                    </a:lnTo>
                    <a:lnTo>
                      <a:pt x="133" y="70"/>
                    </a:lnTo>
                    <a:lnTo>
                      <a:pt x="136" y="65"/>
                    </a:lnTo>
                    <a:lnTo>
                      <a:pt x="140" y="59"/>
                    </a:lnTo>
                    <a:lnTo>
                      <a:pt x="146" y="53"/>
                    </a:lnTo>
                    <a:lnTo>
                      <a:pt x="150" y="48"/>
                    </a:lnTo>
                    <a:lnTo>
                      <a:pt x="155" y="42"/>
                    </a:lnTo>
                    <a:lnTo>
                      <a:pt x="161" y="36"/>
                    </a:lnTo>
                    <a:lnTo>
                      <a:pt x="165" y="32"/>
                    </a:lnTo>
                    <a:lnTo>
                      <a:pt x="171" y="27"/>
                    </a:lnTo>
                    <a:lnTo>
                      <a:pt x="178" y="23"/>
                    </a:lnTo>
                    <a:lnTo>
                      <a:pt x="184" y="19"/>
                    </a:lnTo>
                    <a:lnTo>
                      <a:pt x="190" y="15"/>
                    </a:lnTo>
                    <a:lnTo>
                      <a:pt x="195" y="13"/>
                    </a:lnTo>
                    <a:lnTo>
                      <a:pt x="201" y="10"/>
                    </a:lnTo>
                    <a:lnTo>
                      <a:pt x="209" y="8"/>
                    </a:lnTo>
                    <a:lnTo>
                      <a:pt x="214" y="4"/>
                    </a:lnTo>
                    <a:lnTo>
                      <a:pt x="222" y="2"/>
                    </a:lnTo>
                    <a:lnTo>
                      <a:pt x="228" y="2"/>
                    </a:lnTo>
                    <a:lnTo>
                      <a:pt x="235" y="0"/>
                    </a:lnTo>
                    <a:lnTo>
                      <a:pt x="260" y="0"/>
                    </a:lnTo>
                    <a:lnTo>
                      <a:pt x="258" y="0"/>
                    </a:lnTo>
                    <a:lnTo>
                      <a:pt x="256" y="2"/>
                    </a:lnTo>
                    <a:lnTo>
                      <a:pt x="252" y="2"/>
                    </a:lnTo>
                    <a:lnTo>
                      <a:pt x="248" y="4"/>
                    </a:lnTo>
                    <a:lnTo>
                      <a:pt x="245" y="6"/>
                    </a:lnTo>
                    <a:lnTo>
                      <a:pt x="239" y="10"/>
                    </a:lnTo>
                    <a:lnTo>
                      <a:pt x="231" y="13"/>
                    </a:lnTo>
                    <a:lnTo>
                      <a:pt x="226" y="17"/>
                    </a:lnTo>
                    <a:lnTo>
                      <a:pt x="218" y="21"/>
                    </a:lnTo>
                    <a:lnTo>
                      <a:pt x="210" y="27"/>
                    </a:lnTo>
                    <a:lnTo>
                      <a:pt x="203" y="32"/>
                    </a:lnTo>
                    <a:lnTo>
                      <a:pt x="197" y="38"/>
                    </a:lnTo>
                    <a:lnTo>
                      <a:pt x="190" y="44"/>
                    </a:lnTo>
                    <a:lnTo>
                      <a:pt x="186" y="51"/>
                    </a:lnTo>
                    <a:lnTo>
                      <a:pt x="182" y="55"/>
                    </a:lnTo>
                    <a:lnTo>
                      <a:pt x="180" y="59"/>
                    </a:lnTo>
                    <a:lnTo>
                      <a:pt x="178" y="63"/>
                    </a:lnTo>
                    <a:lnTo>
                      <a:pt x="174" y="67"/>
                    </a:lnTo>
                    <a:lnTo>
                      <a:pt x="171" y="74"/>
                    </a:lnTo>
                    <a:lnTo>
                      <a:pt x="167" y="82"/>
                    </a:lnTo>
                    <a:lnTo>
                      <a:pt x="165" y="86"/>
                    </a:lnTo>
                    <a:lnTo>
                      <a:pt x="163" y="89"/>
                    </a:lnTo>
                    <a:lnTo>
                      <a:pt x="161" y="93"/>
                    </a:lnTo>
                    <a:lnTo>
                      <a:pt x="161" y="97"/>
                    </a:lnTo>
                    <a:lnTo>
                      <a:pt x="159" y="101"/>
                    </a:lnTo>
                    <a:lnTo>
                      <a:pt x="157" y="105"/>
                    </a:lnTo>
                    <a:lnTo>
                      <a:pt x="155" y="108"/>
                    </a:lnTo>
                    <a:lnTo>
                      <a:pt x="155" y="112"/>
                    </a:lnTo>
                    <a:lnTo>
                      <a:pt x="153" y="118"/>
                    </a:lnTo>
                    <a:lnTo>
                      <a:pt x="153" y="122"/>
                    </a:lnTo>
                    <a:lnTo>
                      <a:pt x="153" y="126"/>
                    </a:lnTo>
                    <a:lnTo>
                      <a:pt x="153" y="131"/>
                    </a:lnTo>
                    <a:lnTo>
                      <a:pt x="152" y="135"/>
                    </a:lnTo>
                    <a:lnTo>
                      <a:pt x="150" y="141"/>
                    </a:lnTo>
                    <a:lnTo>
                      <a:pt x="150" y="146"/>
                    </a:lnTo>
                    <a:lnTo>
                      <a:pt x="150" y="152"/>
                    </a:lnTo>
                    <a:lnTo>
                      <a:pt x="150" y="158"/>
                    </a:lnTo>
                    <a:lnTo>
                      <a:pt x="150" y="164"/>
                    </a:lnTo>
                    <a:lnTo>
                      <a:pt x="150" y="169"/>
                    </a:lnTo>
                    <a:lnTo>
                      <a:pt x="150" y="177"/>
                    </a:lnTo>
                    <a:lnTo>
                      <a:pt x="150" y="183"/>
                    </a:lnTo>
                    <a:lnTo>
                      <a:pt x="150" y="190"/>
                    </a:lnTo>
                    <a:lnTo>
                      <a:pt x="150" y="194"/>
                    </a:lnTo>
                    <a:lnTo>
                      <a:pt x="150" y="198"/>
                    </a:lnTo>
                    <a:lnTo>
                      <a:pt x="150" y="202"/>
                    </a:lnTo>
                    <a:lnTo>
                      <a:pt x="150" y="205"/>
                    </a:lnTo>
                    <a:lnTo>
                      <a:pt x="150" y="209"/>
                    </a:lnTo>
                    <a:lnTo>
                      <a:pt x="150" y="213"/>
                    </a:lnTo>
                    <a:lnTo>
                      <a:pt x="150" y="217"/>
                    </a:lnTo>
                    <a:lnTo>
                      <a:pt x="150" y="221"/>
                    </a:lnTo>
                    <a:lnTo>
                      <a:pt x="150" y="226"/>
                    </a:lnTo>
                    <a:lnTo>
                      <a:pt x="150" y="230"/>
                    </a:lnTo>
                    <a:lnTo>
                      <a:pt x="150" y="236"/>
                    </a:lnTo>
                    <a:lnTo>
                      <a:pt x="150" y="240"/>
                    </a:lnTo>
                    <a:lnTo>
                      <a:pt x="150" y="243"/>
                    </a:lnTo>
                    <a:lnTo>
                      <a:pt x="150" y="247"/>
                    </a:lnTo>
                    <a:lnTo>
                      <a:pt x="150" y="253"/>
                    </a:lnTo>
                    <a:lnTo>
                      <a:pt x="150" y="257"/>
                    </a:lnTo>
                    <a:lnTo>
                      <a:pt x="150" y="261"/>
                    </a:lnTo>
                    <a:lnTo>
                      <a:pt x="150" y="264"/>
                    </a:lnTo>
                    <a:lnTo>
                      <a:pt x="148" y="270"/>
                    </a:lnTo>
                    <a:lnTo>
                      <a:pt x="148" y="274"/>
                    </a:lnTo>
                    <a:lnTo>
                      <a:pt x="148" y="278"/>
                    </a:lnTo>
                    <a:lnTo>
                      <a:pt x="146" y="281"/>
                    </a:lnTo>
                    <a:lnTo>
                      <a:pt x="146" y="285"/>
                    </a:lnTo>
                    <a:lnTo>
                      <a:pt x="146" y="289"/>
                    </a:lnTo>
                    <a:lnTo>
                      <a:pt x="144" y="293"/>
                    </a:lnTo>
                    <a:lnTo>
                      <a:pt x="144" y="297"/>
                    </a:lnTo>
                    <a:lnTo>
                      <a:pt x="142" y="300"/>
                    </a:lnTo>
                    <a:lnTo>
                      <a:pt x="140" y="304"/>
                    </a:lnTo>
                    <a:lnTo>
                      <a:pt x="138" y="310"/>
                    </a:lnTo>
                    <a:lnTo>
                      <a:pt x="134" y="318"/>
                    </a:lnTo>
                    <a:lnTo>
                      <a:pt x="131" y="323"/>
                    </a:lnTo>
                    <a:lnTo>
                      <a:pt x="129" y="329"/>
                    </a:lnTo>
                    <a:lnTo>
                      <a:pt x="123" y="335"/>
                    </a:lnTo>
                    <a:lnTo>
                      <a:pt x="119" y="342"/>
                    </a:lnTo>
                    <a:lnTo>
                      <a:pt x="115" y="346"/>
                    </a:lnTo>
                    <a:lnTo>
                      <a:pt x="112" y="352"/>
                    </a:lnTo>
                    <a:lnTo>
                      <a:pt x="108" y="357"/>
                    </a:lnTo>
                    <a:lnTo>
                      <a:pt x="102" y="361"/>
                    </a:lnTo>
                    <a:lnTo>
                      <a:pt x="98" y="367"/>
                    </a:lnTo>
                    <a:lnTo>
                      <a:pt x="93" y="371"/>
                    </a:lnTo>
                    <a:lnTo>
                      <a:pt x="87" y="375"/>
                    </a:lnTo>
                    <a:lnTo>
                      <a:pt x="81" y="378"/>
                    </a:lnTo>
                    <a:lnTo>
                      <a:pt x="77" y="382"/>
                    </a:lnTo>
                    <a:lnTo>
                      <a:pt x="72" y="386"/>
                    </a:lnTo>
                    <a:lnTo>
                      <a:pt x="66" y="388"/>
                    </a:lnTo>
                    <a:lnTo>
                      <a:pt x="60" y="392"/>
                    </a:lnTo>
                    <a:lnTo>
                      <a:pt x="55" y="394"/>
                    </a:lnTo>
                    <a:lnTo>
                      <a:pt x="49" y="397"/>
                    </a:lnTo>
                    <a:lnTo>
                      <a:pt x="43" y="399"/>
                    </a:lnTo>
                    <a:lnTo>
                      <a:pt x="38" y="401"/>
                    </a:lnTo>
                    <a:lnTo>
                      <a:pt x="32" y="403"/>
                    </a:lnTo>
                    <a:lnTo>
                      <a:pt x="28" y="407"/>
                    </a:lnTo>
                    <a:lnTo>
                      <a:pt x="0" y="399"/>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69" name="Freeform 64"/>
              <p:cNvSpPr>
                <a:spLocks/>
              </p:cNvSpPr>
              <p:nvPr/>
            </p:nvSpPr>
            <p:spPr bwMode="auto">
              <a:xfrm>
                <a:off x="2079626" y="3571876"/>
                <a:ext cx="65088" cy="190500"/>
              </a:xfrm>
              <a:custGeom>
                <a:avLst/>
                <a:gdLst>
                  <a:gd name="T0" fmla="*/ 2147483646 w 81"/>
                  <a:gd name="T1" fmla="*/ 0 h 239"/>
                  <a:gd name="T2" fmla="*/ 2147483646 w 81"/>
                  <a:gd name="T3" fmla="*/ 2147483646 h 239"/>
                  <a:gd name="T4" fmla="*/ 2147483646 w 81"/>
                  <a:gd name="T5" fmla="*/ 2147483646 h 239"/>
                  <a:gd name="T6" fmla="*/ 2147483646 w 81"/>
                  <a:gd name="T7" fmla="*/ 2147483646 h 239"/>
                  <a:gd name="T8" fmla="*/ 2147483646 w 81"/>
                  <a:gd name="T9" fmla="*/ 2147483646 h 239"/>
                  <a:gd name="T10" fmla="*/ 2147483646 w 81"/>
                  <a:gd name="T11" fmla="*/ 2147483646 h 239"/>
                  <a:gd name="T12" fmla="*/ 2147483646 w 81"/>
                  <a:gd name="T13" fmla="*/ 2147483646 h 239"/>
                  <a:gd name="T14" fmla="*/ 2147483646 w 81"/>
                  <a:gd name="T15" fmla="*/ 2147483646 h 239"/>
                  <a:gd name="T16" fmla="*/ 2147483646 w 81"/>
                  <a:gd name="T17" fmla="*/ 2147483646 h 239"/>
                  <a:gd name="T18" fmla="*/ 2147483646 w 81"/>
                  <a:gd name="T19" fmla="*/ 2147483646 h 239"/>
                  <a:gd name="T20" fmla="*/ 2147483646 w 81"/>
                  <a:gd name="T21" fmla="*/ 2147483646 h 239"/>
                  <a:gd name="T22" fmla="*/ 2147483646 w 81"/>
                  <a:gd name="T23" fmla="*/ 2147483646 h 239"/>
                  <a:gd name="T24" fmla="*/ 2147483646 w 81"/>
                  <a:gd name="T25" fmla="*/ 2147483646 h 239"/>
                  <a:gd name="T26" fmla="*/ 2147483646 w 81"/>
                  <a:gd name="T27" fmla="*/ 2147483646 h 239"/>
                  <a:gd name="T28" fmla="*/ 2147483646 w 81"/>
                  <a:gd name="T29" fmla="*/ 2147483646 h 239"/>
                  <a:gd name="T30" fmla="*/ 2147483646 w 81"/>
                  <a:gd name="T31" fmla="*/ 2147483646 h 239"/>
                  <a:gd name="T32" fmla="*/ 2147483646 w 81"/>
                  <a:gd name="T33" fmla="*/ 2147483646 h 239"/>
                  <a:gd name="T34" fmla="*/ 2147483646 w 81"/>
                  <a:gd name="T35" fmla="*/ 2147483646 h 239"/>
                  <a:gd name="T36" fmla="*/ 2147483646 w 81"/>
                  <a:gd name="T37" fmla="*/ 2147483646 h 239"/>
                  <a:gd name="T38" fmla="*/ 2147483646 w 81"/>
                  <a:gd name="T39" fmla="*/ 2147483646 h 239"/>
                  <a:gd name="T40" fmla="*/ 2147483646 w 81"/>
                  <a:gd name="T41" fmla="*/ 2147483646 h 239"/>
                  <a:gd name="T42" fmla="*/ 2147483646 w 81"/>
                  <a:gd name="T43" fmla="*/ 2147483646 h 239"/>
                  <a:gd name="T44" fmla="*/ 2147483646 w 81"/>
                  <a:gd name="T45" fmla="*/ 2147483646 h 239"/>
                  <a:gd name="T46" fmla="*/ 2147483646 w 81"/>
                  <a:gd name="T47" fmla="*/ 2147483646 h 239"/>
                  <a:gd name="T48" fmla="*/ 2147483646 w 81"/>
                  <a:gd name="T49" fmla="*/ 2147483646 h 239"/>
                  <a:gd name="T50" fmla="*/ 2147483646 w 81"/>
                  <a:gd name="T51" fmla="*/ 2147483646 h 239"/>
                  <a:gd name="T52" fmla="*/ 2147483646 w 81"/>
                  <a:gd name="T53" fmla="*/ 2147483646 h 239"/>
                  <a:gd name="T54" fmla="*/ 2147483646 w 81"/>
                  <a:gd name="T55" fmla="*/ 2147483646 h 239"/>
                  <a:gd name="T56" fmla="*/ 2147483646 w 81"/>
                  <a:gd name="T57" fmla="*/ 2147483646 h 239"/>
                  <a:gd name="T58" fmla="*/ 2147483646 w 81"/>
                  <a:gd name="T59" fmla="*/ 2147483646 h 239"/>
                  <a:gd name="T60" fmla="*/ 2147483646 w 81"/>
                  <a:gd name="T61" fmla="*/ 2147483646 h 239"/>
                  <a:gd name="T62" fmla="*/ 2147483646 w 81"/>
                  <a:gd name="T63" fmla="*/ 2147483646 h 239"/>
                  <a:gd name="T64" fmla="*/ 0 w 81"/>
                  <a:gd name="T65" fmla="*/ 2147483646 h 239"/>
                  <a:gd name="T66" fmla="*/ 0 w 81"/>
                  <a:gd name="T67" fmla="*/ 2147483646 h 239"/>
                  <a:gd name="T68" fmla="*/ 0 w 81"/>
                  <a:gd name="T69" fmla="*/ 2147483646 h 239"/>
                  <a:gd name="T70" fmla="*/ 0 w 81"/>
                  <a:gd name="T71" fmla="*/ 2147483646 h 239"/>
                  <a:gd name="T72" fmla="*/ 2147483646 w 81"/>
                  <a:gd name="T73" fmla="*/ 2147483646 h 239"/>
                  <a:gd name="T74" fmla="*/ 2147483646 w 81"/>
                  <a:gd name="T75" fmla="*/ 2147483646 h 239"/>
                  <a:gd name="T76" fmla="*/ 2147483646 w 81"/>
                  <a:gd name="T77" fmla="*/ 2147483646 h 239"/>
                  <a:gd name="T78" fmla="*/ 2147483646 w 81"/>
                  <a:gd name="T79" fmla="*/ 2147483646 h 239"/>
                  <a:gd name="T80" fmla="*/ 2147483646 w 81"/>
                  <a:gd name="T81" fmla="*/ 2147483646 h 239"/>
                  <a:gd name="T82" fmla="*/ 2147483646 w 81"/>
                  <a:gd name="T83" fmla="*/ 2147483646 h 239"/>
                  <a:gd name="T84" fmla="*/ 2147483646 w 81"/>
                  <a:gd name="T85" fmla="*/ 2147483646 h 239"/>
                  <a:gd name="T86" fmla="*/ 2147483646 w 81"/>
                  <a:gd name="T87" fmla="*/ 2147483646 h 239"/>
                  <a:gd name="T88" fmla="*/ 2147483646 w 81"/>
                  <a:gd name="T89" fmla="*/ 2147483646 h 239"/>
                  <a:gd name="T90" fmla="*/ 2147483646 w 81"/>
                  <a:gd name="T91" fmla="*/ 2147483646 h 239"/>
                  <a:gd name="T92" fmla="*/ 2147483646 w 81"/>
                  <a:gd name="T93" fmla="*/ 2147483646 h 239"/>
                  <a:gd name="T94" fmla="*/ 2147483646 w 81"/>
                  <a:gd name="T95" fmla="*/ 2147483646 h 239"/>
                  <a:gd name="T96" fmla="*/ 2147483646 w 81"/>
                  <a:gd name="T97" fmla="*/ 2147483646 h 239"/>
                  <a:gd name="T98" fmla="*/ 2147483646 w 81"/>
                  <a:gd name="T99" fmla="*/ 0 h 23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1"/>
                  <a:gd name="T151" fmla="*/ 0 h 239"/>
                  <a:gd name="T152" fmla="*/ 81 w 81"/>
                  <a:gd name="T153" fmla="*/ 239 h 23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1" h="239">
                    <a:moveTo>
                      <a:pt x="81" y="0"/>
                    </a:moveTo>
                    <a:lnTo>
                      <a:pt x="79" y="0"/>
                    </a:lnTo>
                    <a:lnTo>
                      <a:pt x="79" y="2"/>
                    </a:lnTo>
                    <a:lnTo>
                      <a:pt x="76" y="3"/>
                    </a:lnTo>
                    <a:lnTo>
                      <a:pt x="74" y="9"/>
                    </a:lnTo>
                    <a:lnTo>
                      <a:pt x="70" y="15"/>
                    </a:lnTo>
                    <a:lnTo>
                      <a:pt x="66" y="22"/>
                    </a:lnTo>
                    <a:lnTo>
                      <a:pt x="64" y="26"/>
                    </a:lnTo>
                    <a:lnTo>
                      <a:pt x="62" y="30"/>
                    </a:lnTo>
                    <a:lnTo>
                      <a:pt x="60" y="34"/>
                    </a:lnTo>
                    <a:lnTo>
                      <a:pt x="59" y="40"/>
                    </a:lnTo>
                    <a:lnTo>
                      <a:pt x="55" y="43"/>
                    </a:lnTo>
                    <a:lnTo>
                      <a:pt x="53" y="49"/>
                    </a:lnTo>
                    <a:lnTo>
                      <a:pt x="51" y="55"/>
                    </a:lnTo>
                    <a:lnTo>
                      <a:pt x="49" y="60"/>
                    </a:lnTo>
                    <a:lnTo>
                      <a:pt x="47" y="66"/>
                    </a:lnTo>
                    <a:lnTo>
                      <a:pt x="45" y="72"/>
                    </a:lnTo>
                    <a:lnTo>
                      <a:pt x="43" y="78"/>
                    </a:lnTo>
                    <a:lnTo>
                      <a:pt x="41" y="85"/>
                    </a:lnTo>
                    <a:lnTo>
                      <a:pt x="40" y="91"/>
                    </a:lnTo>
                    <a:lnTo>
                      <a:pt x="38" y="97"/>
                    </a:lnTo>
                    <a:lnTo>
                      <a:pt x="36" y="104"/>
                    </a:lnTo>
                    <a:lnTo>
                      <a:pt x="36" y="112"/>
                    </a:lnTo>
                    <a:lnTo>
                      <a:pt x="36" y="117"/>
                    </a:lnTo>
                    <a:lnTo>
                      <a:pt x="34" y="125"/>
                    </a:lnTo>
                    <a:lnTo>
                      <a:pt x="34" y="129"/>
                    </a:lnTo>
                    <a:lnTo>
                      <a:pt x="34" y="133"/>
                    </a:lnTo>
                    <a:lnTo>
                      <a:pt x="34" y="136"/>
                    </a:lnTo>
                    <a:lnTo>
                      <a:pt x="34" y="140"/>
                    </a:lnTo>
                    <a:lnTo>
                      <a:pt x="34" y="148"/>
                    </a:lnTo>
                    <a:lnTo>
                      <a:pt x="34" y="154"/>
                    </a:lnTo>
                    <a:lnTo>
                      <a:pt x="34" y="159"/>
                    </a:lnTo>
                    <a:lnTo>
                      <a:pt x="34" y="167"/>
                    </a:lnTo>
                    <a:lnTo>
                      <a:pt x="34" y="171"/>
                    </a:lnTo>
                    <a:lnTo>
                      <a:pt x="34" y="176"/>
                    </a:lnTo>
                    <a:lnTo>
                      <a:pt x="34" y="182"/>
                    </a:lnTo>
                    <a:lnTo>
                      <a:pt x="36" y="186"/>
                    </a:lnTo>
                    <a:lnTo>
                      <a:pt x="36" y="190"/>
                    </a:lnTo>
                    <a:lnTo>
                      <a:pt x="36" y="194"/>
                    </a:lnTo>
                    <a:lnTo>
                      <a:pt x="36" y="197"/>
                    </a:lnTo>
                    <a:lnTo>
                      <a:pt x="36" y="201"/>
                    </a:lnTo>
                    <a:lnTo>
                      <a:pt x="38" y="207"/>
                    </a:lnTo>
                    <a:lnTo>
                      <a:pt x="40" y="213"/>
                    </a:lnTo>
                    <a:lnTo>
                      <a:pt x="40" y="216"/>
                    </a:lnTo>
                    <a:lnTo>
                      <a:pt x="40" y="220"/>
                    </a:lnTo>
                    <a:lnTo>
                      <a:pt x="40" y="222"/>
                    </a:lnTo>
                    <a:lnTo>
                      <a:pt x="41" y="224"/>
                    </a:lnTo>
                    <a:lnTo>
                      <a:pt x="43" y="226"/>
                    </a:lnTo>
                    <a:lnTo>
                      <a:pt x="43" y="228"/>
                    </a:lnTo>
                    <a:lnTo>
                      <a:pt x="17" y="239"/>
                    </a:lnTo>
                    <a:lnTo>
                      <a:pt x="15" y="237"/>
                    </a:lnTo>
                    <a:lnTo>
                      <a:pt x="15" y="235"/>
                    </a:lnTo>
                    <a:lnTo>
                      <a:pt x="13" y="232"/>
                    </a:lnTo>
                    <a:lnTo>
                      <a:pt x="11" y="228"/>
                    </a:lnTo>
                    <a:lnTo>
                      <a:pt x="9" y="224"/>
                    </a:lnTo>
                    <a:lnTo>
                      <a:pt x="9" y="220"/>
                    </a:lnTo>
                    <a:lnTo>
                      <a:pt x="7" y="216"/>
                    </a:lnTo>
                    <a:lnTo>
                      <a:pt x="7" y="213"/>
                    </a:lnTo>
                    <a:lnTo>
                      <a:pt x="5" y="209"/>
                    </a:lnTo>
                    <a:lnTo>
                      <a:pt x="3" y="203"/>
                    </a:lnTo>
                    <a:lnTo>
                      <a:pt x="3" y="199"/>
                    </a:lnTo>
                    <a:lnTo>
                      <a:pt x="3" y="194"/>
                    </a:lnTo>
                    <a:lnTo>
                      <a:pt x="2" y="190"/>
                    </a:lnTo>
                    <a:lnTo>
                      <a:pt x="2" y="184"/>
                    </a:lnTo>
                    <a:lnTo>
                      <a:pt x="0" y="176"/>
                    </a:lnTo>
                    <a:lnTo>
                      <a:pt x="0" y="173"/>
                    </a:lnTo>
                    <a:lnTo>
                      <a:pt x="0" y="165"/>
                    </a:lnTo>
                    <a:lnTo>
                      <a:pt x="0" y="159"/>
                    </a:lnTo>
                    <a:lnTo>
                      <a:pt x="0" y="154"/>
                    </a:lnTo>
                    <a:lnTo>
                      <a:pt x="0" y="148"/>
                    </a:lnTo>
                    <a:lnTo>
                      <a:pt x="0" y="140"/>
                    </a:lnTo>
                    <a:lnTo>
                      <a:pt x="0" y="133"/>
                    </a:lnTo>
                    <a:lnTo>
                      <a:pt x="2" y="127"/>
                    </a:lnTo>
                    <a:lnTo>
                      <a:pt x="2" y="119"/>
                    </a:lnTo>
                    <a:lnTo>
                      <a:pt x="3" y="112"/>
                    </a:lnTo>
                    <a:lnTo>
                      <a:pt x="5" y="104"/>
                    </a:lnTo>
                    <a:lnTo>
                      <a:pt x="7" y="98"/>
                    </a:lnTo>
                    <a:lnTo>
                      <a:pt x="11" y="91"/>
                    </a:lnTo>
                    <a:lnTo>
                      <a:pt x="11" y="87"/>
                    </a:lnTo>
                    <a:lnTo>
                      <a:pt x="13" y="83"/>
                    </a:lnTo>
                    <a:lnTo>
                      <a:pt x="15" y="79"/>
                    </a:lnTo>
                    <a:lnTo>
                      <a:pt x="17" y="76"/>
                    </a:lnTo>
                    <a:lnTo>
                      <a:pt x="19" y="70"/>
                    </a:lnTo>
                    <a:lnTo>
                      <a:pt x="21" y="64"/>
                    </a:lnTo>
                    <a:lnTo>
                      <a:pt x="24" y="59"/>
                    </a:lnTo>
                    <a:lnTo>
                      <a:pt x="26" y="53"/>
                    </a:lnTo>
                    <a:lnTo>
                      <a:pt x="30" y="47"/>
                    </a:lnTo>
                    <a:lnTo>
                      <a:pt x="34" y="43"/>
                    </a:lnTo>
                    <a:lnTo>
                      <a:pt x="36" y="38"/>
                    </a:lnTo>
                    <a:lnTo>
                      <a:pt x="40" y="34"/>
                    </a:lnTo>
                    <a:lnTo>
                      <a:pt x="41" y="30"/>
                    </a:lnTo>
                    <a:lnTo>
                      <a:pt x="45" y="26"/>
                    </a:lnTo>
                    <a:lnTo>
                      <a:pt x="51" y="21"/>
                    </a:lnTo>
                    <a:lnTo>
                      <a:pt x="57" y="15"/>
                    </a:lnTo>
                    <a:lnTo>
                      <a:pt x="60" y="11"/>
                    </a:lnTo>
                    <a:lnTo>
                      <a:pt x="66" y="7"/>
                    </a:lnTo>
                    <a:lnTo>
                      <a:pt x="70" y="3"/>
                    </a:lnTo>
                    <a:lnTo>
                      <a:pt x="74" y="2"/>
                    </a:lnTo>
                    <a:lnTo>
                      <a:pt x="79" y="0"/>
                    </a:lnTo>
                    <a:lnTo>
                      <a:pt x="81"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0" name="Freeform 65"/>
              <p:cNvSpPr>
                <a:spLocks/>
              </p:cNvSpPr>
              <p:nvPr/>
            </p:nvSpPr>
            <p:spPr bwMode="auto">
              <a:xfrm>
                <a:off x="2051051" y="3743326"/>
                <a:ext cx="230188" cy="265113"/>
              </a:xfrm>
              <a:custGeom>
                <a:avLst/>
                <a:gdLst>
                  <a:gd name="T0" fmla="*/ 2147483646 w 290"/>
                  <a:gd name="T1" fmla="*/ 2147483646 h 335"/>
                  <a:gd name="T2" fmla="*/ 2147483646 w 290"/>
                  <a:gd name="T3" fmla="*/ 2147483646 h 335"/>
                  <a:gd name="T4" fmla="*/ 2147483646 w 290"/>
                  <a:gd name="T5" fmla="*/ 2147483646 h 335"/>
                  <a:gd name="T6" fmla="*/ 2147483646 w 290"/>
                  <a:gd name="T7" fmla="*/ 2147483646 h 335"/>
                  <a:gd name="T8" fmla="*/ 2147483646 w 290"/>
                  <a:gd name="T9" fmla="*/ 2147483646 h 335"/>
                  <a:gd name="T10" fmla="*/ 2147483646 w 290"/>
                  <a:gd name="T11" fmla="*/ 2147483646 h 335"/>
                  <a:gd name="T12" fmla="*/ 2147483646 w 290"/>
                  <a:gd name="T13" fmla="*/ 2147483646 h 335"/>
                  <a:gd name="T14" fmla="*/ 2147483646 w 290"/>
                  <a:gd name="T15" fmla="*/ 2147483646 h 335"/>
                  <a:gd name="T16" fmla="*/ 2147483646 w 290"/>
                  <a:gd name="T17" fmla="*/ 2147483646 h 335"/>
                  <a:gd name="T18" fmla="*/ 2147483646 w 290"/>
                  <a:gd name="T19" fmla="*/ 2147483646 h 335"/>
                  <a:gd name="T20" fmla="*/ 2147483646 w 290"/>
                  <a:gd name="T21" fmla="*/ 2147483646 h 335"/>
                  <a:gd name="T22" fmla="*/ 2147483646 w 290"/>
                  <a:gd name="T23" fmla="*/ 2147483646 h 335"/>
                  <a:gd name="T24" fmla="*/ 2147483646 w 290"/>
                  <a:gd name="T25" fmla="*/ 2147483646 h 335"/>
                  <a:gd name="T26" fmla="*/ 2147483646 w 290"/>
                  <a:gd name="T27" fmla="*/ 2147483646 h 335"/>
                  <a:gd name="T28" fmla="*/ 2147483646 w 290"/>
                  <a:gd name="T29" fmla="*/ 2147483646 h 335"/>
                  <a:gd name="T30" fmla="*/ 2147483646 w 290"/>
                  <a:gd name="T31" fmla="*/ 2147483646 h 335"/>
                  <a:gd name="T32" fmla="*/ 2147483646 w 290"/>
                  <a:gd name="T33" fmla="*/ 2147483646 h 335"/>
                  <a:gd name="T34" fmla="*/ 2147483646 w 290"/>
                  <a:gd name="T35" fmla="*/ 2147483646 h 335"/>
                  <a:gd name="T36" fmla="*/ 2147483646 w 290"/>
                  <a:gd name="T37" fmla="*/ 2147483646 h 335"/>
                  <a:gd name="T38" fmla="*/ 2147483646 w 290"/>
                  <a:gd name="T39" fmla="*/ 2147483646 h 335"/>
                  <a:gd name="T40" fmla="*/ 2147483646 w 290"/>
                  <a:gd name="T41" fmla="*/ 2147483646 h 335"/>
                  <a:gd name="T42" fmla="*/ 2147483646 w 290"/>
                  <a:gd name="T43" fmla="*/ 2147483646 h 335"/>
                  <a:gd name="T44" fmla="*/ 2147483646 w 290"/>
                  <a:gd name="T45" fmla="*/ 2147483646 h 335"/>
                  <a:gd name="T46" fmla="*/ 2147483646 w 290"/>
                  <a:gd name="T47" fmla="*/ 2147483646 h 335"/>
                  <a:gd name="T48" fmla="*/ 2147483646 w 290"/>
                  <a:gd name="T49" fmla="*/ 2147483646 h 335"/>
                  <a:gd name="T50" fmla="*/ 2147483646 w 290"/>
                  <a:gd name="T51" fmla="*/ 2147483646 h 335"/>
                  <a:gd name="T52" fmla="*/ 0 w 290"/>
                  <a:gd name="T53" fmla="*/ 2147483646 h 335"/>
                  <a:gd name="T54" fmla="*/ 2147483646 w 290"/>
                  <a:gd name="T55" fmla="*/ 2147483646 h 335"/>
                  <a:gd name="T56" fmla="*/ 2147483646 w 290"/>
                  <a:gd name="T57" fmla="*/ 2147483646 h 335"/>
                  <a:gd name="T58" fmla="*/ 2147483646 w 290"/>
                  <a:gd name="T59" fmla="*/ 2147483646 h 335"/>
                  <a:gd name="T60" fmla="*/ 2147483646 w 290"/>
                  <a:gd name="T61" fmla="*/ 2147483646 h 335"/>
                  <a:gd name="T62" fmla="*/ 2147483646 w 290"/>
                  <a:gd name="T63" fmla="*/ 2147483646 h 335"/>
                  <a:gd name="T64" fmla="*/ 2147483646 w 290"/>
                  <a:gd name="T65" fmla="*/ 2147483646 h 335"/>
                  <a:gd name="T66" fmla="*/ 2147483646 w 290"/>
                  <a:gd name="T67" fmla="*/ 2147483646 h 335"/>
                  <a:gd name="T68" fmla="*/ 2147483646 w 290"/>
                  <a:gd name="T69" fmla="*/ 2147483646 h 335"/>
                  <a:gd name="T70" fmla="*/ 2147483646 w 290"/>
                  <a:gd name="T71" fmla="*/ 2147483646 h 335"/>
                  <a:gd name="T72" fmla="*/ 2147483646 w 290"/>
                  <a:gd name="T73" fmla="*/ 2147483646 h 335"/>
                  <a:gd name="T74" fmla="*/ 2147483646 w 290"/>
                  <a:gd name="T75" fmla="*/ 2147483646 h 335"/>
                  <a:gd name="T76" fmla="*/ 2147483646 w 290"/>
                  <a:gd name="T77" fmla="*/ 2147483646 h 335"/>
                  <a:gd name="T78" fmla="*/ 2147483646 w 290"/>
                  <a:gd name="T79" fmla="*/ 2147483646 h 335"/>
                  <a:gd name="T80" fmla="*/ 2147483646 w 290"/>
                  <a:gd name="T81" fmla="*/ 2147483646 h 335"/>
                  <a:gd name="T82" fmla="*/ 2147483646 w 290"/>
                  <a:gd name="T83" fmla="*/ 2147483646 h 335"/>
                  <a:gd name="T84" fmla="*/ 2147483646 w 290"/>
                  <a:gd name="T85" fmla="*/ 2147483646 h 335"/>
                  <a:gd name="T86" fmla="*/ 2147483646 w 290"/>
                  <a:gd name="T87" fmla="*/ 2147483646 h 335"/>
                  <a:gd name="T88" fmla="*/ 2147483646 w 290"/>
                  <a:gd name="T89" fmla="*/ 2147483646 h 335"/>
                  <a:gd name="T90" fmla="*/ 2147483646 w 290"/>
                  <a:gd name="T91" fmla="*/ 2147483646 h 335"/>
                  <a:gd name="T92" fmla="*/ 2147483646 w 290"/>
                  <a:gd name="T93" fmla="*/ 2147483646 h 335"/>
                  <a:gd name="T94" fmla="*/ 2147483646 w 290"/>
                  <a:gd name="T95" fmla="*/ 2147483646 h 335"/>
                  <a:gd name="T96" fmla="*/ 2147483646 w 290"/>
                  <a:gd name="T97" fmla="*/ 2147483646 h 335"/>
                  <a:gd name="T98" fmla="*/ 2147483646 w 290"/>
                  <a:gd name="T99" fmla="*/ 2147483646 h 335"/>
                  <a:gd name="T100" fmla="*/ 2147483646 w 290"/>
                  <a:gd name="T101" fmla="*/ 2147483646 h 335"/>
                  <a:gd name="T102" fmla="*/ 2147483646 w 290"/>
                  <a:gd name="T103" fmla="*/ 2147483646 h 335"/>
                  <a:gd name="T104" fmla="*/ 2147483646 w 290"/>
                  <a:gd name="T105" fmla="*/ 2147483646 h 335"/>
                  <a:gd name="T106" fmla="*/ 2147483646 w 290"/>
                  <a:gd name="T107" fmla="*/ 2147483646 h 335"/>
                  <a:gd name="T108" fmla="*/ 2147483646 w 290"/>
                  <a:gd name="T109" fmla="*/ 2147483646 h 335"/>
                  <a:gd name="T110" fmla="*/ 2147483646 w 290"/>
                  <a:gd name="T111" fmla="*/ 2147483646 h 335"/>
                  <a:gd name="T112" fmla="*/ 2147483646 w 290"/>
                  <a:gd name="T113" fmla="*/ 0 h 3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0"/>
                  <a:gd name="T172" fmla="*/ 0 h 335"/>
                  <a:gd name="T173" fmla="*/ 290 w 290"/>
                  <a:gd name="T174" fmla="*/ 335 h 33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0" h="335">
                    <a:moveTo>
                      <a:pt x="248" y="0"/>
                    </a:moveTo>
                    <a:lnTo>
                      <a:pt x="248" y="0"/>
                    </a:lnTo>
                    <a:lnTo>
                      <a:pt x="250" y="4"/>
                    </a:lnTo>
                    <a:lnTo>
                      <a:pt x="252" y="8"/>
                    </a:lnTo>
                    <a:lnTo>
                      <a:pt x="254" y="14"/>
                    </a:lnTo>
                    <a:lnTo>
                      <a:pt x="254" y="17"/>
                    </a:lnTo>
                    <a:lnTo>
                      <a:pt x="256" y="21"/>
                    </a:lnTo>
                    <a:lnTo>
                      <a:pt x="256" y="27"/>
                    </a:lnTo>
                    <a:lnTo>
                      <a:pt x="258" y="31"/>
                    </a:lnTo>
                    <a:lnTo>
                      <a:pt x="258" y="36"/>
                    </a:lnTo>
                    <a:lnTo>
                      <a:pt x="258" y="42"/>
                    </a:lnTo>
                    <a:lnTo>
                      <a:pt x="258" y="48"/>
                    </a:lnTo>
                    <a:lnTo>
                      <a:pt x="260" y="54"/>
                    </a:lnTo>
                    <a:lnTo>
                      <a:pt x="258" y="59"/>
                    </a:lnTo>
                    <a:lnTo>
                      <a:pt x="258" y="65"/>
                    </a:lnTo>
                    <a:lnTo>
                      <a:pt x="258" y="73"/>
                    </a:lnTo>
                    <a:lnTo>
                      <a:pt x="256" y="78"/>
                    </a:lnTo>
                    <a:lnTo>
                      <a:pt x="254" y="86"/>
                    </a:lnTo>
                    <a:lnTo>
                      <a:pt x="254" y="93"/>
                    </a:lnTo>
                    <a:lnTo>
                      <a:pt x="250" y="99"/>
                    </a:lnTo>
                    <a:lnTo>
                      <a:pt x="248" y="107"/>
                    </a:lnTo>
                    <a:lnTo>
                      <a:pt x="245" y="114"/>
                    </a:lnTo>
                    <a:lnTo>
                      <a:pt x="241" y="122"/>
                    </a:lnTo>
                    <a:lnTo>
                      <a:pt x="237" y="128"/>
                    </a:lnTo>
                    <a:lnTo>
                      <a:pt x="231" y="135"/>
                    </a:lnTo>
                    <a:lnTo>
                      <a:pt x="226" y="143"/>
                    </a:lnTo>
                    <a:lnTo>
                      <a:pt x="220" y="151"/>
                    </a:lnTo>
                    <a:lnTo>
                      <a:pt x="216" y="154"/>
                    </a:lnTo>
                    <a:lnTo>
                      <a:pt x="212" y="158"/>
                    </a:lnTo>
                    <a:lnTo>
                      <a:pt x="209" y="162"/>
                    </a:lnTo>
                    <a:lnTo>
                      <a:pt x="207" y="166"/>
                    </a:lnTo>
                    <a:lnTo>
                      <a:pt x="201" y="168"/>
                    </a:lnTo>
                    <a:lnTo>
                      <a:pt x="197" y="171"/>
                    </a:lnTo>
                    <a:lnTo>
                      <a:pt x="193" y="175"/>
                    </a:lnTo>
                    <a:lnTo>
                      <a:pt x="190" y="177"/>
                    </a:lnTo>
                    <a:lnTo>
                      <a:pt x="186" y="181"/>
                    </a:lnTo>
                    <a:lnTo>
                      <a:pt x="180" y="183"/>
                    </a:lnTo>
                    <a:lnTo>
                      <a:pt x="176" y="187"/>
                    </a:lnTo>
                    <a:lnTo>
                      <a:pt x="172" y="189"/>
                    </a:lnTo>
                    <a:lnTo>
                      <a:pt x="169" y="192"/>
                    </a:lnTo>
                    <a:lnTo>
                      <a:pt x="163" y="194"/>
                    </a:lnTo>
                    <a:lnTo>
                      <a:pt x="159" y="196"/>
                    </a:lnTo>
                    <a:lnTo>
                      <a:pt x="155" y="200"/>
                    </a:lnTo>
                    <a:lnTo>
                      <a:pt x="150" y="202"/>
                    </a:lnTo>
                    <a:lnTo>
                      <a:pt x="146" y="204"/>
                    </a:lnTo>
                    <a:lnTo>
                      <a:pt x="142" y="206"/>
                    </a:lnTo>
                    <a:lnTo>
                      <a:pt x="138" y="209"/>
                    </a:lnTo>
                    <a:lnTo>
                      <a:pt x="133" y="209"/>
                    </a:lnTo>
                    <a:lnTo>
                      <a:pt x="129" y="211"/>
                    </a:lnTo>
                    <a:lnTo>
                      <a:pt x="123" y="213"/>
                    </a:lnTo>
                    <a:lnTo>
                      <a:pt x="119" y="217"/>
                    </a:lnTo>
                    <a:lnTo>
                      <a:pt x="115" y="217"/>
                    </a:lnTo>
                    <a:lnTo>
                      <a:pt x="112" y="219"/>
                    </a:lnTo>
                    <a:lnTo>
                      <a:pt x="106" y="221"/>
                    </a:lnTo>
                    <a:lnTo>
                      <a:pt x="102" y="225"/>
                    </a:lnTo>
                    <a:lnTo>
                      <a:pt x="98" y="225"/>
                    </a:lnTo>
                    <a:lnTo>
                      <a:pt x="95" y="227"/>
                    </a:lnTo>
                    <a:lnTo>
                      <a:pt x="91" y="228"/>
                    </a:lnTo>
                    <a:lnTo>
                      <a:pt x="87" y="230"/>
                    </a:lnTo>
                    <a:lnTo>
                      <a:pt x="81" y="232"/>
                    </a:lnTo>
                    <a:lnTo>
                      <a:pt x="77" y="234"/>
                    </a:lnTo>
                    <a:lnTo>
                      <a:pt x="74" y="236"/>
                    </a:lnTo>
                    <a:lnTo>
                      <a:pt x="70" y="238"/>
                    </a:lnTo>
                    <a:lnTo>
                      <a:pt x="66" y="238"/>
                    </a:lnTo>
                    <a:lnTo>
                      <a:pt x="62" y="240"/>
                    </a:lnTo>
                    <a:lnTo>
                      <a:pt x="58" y="242"/>
                    </a:lnTo>
                    <a:lnTo>
                      <a:pt x="55" y="244"/>
                    </a:lnTo>
                    <a:lnTo>
                      <a:pt x="47" y="247"/>
                    </a:lnTo>
                    <a:lnTo>
                      <a:pt x="41" y="251"/>
                    </a:lnTo>
                    <a:lnTo>
                      <a:pt x="36" y="255"/>
                    </a:lnTo>
                    <a:lnTo>
                      <a:pt x="30" y="259"/>
                    </a:lnTo>
                    <a:lnTo>
                      <a:pt x="22" y="263"/>
                    </a:lnTo>
                    <a:lnTo>
                      <a:pt x="19" y="268"/>
                    </a:lnTo>
                    <a:lnTo>
                      <a:pt x="15" y="272"/>
                    </a:lnTo>
                    <a:lnTo>
                      <a:pt x="11" y="278"/>
                    </a:lnTo>
                    <a:lnTo>
                      <a:pt x="7" y="284"/>
                    </a:lnTo>
                    <a:lnTo>
                      <a:pt x="3" y="291"/>
                    </a:lnTo>
                    <a:lnTo>
                      <a:pt x="1" y="297"/>
                    </a:lnTo>
                    <a:lnTo>
                      <a:pt x="0" y="303"/>
                    </a:lnTo>
                    <a:lnTo>
                      <a:pt x="0" y="306"/>
                    </a:lnTo>
                    <a:lnTo>
                      <a:pt x="0" y="310"/>
                    </a:lnTo>
                    <a:lnTo>
                      <a:pt x="0" y="316"/>
                    </a:lnTo>
                    <a:lnTo>
                      <a:pt x="0" y="320"/>
                    </a:lnTo>
                    <a:lnTo>
                      <a:pt x="32" y="335"/>
                    </a:lnTo>
                    <a:lnTo>
                      <a:pt x="32" y="333"/>
                    </a:lnTo>
                    <a:lnTo>
                      <a:pt x="32" y="329"/>
                    </a:lnTo>
                    <a:lnTo>
                      <a:pt x="36" y="325"/>
                    </a:lnTo>
                    <a:lnTo>
                      <a:pt x="36" y="320"/>
                    </a:lnTo>
                    <a:lnTo>
                      <a:pt x="39" y="316"/>
                    </a:lnTo>
                    <a:lnTo>
                      <a:pt x="43" y="310"/>
                    </a:lnTo>
                    <a:lnTo>
                      <a:pt x="47" y="304"/>
                    </a:lnTo>
                    <a:lnTo>
                      <a:pt x="51" y="297"/>
                    </a:lnTo>
                    <a:lnTo>
                      <a:pt x="57" y="291"/>
                    </a:lnTo>
                    <a:lnTo>
                      <a:pt x="60" y="287"/>
                    </a:lnTo>
                    <a:lnTo>
                      <a:pt x="64" y="284"/>
                    </a:lnTo>
                    <a:lnTo>
                      <a:pt x="68" y="282"/>
                    </a:lnTo>
                    <a:lnTo>
                      <a:pt x="72" y="278"/>
                    </a:lnTo>
                    <a:lnTo>
                      <a:pt x="76" y="274"/>
                    </a:lnTo>
                    <a:lnTo>
                      <a:pt x="79" y="270"/>
                    </a:lnTo>
                    <a:lnTo>
                      <a:pt x="83" y="268"/>
                    </a:lnTo>
                    <a:lnTo>
                      <a:pt x="89" y="266"/>
                    </a:lnTo>
                    <a:lnTo>
                      <a:pt x="93" y="263"/>
                    </a:lnTo>
                    <a:lnTo>
                      <a:pt x="98" y="261"/>
                    </a:lnTo>
                    <a:lnTo>
                      <a:pt x="104" y="259"/>
                    </a:lnTo>
                    <a:lnTo>
                      <a:pt x="110" y="257"/>
                    </a:lnTo>
                    <a:lnTo>
                      <a:pt x="115" y="253"/>
                    </a:lnTo>
                    <a:lnTo>
                      <a:pt x="121" y="251"/>
                    </a:lnTo>
                    <a:lnTo>
                      <a:pt x="129" y="247"/>
                    </a:lnTo>
                    <a:lnTo>
                      <a:pt x="134" y="246"/>
                    </a:lnTo>
                    <a:lnTo>
                      <a:pt x="142" y="242"/>
                    </a:lnTo>
                    <a:lnTo>
                      <a:pt x="150" y="238"/>
                    </a:lnTo>
                    <a:lnTo>
                      <a:pt x="153" y="236"/>
                    </a:lnTo>
                    <a:lnTo>
                      <a:pt x="155" y="234"/>
                    </a:lnTo>
                    <a:lnTo>
                      <a:pt x="161" y="232"/>
                    </a:lnTo>
                    <a:lnTo>
                      <a:pt x="165" y="232"/>
                    </a:lnTo>
                    <a:lnTo>
                      <a:pt x="169" y="228"/>
                    </a:lnTo>
                    <a:lnTo>
                      <a:pt x="172" y="227"/>
                    </a:lnTo>
                    <a:lnTo>
                      <a:pt x="174" y="225"/>
                    </a:lnTo>
                    <a:lnTo>
                      <a:pt x="180" y="223"/>
                    </a:lnTo>
                    <a:lnTo>
                      <a:pt x="182" y="219"/>
                    </a:lnTo>
                    <a:lnTo>
                      <a:pt x="188" y="217"/>
                    </a:lnTo>
                    <a:lnTo>
                      <a:pt x="191" y="215"/>
                    </a:lnTo>
                    <a:lnTo>
                      <a:pt x="195" y="213"/>
                    </a:lnTo>
                    <a:lnTo>
                      <a:pt x="199" y="211"/>
                    </a:lnTo>
                    <a:lnTo>
                      <a:pt x="203" y="208"/>
                    </a:lnTo>
                    <a:lnTo>
                      <a:pt x="207" y="206"/>
                    </a:lnTo>
                    <a:lnTo>
                      <a:pt x="210" y="204"/>
                    </a:lnTo>
                    <a:lnTo>
                      <a:pt x="214" y="200"/>
                    </a:lnTo>
                    <a:lnTo>
                      <a:pt x="218" y="198"/>
                    </a:lnTo>
                    <a:lnTo>
                      <a:pt x="222" y="196"/>
                    </a:lnTo>
                    <a:lnTo>
                      <a:pt x="226" y="194"/>
                    </a:lnTo>
                    <a:lnTo>
                      <a:pt x="233" y="187"/>
                    </a:lnTo>
                    <a:lnTo>
                      <a:pt x="239" y="183"/>
                    </a:lnTo>
                    <a:lnTo>
                      <a:pt x="247" y="175"/>
                    </a:lnTo>
                    <a:lnTo>
                      <a:pt x="252" y="170"/>
                    </a:lnTo>
                    <a:lnTo>
                      <a:pt x="258" y="164"/>
                    </a:lnTo>
                    <a:lnTo>
                      <a:pt x="264" y="158"/>
                    </a:lnTo>
                    <a:lnTo>
                      <a:pt x="269" y="151"/>
                    </a:lnTo>
                    <a:lnTo>
                      <a:pt x="273" y="145"/>
                    </a:lnTo>
                    <a:lnTo>
                      <a:pt x="277" y="137"/>
                    </a:lnTo>
                    <a:lnTo>
                      <a:pt x="281" y="130"/>
                    </a:lnTo>
                    <a:lnTo>
                      <a:pt x="285" y="124"/>
                    </a:lnTo>
                    <a:lnTo>
                      <a:pt x="286" y="116"/>
                    </a:lnTo>
                    <a:lnTo>
                      <a:pt x="288" y="112"/>
                    </a:lnTo>
                    <a:lnTo>
                      <a:pt x="288" y="109"/>
                    </a:lnTo>
                    <a:lnTo>
                      <a:pt x="288" y="105"/>
                    </a:lnTo>
                    <a:lnTo>
                      <a:pt x="290" y="101"/>
                    </a:lnTo>
                    <a:lnTo>
                      <a:pt x="290" y="93"/>
                    </a:lnTo>
                    <a:lnTo>
                      <a:pt x="290" y="86"/>
                    </a:lnTo>
                    <a:lnTo>
                      <a:pt x="290" y="82"/>
                    </a:lnTo>
                    <a:lnTo>
                      <a:pt x="288" y="78"/>
                    </a:lnTo>
                    <a:lnTo>
                      <a:pt x="288" y="74"/>
                    </a:lnTo>
                    <a:lnTo>
                      <a:pt x="288" y="71"/>
                    </a:lnTo>
                    <a:lnTo>
                      <a:pt x="286" y="65"/>
                    </a:lnTo>
                    <a:lnTo>
                      <a:pt x="286" y="59"/>
                    </a:lnTo>
                    <a:lnTo>
                      <a:pt x="285" y="52"/>
                    </a:lnTo>
                    <a:lnTo>
                      <a:pt x="283" y="46"/>
                    </a:lnTo>
                    <a:lnTo>
                      <a:pt x="281" y="42"/>
                    </a:lnTo>
                    <a:lnTo>
                      <a:pt x="281" y="36"/>
                    </a:lnTo>
                    <a:lnTo>
                      <a:pt x="279" y="33"/>
                    </a:lnTo>
                    <a:lnTo>
                      <a:pt x="277" y="29"/>
                    </a:lnTo>
                    <a:lnTo>
                      <a:pt x="275" y="25"/>
                    </a:lnTo>
                    <a:lnTo>
                      <a:pt x="273" y="21"/>
                    </a:lnTo>
                    <a:lnTo>
                      <a:pt x="269" y="16"/>
                    </a:lnTo>
                    <a:lnTo>
                      <a:pt x="266" y="12"/>
                    </a:lnTo>
                    <a:lnTo>
                      <a:pt x="262" y="8"/>
                    </a:lnTo>
                    <a:lnTo>
                      <a:pt x="260" y="4"/>
                    </a:lnTo>
                    <a:lnTo>
                      <a:pt x="256" y="2"/>
                    </a:lnTo>
                    <a:lnTo>
                      <a:pt x="254" y="2"/>
                    </a:lnTo>
                    <a:lnTo>
                      <a:pt x="250" y="0"/>
                    </a:lnTo>
                    <a:lnTo>
                      <a:pt x="248"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1" name="Freeform 66"/>
              <p:cNvSpPr>
                <a:spLocks/>
              </p:cNvSpPr>
              <p:nvPr/>
            </p:nvSpPr>
            <p:spPr bwMode="auto">
              <a:xfrm>
                <a:off x="2063751" y="4011613"/>
                <a:ext cx="104775" cy="163513"/>
              </a:xfrm>
              <a:custGeom>
                <a:avLst/>
                <a:gdLst>
                  <a:gd name="T0" fmla="*/ 2147483646 w 131"/>
                  <a:gd name="T1" fmla="*/ 2147483646 h 205"/>
                  <a:gd name="T2" fmla="*/ 2147483646 w 131"/>
                  <a:gd name="T3" fmla="*/ 2147483646 h 205"/>
                  <a:gd name="T4" fmla="*/ 2147483646 w 131"/>
                  <a:gd name="T5" fmla="*/ 2147483646 h 205"/>
                  <a:gd name="T6" fmla="*/ 2147483646 w 131"/>
                  <a:gd name="T7" fmla="*/ 2147483646 h 205"/>
                  <a:gd name="T8" fmla="*/ 2147483646 w 131"/>
                  <a:gd name="T9" fmla="*/ 2147483646 h 205"/>
                  <a:gd name="T10" fmla="*/ 2147483646 w 131"/>
                  <a:gd name="T11" fmla="*/ 2147483646 h 205"/>
                  <a:gd name="T12" fmla="*/ 2147483646 w 131"/>
                  <a:gd name="T13" fmla="*/ 2147483646 h 205"/>
                  <a:gd name="T14" fmla="*/ 2147483646 w 131"/>
                  <a:gd name="T15" fmla="*/ 2147483646 h 205"/>
                  <a:gd name="T16" fmla="*/ 2147483646 w 131"/>
                  <a:gd name="T17" fmla="*/ 2147483646 h 205"/>
                  <a:gd name="T18" fmla="*/ 2147483646 w 131"/>
                  <a:gd name="T19" fmla="*/ 2147483646 h 205"/>
                  <a:gd name="T20" fmla="*/ 2147483646 w 131"/>
                  <a:gd name="T21" fmla="*/ 2147483646 h 205"/>
                  <a:gd name="T22" fmla="*/ 2147483646 w 131"/>
                  <a:gd name="T23" fmla="*/ 2147483646 h 205"/>
                  <a:gd name="T24" fmla="*/ 2147483646 w 131"/>
                  <a:gd name="T25" fmla="*/ 2147483646 h 205"/>
                  <a:gd name="T26" fmla="*/ 2147483646 w 131"/>
                  <a:gd name="T27" fmla="*/ 2147483646 h 205"/>
                  <a:gd name="T28" fmla="*/ 2147483646 w 131"/>
                  <a:gd name="T29" fmla="*/ 2147483646 h 205"/>
                  <a:gd name="T30" fmla="*/ 2147483646 w 131"/>
                  <a:gd name="T31" fmla="*/ 2147483646 h 205"/>
                  <a:gd name="T32" fmla="*/ 2147483646 w 131"/>
                  <a:gd name="T33" fmla="*/ 2147483646 h 205"/>
                  <a:gd name="T34" fmla="*/ 2147483646 w 131"/>
                  <a:gd name="T35" fmla="*/ 2147483646 h 205"/>
                  <a:gd name="T36" fmla="*/ 2147483646 w 131"/>
                  <a:gd name="T37" fmla="*/ 2147483646 h 205"/>
                  <a:gd name="T38" fmla="*/ 0 w 131"/>
                  <a:gd name="T39" fmla="*/ 2147483646 h 205"/>
                  <a:gd name="T40" fmla="*/ 2147483646 w 131"/>
                  <a:gd name="T41" fmla="*/ 2147483646 h 205"/>
                  <a:gd name="T42" fmla="*/ 2147483646 w 131"/>
                  <a:gd name="T43" fmla="*/ 2147483646 h 205"/>
                  <a:gd name="T44" fmla="*/ 2147483646 w 131"/>
                  <a:gd name="T45" fmla="*/ 2147483646 h 205"/>
                  <a:gd name="T46" fmla="*/ 2147483646 w 131"/>
                  <a:gd name="T47" fmla="*/ 2147483646 h 205"/>
                  <a:gd name="T48" fmla="*/ 2147483646 w 131"/>
                  <a:gd name="T49" fmla="*/ 2147483646 h 205"/>
                  <a:gd name="T50" fmla="*/ 2147483646 w 131"/>
                  <a:gd name="T51" fmla="*/ 2147483646 h 205"/>
                  <a:gd name="T52" fmla="*/ 2147483646 w 131"/>
                  <a:gd name="T53" fmla="*/ 2147483646 h 205"/>
                  <a:gd name="T54" fmla="*/ 2147483646 w 131"/>
                  <a:gd name="T55" fmla="*/ 2147483646 h 205"/>
                  <a:gd name="T56" fmla="*/ 2147483646 w 131"/>
                  <a:gd name="T57" fmla="*/ 2147483646 h 205"/>
                  <a:gd name="T58" fmla="*/ 2147483646 w 131"/>
                  <a:gd name="T59" fmla="*/ 2147483646 h 205"/>
                  <a:gd name="T60" fmla="*/ 2147483646 w 131"/>
                  <a:gd name="T61" fmla="*/ 2147483646 h 205"/>
                  <a:gd name="T62" fmla="*/ 2147483646 w 131"/>
                  <a:gd name="T63" fmla="*/ 2147483646 h 205"/>
                  <a:gd name="T64" fmla="*/ 2147483646 w 131"/>
                  <a:gd name="T65" fmla="*/ 2147483646 h 205"/>
                  <a:gd name="T66" fmla="*/ 2147483646 w 131"/>
                  <a:gd name="T67" fmla="*/ 2147483646 h 205"/>
                  <a:gd name="T68" fmla="*/ 2147483646 w 131"/>
                  <a:gd name="T69" fmla="*/ 2147483646 h 205"/>
                  <a:gd name="T70" fmla="*/ 2147483646 w 131"/>
                  <a:gd name="T71" fmla="*/ 2147483646 h 205"/>
                  <a:gd name="T72" fmla="*/ 2147483646 w 131"/>
                  <a:gd name="T73" fmla="*/ 2147483646 h 205"/>
                  <a:gd name="T74" fmla="*/ 2147483646 w 131"/>
                  <a:gd name="T75" fmla="*/ 2147483646 h 205"/>
                  <a:gd name="T76" fmla="*/ 2147483646 w 131"/>
                  <a:gd name="T77" fmla="*/ 2147483646 h 205"/>
                  <a:gd name="T78" fmla="*/ 2147483646 w 131"/>
                  <a:gd name="T79" fmla="*/ 2147483646 h 205"/>
                  <a:gd name="T80" fmla="*/ 2147483646 w 131"/>
                  <a:gd name="T81" fmla="*/ 2147483646 h 205"/>
                  <a:gd name="T82" fmla="*/ 2147483646 w 131"/>
                  <a:gd name="T83" fmla="*/ 2147483646 h 205"/>
                  <a:gd name="T84" fmla="*/ 2147483646 w 131"/>
                  <a:gd name="T85" fmla="*/ 2147483646 h 205"/>
                  <a:gd name="T86" fmla="*/ 2147483646 w 131"/>
                  <a:gd name="T87" fmla="*/ 2147483646 h 205"/>
                  <a:gd name="T88" fmla="*/ 2147483646 w 131"/>
                  <a:gd name="T89" fmla="*/ 2147483646 h 205"/>
                  <a:gd name="T90" fmla="*/ 2147483646 w 131"/>
                  <a:gd name="T91" fmla="*/ 2147483646 h 205"/>
                  <a:gd name="T92" fmla="*/ 2147483646 w 131"/>
                  <a:gd name="T93" fmla="*/ 0 h 20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1"/>
                  <a:gd name="T142" fmla="*/ 0 h 205"/>
                  <a:gd name="T143" fmla="*/ 131 w 131"/>
                  <a:gd name="T144" fmla="*/ 205 h 20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1" h="205">
                    <a:moveTo>
                      <a:pt x="117" y="0"/>
                    </a:moveTo>
                    <a:lnTo>
                      <a:pt x="117" y="2"/>
                    </a:lnTo>
                    <a:lnTo>
                      <a:pt x="116" y="7"/>
                    </a:lnTo>
                    <a:lnTo>
                      <a:pt x="116" y="11"/>
                    </a:lnTo>
                    <a:lnTo>
                      <a:pt x="114" y="15"/>
                    </a:lnTo>
                    <a:lnTo>
                      <a:pt x="112" y="21"/>
                    </a:lnTo>
                    <a:lnTo>
                      <a:pt x="110" y="26"/>
                    </a:lnTo>
                    <a:lnTo>
                      <a:pt x="106" y="32"/>
                    </a:lnTo>
                    <a:lnTo>
                      <a:pt x="102" y="38"/>
                    </a:lnTo>
                    <a:lnTo>
                      <a:pt x="98" y="43"/>
                    </a:lnTo>
                    <a:lnTo>
                      <a:pt x="93" y="49"/>
                    </a:lnTo>
                    <a:lnTo>
                      <a:pt x="89" y="53"/>
                    </a:lnTo>
                    <a:lnTo>
                      <a:pt x="85" y="57"/>
                    </a:lnTo>
                    <a:lnTo>
                      <a:pt x="83" y="61"/>
                    </a:lnTo>
                    <a:lnTo>
                      <a:pt x="79" y="62"/>
                    </a:lnTo>
                    <a:lnTo>
                      <a:pt x="74" y="66"/>
                    </a:lnTo>
                    <a:lnTo>
                      <a:pt x="70" y="70"/>
                    </a:lnTo>
                    <a:lnTo>
                      <a:pt x="64" y="72"/>
                    </a:lnTo>
                    <a:lnTo>
                      <a:pt x="60" y="76"/>
                    </a:lnTo>
                    <a:lnTo>
                      <a:pt x="55" y="78"/>
                    </a:lnTo>
                    <a:lnTo>
                      <a:pt x="51" y="81"/>
                    </a:lnTo>
                    <a:lnTo>
                      <a:pt x="45" y="83"/>
                    </a:lnTo>
                    <a:lnTo>
                      <a:pt x="41" y="87"/>
                    </a:lnTo>
                    <a:lnTo>
                      <a:pt x="38" y="89"/>
                    </a:lnTo>
                    <a:lnTo>
                      <a:pt x="34" y="93"/>
                    </a:lnTo>
                    <a:lnTo>
                      <a:pt x="30" y="97"/>
                    </a:lnTo>
                    <a:lnTo>
                      <a:pt x="26" y="100"/>
                    </a:lnTo>
                    <a:lnTo>
                      <a:pt x="19" y="106"/>
                    </a:lnTo>
                    <a:lnTo>
                      <a:pt x="13" y="114"/>
                    </a:lnTo>
                    <a:lnTo>
                      <a:pt x="11" y="118"/>
                    </a:lnTo>
                    <a:lnTo>
                      <a:pt x="9" y="119"/>
                    </a:lnTo>
                    <a:lnTo>
                      <a:pt x="7" y="125"/>
                    </a:lnTo>
                    <a:lnTo>
                      <a:pt x="5" y="129"/>
                    </a:lnTo>
                    <a:lnTo>
                      <a:pt x="3" y="131"/>
                    </a:lnTo>
                    <a:lnTo>
                      <a:pt x="3" y="137"/>
                    </a:lnTo>
                    <a:lnTo>
                      <a:pt x="2" y="140"/>
                    </a:lnTo>
                    <a:lnTo>
                      <a:pt x="2" y="144"/>
                    </a:lnTo>
                    <a:lnTo>
                      <a:pt x="2" y="148"/>
                    </a:lnTo>
                    <a:lnTo>
                      <a:pt x="0" y="152"/>
                    </a:lnTo>
                    <a:lnTo>
                      <a:pt x="0" y="156"/>
                    </a:lnTo>
                    <a:lnTo>
                      <a:pt x="2" y="161"/>
                    </a:lnTo>
                    <a:lnTo>
                      <a:pt x="2" y="165"/>
                    </a:lnTo>
                    <a:lnTo>
                      <a:pt x="2" y="171"/>
                    </a:lnTo>
                    <a:lnTo>
                      <a:pt x="2" y="175"/>
                    </a:lnTo>
                    <a:lnTo>
                      <a:pt x="3" y="180"/>
                    </a:lnTo>
                    <a:lnTo>
                      <a:pt x="5" y="184"/>
                    </a:lnTo>
                    <a:lnTo>
                      <a:pt x="7" y="190"/>
                    </a:lnTo>
                    <a:lnTo>
                      <a:pt x="9" y="196"/>
                    </a:lnTo>
                    <a:lnTo>
                      <a:pt x="11" y="201"/>
                    </a:lnTo>
                    <a:lnTo>
                      <a:pt x="53" y="205"/>
                    </a:lnTo>
                    <a:lnTo>
                      <a:pt x="53" y="203"/>
                    </a:lnTo>
                    <a:lnTo>
                      <a:pt x="49" y="199"/>
                    </a:lnTo>
                    <a:lnTo>
                      <a:pt x="47" y="196"/>
                    </a:lnTo>
                    <a:lnTo>
                      <a:pt x="45" y="194"/>
                    </a:lnTo>
                    <a:lnTo>
                      <a:pt x="43" y="190"/>
                    </a:lnTo>
                    <a:lnTo>
                      <a:pt x="41" y="186"/>
                    </a:lnTo>
                    <a:lnTo>
                      <a:pt x="40" y="180"/>
                    </a:lnTo>
                    <a:lnTo>
                      <a:pt x="38" y="175"/>
                    </a:lnTo>
                    <a:lnTo>
                      <a:pt x="36" y="171"/>
                    </a:lnTo>
                    <a:lnTo>
                      <a:pt x="36" y="165"/>
                    </a:lnTo>
                    <a:lnTo>
                      <a:pt x="36" y="159"/>
                    </a:lnTo>
                    <a:lnTo>
                      <a:pt x="38" y="154"/>
                    </a:lnTo>
                    <a:lnTo>
                      <a:pt x="40" y="146"/>
                    </a:lnTo>
                    <a:lnTo>
                      <a:pt x="43" y="142"/>
                    </a:lnTo>
                    <a:lnTo>
                      <a:pt x="45" y="135"/>
                    </a:lnTo>
                    <a:lnTo>
                      <a:pt x="49" y="129"/>
                    </a:lnTo>
                    <a:lnTo>
                      <a:pt x="53" y="123"/>
                    </a:lnTo>
                    <a:lnTo>
                      <a:pt x="59" y="119"/>
                    </a:lnTo>
                    <a:lnTo>
                      <a:pt x="62" y="114"/>
                    </a:lnTo>
                    <a:lnTo>
                      <a:pt x="68" y="110"/>
                    </a:lnTo>
                    <a:lnTo>
                      <a:pt x="72" y="106"/>
                    </a:lnTo>
                    <a:lnTo>
                      <a:pt x="78" y="102"/>
                    </a:lnTo>
                    <a:lnTo>
                      <a:pt x="81" y="99"/>
                    </a:lnTo>
                    <a:lnTo>
                      <a:pt x="87" y="95"/>
                    </a:lnTo>
                    <a:lnTo>
                      <a:pt x="93" y="89"/>
                    </a:lnTo>
                    <a:lnTo>
                      <a:pt x="98" y="85"/>
                    </a:lnTo>
                    <a:lnTo>
                      <a:pt x="102" y="78"/>
                    </a:lnTo>
                    <a:lnTo>
                      <a:pt x="108" y="72"/>
                    </a:lnTo>
                    <a:lnTo>
                      <a:pt x="114" y="66"/>
                    </a:lnTo>
                    <a:lnTo>
                      <a:pt x="119" y="59"/>
                    </a:lnTo>
                    <a:lnTo>
                      <a:pt x="121" y="55"/>
                    </a:lnTo>
                    <a:lnTo>
                      <a:pt x="123" y="51"/>
                    </a:lnTo>
                    <a:lnTo>
                      <a:pt x="125" y="47"/>
                    </a:lnTo>
                    <a:lnTo>
                      <a:pt x="127" y="43"/>
                    </a:lnTo>
                    <a:lnTo>
                      <a:pt x="129" y="36"/>
                    </a:lnTo>
                    <a:lnTo>
                      <a:pt x="131" y="30"/>
                    </a:lnTo>
                    <a:lnTo>
                      <a:pt x="131" y="24"/>
                    </a:lnTo>
                    <a:lnTo>
                      <a:pt x="131" y="21"/>
                    </a:lnTo>
                    <a:lnTo>
                      <a:pt x="129" y="17"/>
                    </a:lnTo>
                    <a:lnTo>
                      <a:pt x="129" y="13"/>
                    </a:lnTo>
                    <a:lnTo>
                      <a:pt x="125" y="7"/>
                    </a:lnTo>
                    <a:lnTo>
                      <a:pt x="121" y="4"/>
                    </a:lnTo>
                    <a:lnTo>
                      <a:pt x="119" y="0"/>
                    </a:lnTo>
                    <a:lnTo>
                      <a:pt x="117"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2" name="Freeform 67"/>
              <p:cNvSpPr>
                <a:spLocks/>
              </p:cNvSpPr>
              <p:nvPr/>
            </p:nvSpPr>
            <p:spPr bwMode="auto">
              <a:xfrm>
                <a:off x="2193926" y="3941763"/>
                <a:ext cx="109538" cy="214313"/>
              </a:xfrm>
              <a:custGeom>
                <a:avLst/>
                <a:gdLst>
                  <a:gd name="T0" fmla="*/ 2147483646 w 139"/>
                  <a:gd name="T1" fmla="*/ 0 h 270"/>
                  <a:gd name="T2" fmla="*/ 2147483646 w 139"/>
                  <a:gd name="T3" fmla="*/ 0 h 270"/>
                  <a:gd name="T4" fmla="*/ 2147483646 w 139"/>
                  <a:gd name="T5" fmla="*/ 2147483646 h 270"/>
                  <a:gd name="T6" fmla="*/ 2147483646 w 139"/>
                  <a:gd name="T7" fmla="*/ 2147483646 h 270"/>
                  <a:gd name="T8" fmla="*/ 2147483646 w 139"/>
                  <a:gd name="T9" fmla="*/ 2147483646 h 270"/>
                  <a:gd name="T10" fmla="*/ 2147483646 w 139"/>
                  <a:gd name="T11" fmla="*/ 2147483646 h 270"/>
                  <a:gd name="T12" fmla="*/ 2147483646 w 139"/>
                  <a:gd name="T13" fmla="*/ 2147483646 h 270"/>
                  <a:gd name="T14" fmla="*/ 2147483646 w 139"/>
                  <a:gd name="T15" fmla="*/ 2147483646 h 270"/>
                  <a:gd name="T16" fmla="*/ 2147483646 w 139"/>
                  <a:gd name="T17" fmla="*/ 2147483646 h 270"/>
                  <a:gd name="T18" fmla="*/ 2147483646 w 139"/>
                  <a:gd name="T19" fmla="*/ 2147483646 h 270"/>
                  <a:gd name="T20" fmla="*/ 2147483646 w 139"/>
                  <a:gd name="T21" fmla="*/ 2147483646 h 270"/>
                  <a:gd name="T22" fmla="*/ 2147483646 w 139"/>
                  <a:gd name="T23" fmla="*/ 2147483646 h 270"/>
                  <a:gd name="T24" fmla="*/ 2147483646 w 139"/>
                  <a:gd name="T25" fmla="*/ 2147483646 h 270"/>
                  <a:gd name="T26" fmla="*/ 2147483646 w 139"/>
                  <a:gd name="T27" fmla="*/ 2147483646 h 270"/>
                  <a:gd name="T28" fmla="*/ 2147483646 w 139"/>
                  <a:gd name="T29" fmla="*/ 2147483646 h 270"/>
                  <a:gd name="T30" fmla="*/ 2147483646 w 139"/>
                  <a:gd name="T31" fmla="*/ 2147483646 h 270"/>
                  <a:gd name="T32" fmla="*/ 2147483646 w 139"/>
                  <a:gd name="T33" fmla="*/ 2147483646 h 270"/>
                  <a:gd name="T34" fmla="*/ 2147483646 w 139"/>
                  <a:gd name="T35" fmla="*/ 2147483646 h 270"/>
                  <a:gd name="T36" fmla="*/ 2147483646 w 139"/>
                  <a:gd name="T37" fmla="*/ 2147483646 h 270"/>
                  <a:gd name="T38" fmla="*/ 2147483646 w 139"/>
                  <a:gd name="T39" fmla="*/ 2147483646 h 270"/>
                  <a:gd name="T40" fmla="*/ 2147483646 w 139"/>
                  <a:gd name="T41" fmla="*/ 2147483646 h 270"/>
                  <a:gd name="T42" fmla="*/ 2147483646 w 139"/>
                  <a:gd name="T43" fmla="*/ 2147483646 h 270"/>
                  <a:gd name="T44" fmla="*/ 2147483646 w 139"/>
                  <a:gd name="T45" fmla="*/ 2147483646 h 270"/>
                  <a:gd name="T46" fmla="*/ 2147483646 w 139"/>
                  <a:gd name="T47" fmla="*/ 2147483646 h 270"/>
                  <a:gd name="T48" fmla="*/ 2147483646 w 139"/>
                  <a:gd name="T49" fmla="*/ 2147483646 h 270"/>
                  <a:gd name="T50" fmla="*/ 2147483646 w 139"/>
                  <a:gd name="T51" fmla="*/ 2147483646 h 270"/>
                  <a:gd name="T52" fmla="*/ 2147483646 w 139"/>
                  <a:gd name="T53" fmla="*/ 2147483646 h 270"/>
                  <a:gd name="T54" fmla="*/ 2147483646 w 139"/>
                  <a:gd name="T55" fmla="*/ 2147483646 h 270"/>
                  <a:gd name="T56" fmla="*/ 2147483646 w 139"/>
                  <a:gd name="T57" fmla="*/ 2147483646 h 270"/>
                  <a:gd name="T58" fmla="*/ 2147483646 w 139"/>
                  <a:gd name="T59" fmla="*/ 2147483646 h 270"/>
                  <a:gd name="T60" fmla="*/ 2147483646 w 139"/>
                  <a:gd name="T61" fmla="*/ 2147483646 h 270"/>
                  <a:gd name="T62" fmla="*/ 2147483646 w 139"/>
                  <a:gd name="T63" fmla="*/ 2147483646 h 270"/>
                  <a:gd name="T64" fmla="*/ 2147483646 w 139"/>
                  <a:gd name="T65" fmla="*/ 2147483646 h 270"/>
                  <a:gd name="T66" fmla="*/ 2147483646 w 139"/>
                  <a:gd name="T67" fmla="*/ 2147483646 h 270"/>
                  <a:gd name="T68" fmla="*/ 2147483646 w 139"/>
                  <a:gd name="T69" fmla="*/ 2147483646 h 270"/>
                  <a:gd name="T70" fmla="*/ 2147483646 w 139"/>
                  <a:gd name="T71" fmla="*/ 2147483646 h 270"/>
                  <a:gd name="T72" fmla="*/ 2147483646 w 139"/>
                  <a:gd name="T73" fmla="*/ 2147483646 h 270"/>
                  <a:gd name="T74" fmla="*/ 2147483646 w 139"/>
                  <a:gd name="T75" fmla="*/ 2147483646 h 270"/>
                  <a:gd name="T76" fmla="*/ 2147483646 w 139"/>
                  <a:gd name="T77" fmla="*/ 2147483646 h 270"/>
                  <a:gd name="T78" fmla="*/ 2147483646 w 139"/>
                  <a:gd name="T79" fmla="*/ 2147483646 h 270"/>
                  <a:gd name="T80" fmla="*/ 2147483646 w 139"/>
                  <a:gd name="T81" fmla="*/ 2147483646 h 270"/>
                  <a:gd name="T82" fmla="*/ 2147483646 w 139"/>
                  <a:gd name="T83" fmla="*/ 2147483646 h 270"/>
                  <a:gd name="T84" fmla="*/ 2147483646 w 139"/>
                  <a:gd name="T85" fmla="*/ 2147483646 h 270"/>
                  <a:gd name="T86" fmla="*/ 2147483646 w 139"/>
                  <a:gd name="T87" fmla="*/ 2147483646 h 270"/>
                  <a:gd name="T88" fmla="*/ 2147483646 w 139"/>
                  <a:gd name="T89" fmla="*/ 2147483646 h 270"/>
                  <a:gd name="T90" fmla="*/ 2147483646 w 139"/>
                  <a:gd name="T91" fmla="*/ 2147483646 h 270"/>
                  <a:gd name="T92" fmla="*/ 2147483646 w 139"/>
                  <a:gd name="T93" fmla="*/ 2147483646 h 270"/>
                  <a:gd name="T94" fmla="*/ 2147483646 w 139"/>
                  <a:gd name="T95" fmla="*/ 2147483646 h 270"/>
                  <a:gd name="T96" fmla="*/ 2147483646 w 139"/>
                  <a:gd name="T97" fmla="*/ 2147483646 h 270"/>
                  <a:gd name="T98" fmla="*/ 2147483646 w 139"/>
                  <a:gd name="T99" fmla="*/ 2147483646 h 270"/>
                  <a:gd name="T100" fmla="*/ 2147483646 w 139"/>
                  <a:gd name="T101" fmla="*/ 2147483646 h 270"/>
                  <a:gd name="T102" fmla="*/ 2147483646 w 139"/>
                  <a:gd name="T103" fmla="*/ 2147483646 h 270"/>
                  <a:gd name="T104" fmla="*/ 2147483646 w 139"/>
                  <a:gd name="T105" fmla="*/ 2147483646 h 270"/>
                  <a:gd name="T106" fmla="*/ 2147483646 w 139"/>
                  <a:gd name="T107" fmla="*/ 2147483646 h 270"/>
                  <a:gd name="T108" fmla="*/ 2147483646 w 139"/>
                  <a:gd name="T109" fmla="*/ 2147483646 h 270"/>
                  <a:gd name="T110" fmla="*/ 2147483646 w 139"/>
                  <a:gd name="T111" fmla="*/ 2147483646 h 270"/>
                  <a:gd name="T112" fmla="*/ 2147483646 w 139"/>
                  <a:gd name="T113" fmla="*/ 2147483646 h 270"/>
                  <a:gd name="T114" fmla="*/ 2147483646 w 139"/>
                  <a:gd name="T115" fmla="*/ 2147483646 h 270"/>
                  <a:gd name="T116" fmla="*/ 2147483646 w 139"/>
                  <a:gd name="T117" fmla="*/ 2147483646 h 270"/>
                  <a:gd name="T118" fmla="*/ 2147483646 w 139"/>
                  <a:gd name="T119" fmla="*/ 2147483646 h 270"/>
                  <a:gd name="T120" fmla="*/ 2147483646 w 139"/>
                  <a:gd name="T121" fmla="*/ 0 h 2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9"/>
                  <a:gd name="T184" fmla="*/ 0 h 270"/>
                  <a:gd name="T185" fmla="*/ 139 w 139"/>
                  <a:gd name="T186" fmla="*/ 270 h 27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9" h="270">
                    <a:moveTo>
                      <a:pt x="139" y="0"/>
                    </a:moveTo>
                    <a:lnTo>
                      <a:pt x="137" y="0"/>
                    </a:lnTo>
                    <a:lnTo>
                      <a:pt x="133" y="0"/>
                    </a:lnTo>
                    <a:lnTo>
                      <a:pt x="129" y="0"/>
                    </a:lnTo>
                    <a:lnTo>
                      <a:pt x="127" y="2"/>
                    </a:lnTo>
                    <a:lnTo>
                      <a:pt x="122" y="2"/>
                    </a:lnTo>
                    <a:lnTo>
                      <a:pt x="120" y="4"/>
                    </a:lnTo>
                    <a:lnTo>
                      <a:pt x="114" y="6"/>
                    </a:lnTo>
                    <a:lnTo>
                      <a:pt x="110" y="8"/>
                    </a:lnTo>
                    <a:lnTo>
                      <a:pt x="105" y="10"/>
                    </a:lnTo>
                    <a:lnTo>
                      <a:pt x="101" y="12"/>
                    </a:lnTo>
                    <a:lnTo>
                      <a:pt x="95" y="14"/>
                    </a:lnTo>
                    <a:lnTo>
                      <a:pt x="89" y="17"/>
                    </a:lnTo>
                    <a:lnTo>
                      <a:pt x="84" y="21"/>
                    </a:lnTo>
                    <a:lnTo>
                      <a:pt x="78" y="27"/>
                    </a:lnTo>
                    <a:lnTo>
                      <a:pt x="72" y="31"/>
                    </a:lnTo>
                    <a:lnTo>
                      <a:pt x="68" y="35"/>
                    </a:lnTo>
                    <a:lnTo>
                      <a:pt x="63" y="40"/>
                    </a:lnTo>
                    <a:lnTo>
                      <a:pt x="59" y="46"/>
                    </a:lnTo>
                    <a:lnTo>
                      <a:pt x="53" y="52"/>
                    </a:lnTo>
                    <a:lnTo>
                      <a:pt x="49" y="59"/>
                    </a:lnTo>
                    <a:lnTo>
                      <a:pt x="48" y="61"/>
                    </a:lnTo>
                    <a:lnTo>
                      <a:pt x="46" y="67"/>
                    </a:lnTo>
                    <a:lnTo>
                      <a:pt x="44" y="71"/>
                    </a:lnTo>
                    <a:lnTo>
                      <a:pt x="42" y="74"/>
                    </a:lnTo>
                    <a:lnTo>
                      <a:pt x="40" y="78"/>
                    </a:lnTo>
                    <a:lnTo>
                      <a:pt x="38" y="82"/>
                    </a:lnTo>
                    <a:lnTo>
                      <a:pt x="38" y="86"/>
                    </a:lnTo>
                    <a:lnTo>
                      <a:pt x="36" y="90"/>
                    </a:lnTo>
                    <a:lnTo>
                      <a:pt x="36" y="95"/>
                    </a:lnTo>
                    <a:lnTo>
                      <a:pt x="34" y="101"/>
                    </a:lnTo>
                    <a:lnTo>
                      <a:pt x="34" y="105"/>
                    </a:lnTo>
                    <a:lnTo>
                      <a:pt x="34" y="111"/>
                    </a:lnTo>
                    <a:lnTo>
                      <a:pt x="34" y="114"/>
                    </a:lnTo>
                    <a:lnTo>
                      <a:pt x="32" y="120"/>
                    </a:lnTo>
                    <a:lnTo>
                      <a:pt x="32" y="126"/>
                    </a:lnTo>
                    <a:lnTo>
                      <a:pt x="34" y="132"/>
                    </a:lnTo>
                    <a:lnTo>
                      <a:pt x="34" y="137"/>
                    </a:lnTo>
                    <a:lnTo>
                      <a:pt x="34" y="145"/>
                    </a:lnTo>
                    <a:lnTo>
                      <a:pt x="34" y="151"/>
                    </a:lnTo>
                    <a:lnTo>
                      <a:pt x="36" y="158"/>
                    </a:lnTo>
                    <a:lnTo>
                      <a:pt x="36" y="162"/>
                    </a:lnTo>
                    <a:lnTo>
                      <a:pt x="38" y="166"/>
                    </a:lnTo>
                    <a:lnTo>
                      <a:pt x="38" y="171"/>
                    </a:lnTo>
                    <a:lnTo>
                      <a:pt x="40" y="177"/>
                    </a:lnTo>
                    <a:lnTo>
                      <a:pt x="42" y="185"/>
                    </a:lnTo>
                    <a:lnTo>
                      <a:pt x="42" y="190"/>
                    </a:lnTo>
                    <a:lnTo>
                      <a:pt x="42" y="196"/>
                    </a:lnTo>
                    <a:lnTo>
                      <a:pt x="42" y="204"/>
                    </a:lnTo>
                    <a:lnTo>
                      <a:pt x="42" y="211"/>
                    </a:lnTo>
                    <a:lnTo>
                      <a:pt x="38" y="217"/>
                    </a:lnTo>
                    <a:lnTo>
                      <a:pt x="36" y="223"/>
                    </a:lnTo>
                    <a:lnTo>
                      <a:pt x="32" y="228"/>
                    </a:lnTo>
                    <a:lnTo>
                      <a:pt x="29" y="232"/>
                    </a:lnTo>
                    <a:lnTo>
                      <a:pt x="27" y="234"/>
                    </a:lnTo>
                    <a:lnTo>
                      <a:pt x="23" y="236"/>
                    </a:lnTo>
                    <a:lnTo>
                      <a:pt x="19" y="240"/>
                    </a:lnTo>
                    <a:lnTo>
                      <a:pt x="13" y="242"/>
                    </a:lnTo>
                    <a:lnTo>
                      <a:pt x="10" y="244"/>
                    </a:lnTo>
                    <a:lnTo>
                      <a:pt x="4" y="246"/>
                    </a:lnTo>
                    <a:lnTo>
                      <a:pt x="0" y="247"/>
                    </a:lnTo>
                    <a:lnTo>
                      <a:pt x="34" y="270"/>
                    </a:lnTo>
                    <a:lnTo>
                      <a:pt x="36" y="270"/>
                    </a:lnTo>
                    <a:lnTo>
                      <a:pt x="40" y="268"/>
                    </a:lnTo>
                    <a:lnTo>
                      <a:pt x="44" y="268"/>
                    </a:lnTo>
                    <a:lnTo>
                      <a:pt x="49" y="265"/>
                    </a:lnTo>
                    <a:lnTo>
                      <a:pt x="55" y="263"/>
                    </a:lnTo>
                    <a:lnTo>
                      <a:pt x="61" y="259"/>
                    </a:lnTo>
                    <a:lnTo>
                      <a:pt x="67" y="255"/>
                    </a:lnTo>
                    <a:lnTo>
                      <a:pt x="70" y="249"/>
                    </a:lnTo>
                    <a:lnTo>
                      <a:pt x="76" y="244"/>
                    </a:lnTo>
                    <a:lnTo>
                      <a:pt x="78" y="240"/>
                    </a:lnTo>
                    <a:lnTo>
                      <a:pt x="80" y="236"/>
                    </a:lnTo>
                    <a:lnTo>
                      <a:pt x="82" y="232"/>
                    </a:lnTo>
                    <a:lnTo>
                      <a:pt x="84" y="227"/>
                    </a:lnTo>
                    <a:lnTo>
                      <a:pt x="84" y="221"/>
                    </a:lnTo>
                    <a:lnTo>
                      <a:pt x="86" y="217"/>
                    </a:lnTo>
                    <a:lnTo>
                      <a:pt x="86" y="211"/>
                    </a:lnTo>
                    <a:lnTo>
                      <a:pt x="86" y="206"/>
                    </a:lnTo>
                    <a:lnTo>
                      <a:pt x="84" y="198"/>
                    </a:lnTo>
                    <a:lnTo>
                      <a:pt x="84" y="192"/>
                    </a:lnTo>
                    <a:lnTo>
                      <a:pt x="82" y="185"/>
                    </a:lnTo>
                    <a:lnTo>
                      <a:pt x="80" y="177"/>
                    </a:lnTo>
                    <a:lnTo>
                      <a:pt x="78" y="173"/>
                    </a:lnTo>
                    <a:lnTo>
                      <a:pt x="76" y="170"/>
                    </a:lnTo>
                    <a:lnTo>
                      <a:pt x="76" y="166"/>
                    </a:lnTo>
                    <a:lnTo>
                      <a:pt x="76" y="160"/>
                    </a:lnTo>
                    <a:lnTo>
                      <a:pt x="74" y="156"/>
                    </a:lnTo>
                    <a:lnTo>
                      <a:pt x="74" y="152"/>
                    </a:lnTo>
                    <a:lnTo>
                      <a:pt x="74" y="149"/>
                    </a:lnTo>
                    <a:lnTo>
                      <a:pt x="74" y="145"/>
                    </a:lnTo>
                    <a:lnTo>
                      <a:pt x="74" y="141"/>
                    </a:lnTo>
                    <a:lnTo>
                      <a:pt x="74" y="137"/>
                    </a:lnTo>
                    <a:lnTo>
                      <a:pt x="74" y="133"/>
                    </a:lnTo>
                    <a:lnTo>
                      <a:pt x="74" y="128"/>
                    </a:lnTo>
                    <a:lnTo>
                      <a:pt x="74" y="124"/>
                    </a:lnTo>
                    <a:lnTo>
                      <a:pt x="74" y="120"/>
                    </a:lnTo>
                    <a:lnTo>
                      <a:pt x="76" y="116"/>
                    </a:lnTo>
                    <a:lnTo>
                      <a:pt x="76" y="113"/>
                    </a:lnTo>
                    <a:lnTo>
                      <a:pt x="76" y="109"/>
                    </a:lnTo>
                    <a:lnTo>
                      <a:pt x="78" y="105"/>
                    </a:lnTo>
                    <a:lnTo>
                      <a:pt x="78" y="101"/>
                    </a:lnTo>
                    <a:lnTo>
                      <a:pt x="80" y="97"/>
                    </a:lnTo>
                    <a:lnTo>
                      <a:pt x="82" y="90"/>
                    </a:lnTo>
                    <a:lnTo>
                      <a:pt x="86" y="84"/>
                    </a:lnTo>
                    <a:lnTo>
                      <a:pt x="87" y="76"/>
                    </a:lnTo>
                    <a:lnTo>
                      <a:pt x="91" y="69"/>
                    </a:lnTo>
                    <a:lnTo>
                      <a:pt x="95" y="63"/>
                    </a:lnTo>
                    <a:lnTo>
                      <a:pt x="99" y="57"/>
                    </a:lnTo>
                    <a:lnTo>
                      <a:pt x="101" y="50"/>
                    </a:lnTo>
                    <a:lnTo>
                      <a:pt x="105" y="44"/>
                    </a:lnTo>
                    <a:lnTo>
                      <a:pt x="108" y="38"/>
                    </a:lnTo>
                    <a:lnTo>
                      <a:pt x="112" y="33"/>
                    </a:lnTo>
                    <a:lnTo>
                      <a:pt x="114" y="27"/>
                    </a:lnTo>
                    <a:lnTo>
                      <a:pt x="118" y="21"/>
                    </a:lnTo>
                    <a:lnTo>
                      <a:pt x="122" y="17"/>
                    </a:lnTo>
                    <a:lnTo>
                      <a:pt x="125" y="14"/>
                    </a:lnTo>
                    <a:lnTo>
                      <a:pt x="129" y="8"/>
                    </a:lnTo>
                    <a:lnTo>
                      <a:pt x="135" y="2"/>
                    </a:lnTo>
                    <a:lnTo>
                      <a:pt x="137" y="0"/>
                    </a:lnTo>
                    <a:lnTo>
                      <a:pt x="139"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3" name="Freeform 68"/>
              <p:cNvSpPr>
                <a:spLocks/>
              </p:cNvSpPr>
              <p:nvPr/>
            </p:nvSpPr>
            <p:spPr bwMode="auto">
              <a:xfrm>
                <a:off x="2725738" y="3933826"/>
                <a:ext cx="320675" cy="238125"/>
              </a:xfrm>
              <a:custGeom>
                <a:avLst/>
                <a:gdLst>
                  <a:gd name="T0" fmla="*/ 2147483646 w 403"/>
                  <a:gd name="T1" fmla="*/ 2147483646 h 300"/>
                  <a:gd name="T2" fmla="*/ 2147483646 w 403"/>
                  <a:gd name="T3" fmla="*/ 2147483646 h 300"/>
                  <a:gd name="T4" fmla="*/ 2147483646 w 403"/>
                  <a:gd name="T5" fmla="*/ 2147483646 h 300"/>
                  <a:gd name="T6" fmla="*/ 2147483646 w 403"/>
                  <a:gd name="T7" fmla="*/ 2147483646 h 300"/>
                  <a:gd name="T8" fmla="*/ 2147483646 w 403"/>
                  <a:gd name="T9" fmla="*/ 2147483646 h 300"/>
                  <a:gd name="T10" fmla="*/ 2147483646 w 403"/>
                  <a:gd name="T11" fmla="*/ 2147483646 h 300"/>
                  <a:gd name="T12" fmla="*/ 2147483646 w 403"/>
                  <a:gd name="T13" fmla="*/ 2147483646 h 300"/>
                  <a:gd name="T14" fmla="*/ 2147483646 w 403"/>
                  <a:gd name="T15" fmla="*/ 2147483646 h 300"/>
                  <a:gd name="T16" fmla="*/ 2147483646 w 403"/>
                  <a:gd name="T17" fmla="*/ 2147483646 h 300"/>
                  <a:gd name="T18" fmla="*/ 2147483646 w 403"/>
                  <a:gd name="T19" fmla="*/ 2147483646 h 300"/>
                  <a:gd name="T20" fmla="*/ 2147483646 w 403"/>
                  <a:gd name="T21" fmla="*/ 2147483646 h 300"/>
                  <a:gd name="T22" fmla="*/ 2147483646 w 403"/>
                  <a:gd name="T23" fmla="*/ 2147483646 h 300"/>
                  <a:gd name="T24" fmla="*/ 2147483646 w 403"/>
                  <a:gd name="T25" fmla="*/ 2147483646 h 300"/>
                  <a:gd name="T26" fmla="*/ 2147483646 w 403"/>
                  <a:gd name="T27" fmla="*/ 2147483646 h 300"/>
                  <a:gd name="T28" fmla="*/ 2147483646 w 403"/>
                  <a:gd name="T29" fmla="*/ 2147483646 h 300"/>
                  <a:gd name="T30" fmla="*/ 2147483646 w 403"/>
                  <a:gd name="T31" fmla="*/ 2147483646 h 300"/>
                  <a:gd name="T32" fmla="*/ 2147483646 w 403"/>
                  <a:gd name="T33" fmla="*/ 2147483646 h 300"/>
                  <a:gd name="T34" fmla="*/ 2147483646 w 403"/>
                  <a:gd name="T35" fmla="*/ 2147483646 h 300"/>
                  <a:gd name="T36" fmla="*/ 2147483646 w 403"/>
                  <a:gd name="T37" fmla="*/ 2147483646 h 300"/>
                  <a:gd name="T38" fmla="*/ 2147483646 w 403"/>
                  <a:gd name="T39" fmla="*/ 2147483646 h 300"/>
                  <a:gd name="T40" fmla="*/ 2147483646 w 403"/>
                  <a:gd name="T41" fmla="*/ 2147483646 h 300"/>
                  <a:gd name="T42" fmla="*/ 2147483646 w 403"/>
                  <a:gd name="T43" fmla="*/ 2147483646 h 300"/>
                  <a:gd name="T44" fmla="*/ 2147483646 w 403"/>
                  <a:gd name="T45" fmla="*/ 2147483646 h 300"/>
                  <a:gd name="T46" fmla="*/ 2147483646 w 403"/>
                  <a:gd name="T47" fmla="*/ 2147483646 h 300"/>
                  <a:gd name="T48" fmla="*/ 2147483646 w 403"/>
                  <a:gd name="T49" fmla="*/ 2147483646 h 300"/>
                  <a:gd name="T50" fmla="*/ 2147483646 w 403"/>
                  <a:gd name="T51" fmla="*/ 2147483646 h 300"/>
                  <a:gd name="T52" fmla="*/ 2147483646 w 403"/>
                  <a:gd name="T53" fmla="*/ 2147483646 h 300"/>
                  <a:gd name="T54" fmla="*/ 2147483646 w 403"/>
                  <a:gd name="T55" fmla="*/ 2147483646 h 300"/>
                  <a:gd name="T56" fmla="*/ 2147483646 w 403"/>
                  <a:gd name="T57" fmla="*/ 2147483646 h 300"/>
                  <a:gd name="T58" fmla="*/ 2147483646 w 403"/>
                  <a:gd name="T59" fmla="*/ 2147483646 h 300"/>
                  <a:gd name="T60" fmla="*/ 2147483646 w 403"/>
                  <a:gd name="T61" fmla="*/ 2147483646 h 300"/>
                  <a:gd name="T62" fmla="*/ 2147483646 w 403"/>
                  <a:gd name="T63" fmla="*/ 2147483646 h 300"/>
                  <a:gd name="T64" fmla="*/ 2147483646 w 403"/>
                  <a:gd name="T65" fmla="*/ 2147483646 h 300"/>
                  <a:gd name="T66" fmla="*/ 2147483646 w 403"/>
                  <a:gd name="T67" fmla="*/ 2147483646 h 300"/>
                  <a:gd name="T68" fmla="*/ 2147483646 w 403"/>
                  <a:gd name="T69" fmla="*/ 2147483646 h 300"/>
                  <a:gd name="T70" fmla="*/ 2147483646 w 403"/>
                  <a:gd name="T71" fmla="*/ 2147483646 h 300"/>
                  <a:gd name="T72" fmla="*/ 2147483646 w 403"/>
                  <a:gd name="T73" fmla="*/ 2147483646 h 300"/>
                  <a:gd name="T74" fmla="*/ 2147483646 w 403"/>
                  <a:gd name="T75" fmla="*/ 2147483646 h 300"/>
                  <a:gd name="T76" fmla="*/ 2147483646 w 403"/>
                  <a:gd name="T77" fmla="*/ 2147483646 h 300"/>
                  <a:gd name="T78" fmla="*/ 2147483646 w 403"/>
                  <a:gd name="T79" fmla="*/ 2147483646 h 300"/>
                  <a:gd name="T80" fmla="*/ 2147483646 w 403"/>
                  <a:gd name="T81" fmla="*/ 2147483646 h 300"/>
                  <a:gd name="T82" fmla="*/ 2147483646 w 403"/>
                  <a:gd name="T83" fmla="*/ 2147483646 h 300"/>
                  <a:gd name="T84" fmla="*/ 2147483646 w 403"/>
                  <a:gd name="T85" fmla="*/ 2147483646 h 300"/>
                  <a:gd name="T86" fmla="*/ 2147483646 w 403"/>
                  <a:gd name="T87" fmla="*/ 2147483646 h 300"/>
                  <a:gd name="T88" fmla="*/ 2147483646 w 403"/>
                  <a:gd name="T89" fmla="*/ 2147483646 h 300"/>
                  <a:gd name="T90" fmla="*/ 2147483646 w 403"/>
                  <a:gd name="T91" fmla="*/ 2147483646 h 300"/>
                  <a:gd name="T92" fmla="*/ 2147483646 w 403"/>
                  <a:gd name="T93" fmla="*/ 2147483646 h 300"/>
                  <a:gd name="T94" fmla="*/ 2147483646 w 403"/>
                  <a:gd name="T95" fmla="*/ 2147483646 h 300"/>
                  <a:gd name="T96" fmla="*/ 2147483646 w 403"/>
                  <a:gd name="T97" fmla="*/ 2147483646 h 300"/>
                  <a:gd name="T98" fmla="*/ 2147483646 w 403"/>
                  <a:gd name="T99" fmla="*/ 2147483646 h 300"/>
                  <a:gd name="T100" fmla="*/ 2147483646 w 403"/>
                  <a:gd name="T101" fmla="*/ 2147483646 h 300"/>
                  <a:gd name="T102" fmla="*/ 2147483646 w 403"/>
                  <a:gd name="T103" fmla="*/ 2147483646 h 300"/>
                  <a:gd name="T104" fmla="*/ 2147483646 w 403"/>
                  <a:gd name="T105" fmla="*/ 2147483646 h 300"/>
                  <a:gd name="T106" fmla="*/ 2147483646 w 403"/>
                  <a:gd name="T107" fmla="*/ 2147483646 h 300"/>
                  <a:gd name="T108" fmla="*/ 2147483646 w 403"/>
                  <a:gd name="T109" fmla="*/ 2147483646 h 300"/>
                  <a:gd name="T110" fmla="*/ 2147483646 w 403"/>
                  <a:gd name="T111" fmla="*/ 2147483646 h 300"/>
                  <a:gd name="T112" fmla="*/ 2147483646 w 403"/>
                  <a:gd name="T113" fmla="*/ 0 h 3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03"/>
                  <a:gd name="T172" fmla="*/ 0 h 300"/>
                  <a:gd name="T173" fmla="*/ 403 w 403"/>
                  <a:gd name="T174" fmla="*/ 300 h 3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03" h="300">
                    <a:moveTo>
                      <a:pt x="338" y="0"/>
                    </a:moveTo>
                    <a:lnTo>
                      <a:pt x="338" y="0"/>
                    </a:lnTo>
                    <a:lnTo>
                      <a:pt x="340" y="4"/>
                    </a:lnTo>
                    <a:lnTo>
                      <a:pt x="342" y="7"/>
                    </a:lnTo>
                    <a:lnTo>
                      <a:pt x="344" y="11"/>
                    </a:lnTo>
                    <a:lnTo>
                      <a:pt x="346" y="15"/>
                    </a:lnTo>
                    <a:lnTo>
                      <a:pt x="347" y="21"/>
                    </a:lnTo>
                    <a:lnTo>
                      <a:pt x="349" y="25"/>
                    </a:lnTo>
                    <a:lnTo>
                      <a:pt x="351" y="30"/>
                    </a:lnTo>
                    <a:lnTo>
                      <a:pt x="353" y="36"/>
                    </a:lnTo>
                    <a:lnTo>
                      <a:pt x="355" y="44"/>
                    </a:lnTo>
                    <a:lnTo>
                      <a:pt x="357" y="49"/>
                    </a:lnTo>
                    <a:lnTo>
                      <a:pt x="359" y="57"/>
                    </a:lnTo>
                    <a:lnTo>
                      <a:pt x="359" y="61"/>
                    </a:lnTo>
                    <a:lnTo>
                      <a:pt x="361" y="64"/>
                    </a:lnTo>
                    <a:lnTo>
                      <a:pt x="361" y="68"/>
                    </a:lnTo>
                    <a:lnTo>
                      <a:pt x="363" y="72"/>
                    </a:lnTo>
                    <a:lnTo>
                      <a:pt x="363" y="80"/>
                    </a:lnTo>
                    <a:lnTo>
                      <a:pt x="365" y="87"/>
                    </a:lnTo>
                    <a:lnTo>
                      <a:pt x="365" y="91"/>
                    </a:lnTo>
                    <a:lnTo>
                      <a:pt x="365" y="95"/>
                    </a:lnTo>
                    <a:lnTo>
                      <a:pt x="365" y="99"/>
                    </a:lnTo>
                    <a:lnTo>
                      <a:pt x="366" y="103"/>
                    </a:lnTo>
                    <a:lnTo>
                      <a:pt x="365" y="106"/>
                    </a:lnTo>
                    <a:lnTo>
                      <a:pt x="365" y="110"/>
                    </a:lnTo>
                    <a:lnTo>
                      <a:pt x="365" y="114"/>
                    </a:lnTo>
                    <a:lnTo>
                      <a:pt x="365" y="120"/>
                    </a:lnTo>
                    <a:lnTo>
                      <a:pt x="365" y="123"/>
                    </a:lnTo>
                    <a:lnTo>
                      <a:pt x="363" y="127"/>
                    </a:lnTo>
                    <a:lnTo>
                      <a:pt x="363" y="131"/>
                    </a:lnTo>
                    <a:lnTo>
                      <a:pt x="363" y="135"/>
                    </a:lnTo>
                    <a:lnTo>
                      <a:pt x="361" y="139"/>
                    </a:lnTo>
                    <a:lnTo>
                      <a:pt x="361" y="142"/>
                    </a:lnTo>
                    <a:lnTo>
                      <a:pt x="359" y="146"/>
                    </a:lnTo>
                    <a:lnTo>
                      <a:pt x="359" y="150"/>
                    </a:lnTo>
                    <a:lnTo>
                      <a:pt x="357" y="154"/>
                    </a:lnTo>
                    <a:lnTo>
                      <a:pt x="355" y="158"/>
                    </a:lnTo>
                    <a:lnTo>
                      <a:pt x="353" y="161"/>
                    </a:lnTo>
                    <a:lnTo>
                      <a:pt x="351" y="165"/>
                    </a:lnTo>
                    <a:lnTo>
                      <a:pt x="346" y="173"/>
                    </a:lnTo>
                    <a:lnTo>
                      <a:pt x="342" y="179"/>
                    </a:lnTo>
                    <a:lnTo>
                      <a:pt x="334" y="186"/>
                    </a:lnTo>
                    <a:lnTo>
                      <a:pt x="328" y="192"/>
                    </a:lnTo>
                    <a:lnTo>
                      <a:pt x="325" y="194"/>
                    </a:lnTo>
                    <a:lnTo>
                      <a:pt x="321" y="198"/>
                    </a:lnTo>
                    <a:lnTo>
                      <a:pt x="317" y="199"/>
                    </a:lnTo>
                    <a:lnTo>
                      <a:pt x="313" y="201"/>
                    </a:lnTo>
                    <a:lnTo>
                      <a:pt x="308" y="203"/>
                    </a:lnTo>
                    <a:lnTo>
                      <a:pt x="302" y="205"/>
                    </a:lnTo>
                    <a:lnTo>
                      <a:pt x="298" y="207"/>
                    </a:lnTo>
                    <a:lnTo>
                      <a:pt x="294" y="209"/>
                    </a:lnTo>
                    <a:lnTo>
                      <a:pt x="289" y="211"/>
                    </a:lnTo>
                    <a:lnTo>
                      <a:pt x="283" y="211"/>
                    </a:lnTo>
                    <a:lnTo>
                      <a:pt x="279" y="213"/>
                    </a:lnTo>
                    <a:lnTo>
                      <a:pt x="273" y="215"/>
                    </a:lnTo>
                    <a:lnTo>
                      <a:pt x="268" y="215"/>
                    </a:lnTo>
                    <a:lnTo>
                      <a:pt x="264" y="217"/>
                    </a:lnTo>
                    <a:lnTo>
                      <a:pt x="258" y="217"/>
                    </a:lnTo>
                    <a:lnTo>
                      <a:pt x="252" y="218"/>
                    </a:lnTo>
                    <a:lnTo>
                      <a:pt x="247" y="218"/>
                    </a:lnTo>
                    <a:lnTo>
                      <a:pt x="241" y="218"/>
                    </a:lnTo>
                    <a:lnTo>
                      <a:pt x="235" y="220"/>
                    </a:lnTo>
                    <a:lnTo>
                      <a:pt x="232" y="220"/>
                    </a:lnTo>
                    <a:lnTo>
                      <a:pt x="226" y="220"/>
                    </a:lnTo>
                    <a:lnTo>
                      <a:pt x="220" y="220"/>
                    </a:lnTo>
                    <a:lnTo>
                      <a:pt x="214" y="220"/>
                    </a:lnTo>
                    <a:lnTo>
                      <a:pt x="209" y="222"/>
                    </a:lnTo>
                    <a:lnTo>
                      <a:pt x="203" y="222"/>
                    </a:lnTo>
                    <a:lnTo>
                      <a:pt x="197" y="222"/>
                    </a:lnTo>
                    <a:lnTo>
                      <a:pt x="192" y="222"/>
                    </a:lnTo>
                    <a:lnTo>
                      <a:pt x="186" y="222"/>
                    </a:lnTo>
                    <a:lnTo>
                      <a:pt x="180" y="222"/>
                    </a:lnTo>
                    <a:lnTo>
                      <a:pt x="175" y="224"/>
                    </a:lnTo>
                    <a:lnTo>
                      <a:pt x="167" y="224"/>
                    </a:lnTo>
                    <a:lnTo>
                      <a:pt x="163" y="224"/>
                    </a:lnTo>
                    <a:lnTo>
                      <a:pt x="156" y="224"/>
                    </a:lnTo>
                    <a:lnTo>
                      <a:pt x="150" y="224"/>
                    </a:lnTo>
                    <a:lnTo>
                      <a:pt x="144" y="224"/>
                    </a:lnTo>
                    <a:lnTo>
                      <a:pt x="138" y="226"/>
                    </a:lnTo>
                    <a:lnTo>
                      <a:pt x="133" y="226"/>
                    </a:lnTo>
                    <a:lnTo>
                      <a:pt x="127" y="226"/>
                    </a:lnTo>
                    <a:lnTo>
                      <a:pt x="121" y="226"/>
                    </a:lnTo>
                    <a:lnTo>
                      <a:pt x="116" y="228"/>
                    </a:lnTo>
                    <a:lnTo>
                      <a:pt x="110" y="228"/>
                    </a:lnTo>
                    <a:lnTo>
                      <a:pt x="104" y="230"/>
                    </a:lnTo>
                    <a:lnTo>
                      <a:pt x="99" y="230"/>
                    </a:lnTo>
                    <a:lnTo>
                      <a:pt x="93" y="232"/>
                    </a:lnTo>
                    <a:lnTo>
                      <a:pt x="87" y="232"/>
                    </a:lnTo>
                    <a:lnTo>
                      <a:pt x="81" y="234"/>
                    </a:lnTo>
                    <a:lnTo>
                      <a:pt x="76" y="236"/>
                    </a:lnTo>
                    <a:lnTo>
                      <a:pt x="72" y="237"/>
                    </a:lnTo>
                    <a:lnTo>
                      <a:pt x="66" y="239"/>
                    </a:lnTo>
                    <a:lnTo>
                      <a:pt x="61" y="241"/>
                    </a:lnTo>
                    <a:lnTo>
                      <a:pt x="55" y="243"/>
                    </a:lnTo>
                    <a:lnTo>
                      <a:pt x="51" y="245"/>
                    </a:lnTo>
                    <a:lnTo>
                      <a:pt x="45" y="247"/>
                    </a:lnTo>
                    <a:lnTo>
                      <a:pt x="42" y="251"/>
                    </a:lnTo>
                    <a:lnTo>
                      <a:pt x="36" y="253"/>
                    </a:lnTo>
                    <a:lnTo>
                      <a:pt x="32" y="256"/>
                    </a:lnTo>
                    <a:lnTo>
                      <a:pt x="28" y="258"/>
                    </a:lnTo>
                    <a:lnTo>
                      <a:pt x="23" y="262"/>
                    </a:lnTo>
                    <a:lnTo>
                      <a:pt x="19" y="266"/>
                    </a:lnTo>
                    <a:lnTo>
                      <a:pt x="15" y="270"/>
                    </a:lnTo>
                    <a:lnTo>
                      <a:pt x="11" y="274"/>
                    </a:lnTo>
                    <a:lnTo>
                      <a:pt x="5" y="277"/>
                    </a:lnTo>
                    <a:lnTo>
                      <a:pt x="4" y="281"/>
                    </a:lnTo>
                    <a:lnTo>
                      <a:pt x="0" y="287"/>
                    </a:lnTo>
                    <a:lnTo>
                      <a:pt x="23" y="300"/>
                    </a:lnTo>
                    <a:lnTo>
                      <a:pt x="23" y="296"/>
                    </a:lnTo>
                    <a:lnTo>
                      <a:pt x="28" y="293"/>
                    </a:lnTo>
                    <a:lnTo>
                      <a:pt x="32" y="289"/>
                    </a:lnTo>
                    <a:lnTo>
                      <a:pt x="36" y="285"/>
                    </a:lnTo>
                    <a:lnTo>
                      <a:pt x="43" y="281"/>
                    </a:lnTo>
                    <a:lnTo>
                      <a:pt x="49" y="277"/>
                    </a:lnTo>
                    <a:lnTo>
                      <a:pt x="53" y="274"/>
                    </a:lnTo>
                    <a:lnTo>
                      <a:pt x="57" y="272"/>
                    </a:lnTo>
                    <a:lnTo>
                      <a:pt x="61" y="270"/>
                    </a:lnTo>
                    <a:lnTo>
                      <a:pt x="66" y="268"/>
                    </a:lnTo>
                    <a:lnTo>
                      <a:pt x="70" y="266"/>
                    </a:lnTo>
                    <a:lnTo>
                      <a:pt x="76" y="264"/>
                    </a:lnTo>
                    <a:lnTo>
                      <a:pt x="80" y="262"/>
                    </a:lnTo>
                    <a:lnTo>
                      <a:pt x="87" y="262"/>
                    </a:lnTo>
                    <a:lnTo>
                      <a:pt x="91" y="260"/>
                    </a:lnTo>
                    <a:lnTo>
                      <a:pt x="99" y="258"/>
                    </a:lnTo>
                    <a:lnTo>
                      <a:pt x="104" y="256"/>
                    </a:lnTo>
                    <a:lnTo>
                      <a:pt x="112" y="256"/>
                    </a:lnTo>
                    <a:lnTo>
                      <a:pt x="118" y="256"/>
                    </a:lnTo>
                    <a:lnTo>
                      <a:pt x="125" y="256"/>
                    </a:lnTo>
                    <a:lnTo>
                      <a:pt x="129" y="256"/>
                    </a:lnTo>
                    <a:lnTo>
                      <a:pt x="133" y="256"/>
                    </a:lnTo>
                    <a:lnTo>
                      <a:pt x="138" y="256"/>
                    </a:lnTo>
                    <a:lnTo>
                      <a:pt x="142" y="256"/>
                    </a:lnTo>
                    <a:lnTo>
                      <a:pt x="146" y="256"/>
                    </a:lnTo>
                    <a:lnTo>
                      <a:pt x="150" y="256"/>
                    </a:lnTo>
                    <a:lnTo>
                      <a:pt x="154" y="256"/>
                    </a:lnTo>
                    <a:lnTo>
                      <a:pt x="157" y="256"/>
                    </a:lnTo>
                    <a:lnTo>
                      <a:pt x="161" y="256"/>
                    </a:lnTo>
                    <a:lnTo>
                      <a:pt x="167" y="256"/>
                    </a:lnTo>
                    <a:lnTo>
                      <a:pt x="171" y="256"/>
                    </a:lnTo>
                    <a:lnTo>
                      <a:pt x="175" y="256"/>
                    </a:lnTo>
                    <a:lnTo>
                      <a:pt x="180" y="256"/>
                    </a:lnTo>
                    <a:lnTo>
                      <a:pt x="184" y="256"/>
                    </a:lnTo>
                    <a:lnTo>
                      <a:pt x="190" y="256"/>
                    </a:lnTo>
                    <a:lnTo>
                      <a:pt x="194" y="256"/>
                    </a:lnTo>
                    <a:lnTo>
                      <a:pt x="197" y="256"/>
                    </a:lnTo>
                    <a:lnTo>
                      <a:pt x="203" y="256"/>
                    </a:lnTo>
                    <a:lnTo>
                      <a:pt x="207" y="256"/>
                    </a:lnTo>
                    <a:lnTo>
                      <a:pt x="213" y="258"/>
                    </a:lnTo>
                    <a:lnTo>
                      <a:pt x="216" y="256"/>
                    </a:lnTo>
                    <a:lnTo>
                      <a:pt x="222" y="256"/>
                    </a:lnTo>
                    <a:lnTo>
                      <a:pt x="226" y="256"/>
                    </a:lnTo>
                    <a:lnTo>
                      <a:pt x="232" y="256"/>
                    </a:lnTo>
                    <a:lnTo>
                      <a:pt x="235" y="256"/>
                    </a:lnTo>
                    <a:lnTo>
                      <a:pt x="241" y="256"/>
                    </a:lnTo>
                    <a:lnTo>
                      <a:pt x="245" y="256"/>
                    </a:lnTo>
                    <a:lnTo>
                      <a:pt x="251" y="256"/>
                    </a:lnTo>
                    <a:lnTo>
                      <a:pt x="254" y="256"/>
                    </a:lnTo>
                    <a:lnTo>
                      <a:pt x="258" y="255"/>
                    </a:lnTo>
                    <a:lnTo>
                      <a:pt x="264" y="255"/>
                    </a:lnTo>
                    <a:lnTo>
                      <a:pt x="268" y="255"/>
                    </a:lnTo>
                    <a:lnTo>
                      <a:pt x="273" y="255"/>
                    </a:lnTo>
                    <a:lnTo>
                      <a:pt x="277" y="253"/>
                    </a:lnTo>
                    <a:lnTo>
                      <a:pt x="283" y="253"/>
                    </a:lnTo>
                    <a:lnTo>
                      <a:pt x="289" y="253"/>
                    </a:lnTo>
                    <a:lnTo>
                      <a:pt x="292" y="251"/>
                    </a:lnTo>
                    <a:lnTo>
                      <a:pt x="296" y="251"/>
                    </a:lnTo>
                    <a:lnTo>
                      <a:pt x="300" y="249"/>
                    </a:lnTo>
                    <a:lnTo>
                      <a:pt x="306" y="249"/>
                    </a:lnTo>
                    <a:lnTo>
                      <a:pt x="309" y="247"/>
                    </a:lnTo>
                    <a:lnTo>
                      <a:pt x="313" y="245"/>
                    </a:lnTo>
                    <a:lnTo>
                      <a:pt x="317" y="245"/>
                    </a:lnTo>
                    <a:lnTo>
                      <a:pt x="323" y="243"/>
                    </a:lnTo>
                    <a:lnTo>
                      <a:pt x="325" y="241"/>
                    </a:lnTo>
                    <a:lnTo>
                      <a:pt x="328" y="241"/>
                    </a:lnTo>
                    <a:lnTo>
                      <a:pt x="334" y="237"/>
                    </a:lnTo>
                    <a:lnTo>
                      <a:pt x="338" y="237"/>
                    </a:lnTo>
                    <a:lnTo>
                      <a:pt x="342" y="236"/>
                    </a:lnTo>
                    <a:lnTo>
                      <a:pt x="346" y="234"/>
                    </a:lnTo>
                    <a:lnTo>
                      <a:pt x="349" y="230"/>
                    </a:lnTo>
                    <a:lnTo>
                      <a:pt x="353" y="228"/>
                    </a:lnTo>
                    <a:lnTo>
                      <a:pt x="359" y="224"/>
                    </a:lnTo>
                    <a:lnTo>
                      <a:pt x="366" y="218"/>
                    </a:lnTo>
                    <a:lnTo>
                      <a:pt x="372" y="213"/>
                    </a:lnTo>
                    <a:lnTo>
                      <a:pt x="378" y="205"/>
                    </a:lnTo>
                    <a:lnTo>
                      <a:pt x="384" y="199"/>
                    </a:lnTo>
                    <a:lnTo>
                      <a:pt x="389" y="192"/>
                    </a:lnTo>
                    <a:lnTo>
                      <a:pt x="391" y="188"/>
                    </a:lnTo>
                    <a:lnTo>
                      <a:pt x="393" y="184"/>
                    </a:lnTo>
                    <a:lnTo>
                      <a:pt x="395" y="179"/>
                    </a:lnTo>
                    <a:lnTo>
                      <a:pt x="397" y="175"/>
                    </a:lnTo>
                    <a:lnTo>
                      <a:pt x="397" y="171"/>
                    </a:lnTo>
                    <a:lnTo>
                      <a:pt x="399" y="165"/>
                    </a:lnTo>
                    <a:lnTo>
                      <a:pt x="399" y="161"/>
                    </a:lnTo>
                    <a:lnTo>
                      <a:pt x="401" y="156"/>
                    </a:lnTo>
                    <a:lnTo>
                      <a:pt x="401" y="152"/>
                    </a:lnTo>
                    <a:lnTo>
                      <a:pt x="403" y="146"/>
                    </a:lnTo>
                    <a:lnTo>
                      <a:pt x="403" y="142"/>
                    </a:lnTo>
                    <a:lnTo>
                      <a:pt x="403" y="139"/>
                    </a:lnTo>
                    <a:lnTo>
                      <a:pt x="403" y="135"/>
                    </a:lnTo>
                    <a:lnTo>
                      <a:pt x="403" y="131"/>
                    </a:lnTo>
                    <a:lnTo>
                      <a:pt x="403" y="127"/>
                    </a:lnTo>
                    <a:lnTo>
                      <a:pt x="403" y="122"/>
                    </a:lnTo>
                    <a:lnTo>
                      <a:pt x="403" y="118"/>
                    </a:lnTo>
                    <a:lnTo>
                      <a:pt x="403" y="114"/>
                    </a:lnTo>
                    <a:lnTo>
                      <a:pt x="401" y="110"/>
                    </a:lnTo>
                    <a:lnTo>
                      <a:pt x="401" y="106"/>
                    </a:lnTo>
                    <a:lnTo>
                      <a:pt x="401" y="103"/>
                    </a:lnTo>
                    <a:lnTo>
                      <a:pt x="399" y="99"/>
                    </a:lnTo>
                    <a:lnTo>
                      <a:pt x="399" y="95"/>
                    </a:lnTo>
                    <a:lnTo>
                      <a:pt x="397" y="89"/>
                    </a:lnTo>
                    <a:lnTo>
                      <a:pt x="395" y="83"/>
                    </a:lnTo>
                    <a:lnTo>
                      <a:pt x="393" y="76"/>
                    </a:lnTo>
                    <a:lnTo>
                      <a:pt x="389" y="68"/>
                    </a:lnTo>
                    <a:lnTo>
                      <a:pt x="385" y="63"/>
                    </a:lnTo>
                    <a:lnTo>
                      <a:pt x="384" y="55"/>
                    </a:lnTo>
                    <a:lnTo>
                      <a:pt x="380" y="51"/>
                    </a:lnTo>
                    <a:lnTo>
                      <a:pt x="376" y="44"/>
                    </a:lnTo>
                    <a:lnTo>
                      <a:pt x="372" y="38"/>
                    </a:lnTo>
                    <a:lnTo>
                      <a:pt x="368" y="34"/>
                    </a:lnTo>
                    <a:lnTo>
                      <a:pt x="365" y="28"/>
                    </a:lnTo>
                    <a:lnTo>
                      <a:pt x="361" y="23"/>
                    </a:lnTo>
                    <a:lnTo>
                      <a:pt x="357" y="19"/>
                    </a:lnTo>
                    <a:lnTo>
                      <a:pt x="353" y="15"/>
                    </a:lnTo>
                    <a:lnTo>
                      <a:pt x="351" y="13"/>
                    </a:lnTo>
                    <a:lnTo>
                      <a:pt x="346" y="6"/>
                    </a:lnTo>
                    <a:lnTo>
                      <a:pt x="342" y="4"/>
                    </a:lnTo>
                    <a:lnTo>
                      <a:pt x="338"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4" name="Freeform 69"/>
              <p:cNvSpPr>
                <a:spLocks/>
              </p:cNvSpPr>
              <p:nvPr/>
            </p:nvSpPr>
            <p:spPr bwMode="auto">
              <a:xfrm>
                <a:off x="2249488" y="3303588"/>
                <a:ext cx="136525" cy="182563"/>
              </a:xfrm>
              <a:custGeom>
                <a:avLst/>
                <a:gdLst>
                  <a:gd name="T0" fmla="*/ 2147483646 w 171"/>
                  <a:gd name="T1" fmla="*/ 0 h 230"/>
                  <a:gd name="T2" fmla="*/ 2147483646 w 171"/>
                  <a:gd name="T3" fmla="*/ 2147483646 h 230"/>
                  <a:gd name="T4" fmla="*/ 2147483646 w 171"/>
                  <a:gd name="T5" fmla="*/ 2147483646 h 230"/>
                  <a:gd name="T6" fmla="*/ 2147483646 w 171"/>
                  <a:gd name="T7" fmla="*/ 2147483646 h 230"/>
                  <a:gd name="T8" fmla="*/ 2147483646 w 171"/>
                  <a:gd name="T9" fmla="*/ 2147483646 h 230"/>
                  <a:gd name="T10" fmla="*/ 2147483646 w 171"/>
                  <a:gd name="T11" fmla="*/ 2147483646 h 230"/>
                  <a:gd name="T12" fmla="*/ 2147483646 w 171"/>
                  <a:gd name="T13" fmla="*/ 2147483646 h 230"/>
                  <a:gd name="T14" fmla="*/ 2147483646 w 171"/>
                  <a:gd name="T15" fmla="*/ 2147483646 h 230"/>
                  <a:gd name="T16" fmla="*/ 2147483646 w 171"/>
                  <a:gd name="T17" fmla="*/ 2147483646 h 230"/>
                  <a:gd name="T18" fmla="*/ 2147483646 w 171"/>
                  <a:gd name="T19" fmla="*/ 2147483646 h 230"/>
                  <a:gd name="T20" fmla="*/ 2147483646 w 171"/>
                  <a:gd name="T21" fmla="*/ 2147483646 h 230"/>
                  <a:gd name="T22" fmla="*/ 2147483646 w 171"/>
                  <a:gd name="T23" fmla="*/ 2147483646 h 230"/>
                  <a:gd name="T24" fmla="*/ 2147483646 w 171"/>
                  <a:gd name="T25" fmla="*/ 2147483646 h 230"/>
                  <a:gd name="T26" fmla="*/ 2147483646 w 171"/>
                  <a:gd name="T27" fmla="*/ 2147483646 h 230"/>
                  <a:gd name="T28" fmla="*/ 2147483646 w 171"/>
                  <a:gd name="T29" fmla="*/ 2147483646 h 230"/>
                  <a:gd name="T30" fmla="*/ 2147483646 w 171"/>
                  <a:gd name="T31" fmla="*/ 2147483646 h 230"/>
                  <a:gd name="T32" fmla="*/ 2147483646 w 171"/>
                  <a:gd name="T33" fmla="*/ 2147483646 h 230"/>
                  <a:gd name="T34" fmla="*/ 2147483646 w 171"/>
                  <a:gd name="T35" fmla="*/ 2147483646 h 230"/>
                  <a:gd name="T36" fmla="*/ 2147483646 w 171"/>
                  <a:gd name="T37" fmla="*/ 2147483646 h 230"/>
                  <a:gd name="T38" fmla="*/ 2147483646 w 171"/>
                  <a:gd name="T39" fmla="*/ 2147483646 h 230"/>
                  <a:gd name="T40" fmla="*/ 2147483646 w 171"/>
                  <a:gd name="T41" fmla="*/ 2147483646 h 230"/>
                  <a:gd name="T42" fmla="*/ 2147483646 w 171"/>
                  <a:gd name="T43" fmla="*/ 2147483646 h 230"/>
                  <a:gd name="T44" fmla="*/ 2147483646 w 171"/>
                  <a:gd name="T45" fmla="*/ 2147483646 h 230"/>
                  <a:gd name="T46" fmla="*/ 2147483646 w 171"/>
                  <a:gd name="T47" fmla="*/ 2147483646 h 230"/>
                  <a:gd name="T48" fmla="*/ 2147483646 w 171"/>
                  <a:gd name="T49" fmla="*/ 2147483646 h 230"/>
                  <a:gd name="T50" fmla="*/ 0 w 171"/>
                  <a:gd name="T51" fmla="*/ 2147483646 h 230"/>
                  <a:gd name="T52" fmla="*/ 0 w 171"/>
                  <a:gd name="T53" fmla="*/ 2147483646 h 230"/>
                  <a:gd name="T54" fmla="*/ 2147483646 w 171"/>
                  <a:gd name="T55" fmla="*/ 2147483646 h 230"/>
                  <a:gd name="T56" fmla="*/ 2147483646 w 171"/>
                  <a:gd name="T57" fmla="*/ 2147483646 h 230"/>
                  <a:gd name="T58" fmla="*/ 2147483646 w 171"/>
                  <a:gd name="T59" fmla="*/ 2147483646 h 230"/>
                  <a:gd name="T60" fmla="*/ 2147483646 w 171"/>
                  <a:gd name="T61" fmla="*/ 2147483646 h 230"/>
                  <a:gd name="T62" fmla="*/ 2147483646 w 171"/>
                  <a:gd name="T63" fmla="*/ 2147483646 h 230"/>
                  <a:gd name="T64" fmla="*/ 2147483646 w 171"/>
                  <a:gd name="T65" fmla="*/ 2147483646 h 230"/>
                  <a:gd name="T66" fmla="*/ 2147483646 w 171"/>
                  <a:gd name="T67" fmla="*/ 2147483646 h 230"/>
                  <a:gd name="T68" fmla="*/ 2147483646 w 171"/>
                  <a:gd name="T69" fmla="*/ 2147483646 h 230"/>
                  <a:gd name="T70" fmla="*/ 2147483646 w 171"/>
                  <a:gd name="T71" fmla="*/ 2147483646 h 230"/>
                  <a:gd name="T72" fmla="*/ 2147483646 w 171"/>
                  <a:gd name="T73" fmla="*/ 2147483646 h 230"/>
                  <a:gd name="T74" fmla="*/ 2147483646 w 171"/>
                  <a:gd name="T75" fmla="*/ 2147483646 h 230"/>
                  <a:gd name="T76" fmla="*/ 2147483646 w 171"/>
                  <a:gd name="T77" fmla="*/ 2147483646 h 230"/>
                  <a:gd name="T78" fmla="*/ 2147483646 w 171"/>
                  <a:gd name="T79" fmla="*/ 2147483646 h 230"/>
                  <a:gd name="T80" fmla="*/ 2147483646 w 171"/>
                  <a:gd name="T81" fmla="*/ 2147483646 h 230"/>
                  <a:gd name="T82" fmla="*/ 2147483646 w 171"/>
                  <a:gd name="T83" fmla="*/ 2147483646 h 230"/>
                  <a:gd name="T84" fmla="*/ 2147483646 w 171"/>
                  <a:gd name="T85" fmla="*/ 2147483646 h 230"/>
                  <a:gd name="T86" fmla="*/ 2147483646 w 171"/>
                  <a:gd name="T87" fmla="*/ 2147483646 h 230"/>
                  <a:gd name="T88" fmla="*/ 2147483646 w 171"/>
                  <a:gd name="T89" fmla="*/ 2147483646 h 230"/>
                  <a:gd name="T90" fmla="*/ 2147483646 w 171"/>
                  <a:gd name="T91" fmla="*/ 2147483646 h 230"/>
                  <a:gd name="T92" fmla="*/ 2147483646 w 171"/>
                  <a:gd name="T93" fmla="*/ 2147483646 h 230"/>
                  <a:gd name="T94" fmla="*/ 2147483646 w 171"/>
                  <a:gd name="T95" fmla="*/ 2147483646 h 230"/>
                  <a:gd name="T96" fmla="*/ 2147483646 w 171"/>
                  <a:gd name="T97" fmla="*/ 2147483646 h 230"/>
                  <a:gd name="T98" fmla="*/ 2147483646 w 171"/>
                  <a:gd name="T99" fmla="*/ 2147483646 h 230"/>
                  <a:gd name="T100" fmla="*/ 2147483646 w 171"/>
                  <a:gd name="T101" fmla="*/ 2147483646 h 230"/>
                  <a:gd name="T102" fmla="*/ 2147483646 w 171"/>
                  <a:gd name="T103" fmla="*/ 0 h 2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1"/>
                  <a:gd name="T157" fmla="*/ 0 h 230"/>
                  <a:gd name="T158" fmla="*/ 171 w 171"/>
                  <a:gd name="T159" fmla="*/ 230 h 2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1" h="230">
                    <a:moveTo>
                      <a:pt x="171" y="0"/>
                    </a:moveTo>
                    <a:lnTo>
                      <a:pt x="169" y="0"/>
                    </a:lnTo>
                    <a:lnTo>
                      <a:pt x="166" y="0"/>
                    </a:lnTo>
                    <a:lnTo>
                      <a:pt x="164" y="2"/>
                    </a:lnTo>
                    <a:lnTo>
                      <a:pt x="160" y="4"/>
                    </a:lnTo>
                    <a:lnTo>
                      <a:pt x="156" y="6"/>
                    </a:lnTo>
                    <a:lnTo>
                      <a:pt x="152" y="8"/>
                    </a:lnTo>
                    <a:lnTo>
                      <a:pt x="147" y="10"/>
                    </a:lnTo>
                    <a:lnTo>
                      <a:pt x="141" y="12"/>
                    </a:lnTo>
                    <a:lnTo>
                      <a:pt x="135" y="14"/>
                    </a:lnTo>
                    <a:lnTo>
                      <a:pt x="131" y="17"/>
                    </a:lnTo>
                    <a:lnTo>
                      <a:pt x="126" y="21"/>
                    </a:lnTo>
                    <a:lnTo>
                      <a:pt x="120" y="25"/>
                    </a:lnTo>
                    <a:lnTo>
                      <a:pt x="112" y="29"/>
                    </a:lnTo>
                    <a:lnTo>
                      <a:pt x="107" y="33"/>
                    </a:lnTo>
                    <a:lnTo>
                      <a:pt x="101" y="38"/>
                    </a:lnTo>
                    <a:lnTo>
                      <a:pt x="93" y="42"/>
                    </a:lnTo>
                    <a:lnTo>
                      <a:pt x="88" y="48"/>
                    </a:lnTo>
                    <a:lnTo>
                      <a:pt x="80" y="53"/>
                    </a:lnTo>
                    <a:lnTo>
                      <a:pt x="74" y="59"/>
                    </a:lnTo>
                    <a:lnTo>
                      <a:pt x="67" y="65"/>
                    </a:lnTo>
                    <a:lnTo>
                      <a:pt x="61" y="72"/>
                    </a:lnTo>
                    <a:lnTo>
                      <a:pt x="55" y="78"/>
                    </a:lnTo>
                    <a:lnTo>
                      <a:pt x="50" y="86"/>
                    </a:lnTo>
                    <a:lnTo>
                      <a:pt x="42" y="93"/>
                    </a:lnTo>
                    <a:lnTo>
                      <a:pt x="40" y="97"/>
                    </a:lnTo>
                    <a:lnTo>
                      <a:pt x="36" y="101"/>
                    </a:lnTo>
                    <a:lnTo>
                      <a:pt x="35" y="107"/>
                    </a:lnTo>
                    <a:lnTo>
                      <a:pt x="33" y="110"/>
                    </a:lnTo>
                    <a:lnTo>
                      <a:pt x="29" y="114"/>
                    </a:lnTo>
                    <a:lnTo>
                      <a:pt x="27" y="118"/>
                    </a:lnTo>
                    <a:lnTo>
                      <a:pt x="25" y="124"/>
                    </a:lnTo>
                    <a:lnTo>
                      <a:pt x="23" y="129"/>
                    </a:lnTo>
                    <a:lnTo>
                      <a:pt x="21" y="133"/>
                    </a:lnTo>
                    <a:lnTo>
                      <a:pt x="19" y="139"/>
                    </a:lnTo>
                    <a:lnTo>
                      <a:pt x="17" y="143"/>
                    </a:lnTo>
                    <a:lnTo>
                      <a:pt x="16" y="149"/>
                    </a:lnTo>
                    <a:lnTo>
                      <a:pt x="14" y="154"/>
                    </a:lnTo>
                    <a:lnTo>
                      <a:pt x="12" y="158"/>
                    </a:lnTo>
                    <a:lnTo>
                      <a:pt x="12" y="164"/>
                    </a:lnTo>
                    <a:lnTo>
                      <a:pt x="10" y="168"/>
                    </a:lnTo>
                    <a:lnTo>
                      <a:pt x="8" y="171"/>
                    </a:lnTo>
                    <a:lnTo>
                      <a:pt x="8" y="175"/>
                    </a:lnTo>
                    <a:lnTo>
                      <a:pt x="6" y="181"/>
                    </a:lnTo>
                    <a:lnTo>
                      <a:pt x="6" y="185"/>
                    </a:lnTo>
                    <a:lnTo>
                      <a:pt x="4" y="190"/>
                    </a:lnTo>
                    <a:lnTo>
                      <a:pt x="4" y="198"/>
                    </a:lnTo>
                    <a:lnTo>
                      <a:pt x="2" y="204"/>
                    </a:lnTo>
                    <a:lnTo>
                      <a:pt x="2" y="209"/>
                    </a:lnTo>
                    <a:lnTo>
                      <a:pt x="2" y="215"/>
                    </a:lnTo>
                    <a:lnTo>
                      <a:pt x="0" y="219"/>
                    </a:lnTo>
                    <a:lnTo>
                      <a:pt x="0" y="223"/>
                    </a:lnTo>
                    <a:lnTo>
                      <a:pt x="0" y="225"/>
                    </a:lnTo>
                    <a:lnTo>
                      <a:pt x="0" y="228"/>
                    </a:lnTo>
                    <a:lnTo>
                      <a:pt x="2" y="230"/>
                    </a:lnTo>
                    <a:lnTo>
                      <a:pt x="14" y="228"/>
                    </a:lnTo>
                    <a:lnTo>
                      <a:pt x="14" y="226"/>
                    </a:lnTo>
                    <a:lnTo>
                      <a:pt x="14" y="225"/>
                    </a:lnTo>
                    <a:lnTo>
                      <a:pt x="14" y="219"/>
                    </a:lnTo>
                    <a:lnTo>
                      <a:pt x="16" y="213"/>
                    </a:lnTo>
                    <a:lnTo>
                      <a:pt x="16" y="209"/>
                    </a:lnTo>
                    <a:lnTo>
                      <a:pt x="16" y="206"/>
                    </a:lnTo>
                    <a:lnTo>
                      <a:pt x="17" y="200"/>
                    </a:lnTo>
                    <a:lnTo>
                      <a:pt x="19" y="196"/>
                    </a:lnTo>
                    <a:lnTo>
                      <a:pt x="21" y="190"/>
                    </a:lnTo>
                    <a:lnTo>
                      <a:pt x="21" y="187"/>
                    </a:lnTo>
                    <a:lnTo>
                      <a:pt x="23" y="181"/>
                    </a:lnTo>
                    <a:lnTo>
                      <a:pt x="27" y="177"/>
                    </a:lnTo>
                    <a:lnTo>
                      <a:pt x="29" y="171"/>
                    </a:lnTo>
                    <a:lnTo>
                      <a:pt x="31" y="164"/>
                    </a:lnTo>
                    <a:lnTo>
                      <a:pt x="33" y="158"/>
                    </a:lnTo>
                    <a:lnTo>
                      <a:pt x="36" y="152"/>
                    </a:lnTo>
                    <a:lnTo>
                      <a:pt x="40" y="147"/>
                    </a:lnTo>
                    <a:lnTo>
                      <a:pt x="44" y="141"/>
                    </a:lnTo>
                    <a:lnTo>
                      <a:pt x="48" y="133"/>
                    </a:lnTo>
                    <a:lnTo>
                      <a:pt x="52" y="128"/>
                    </a:lnTo>
                    <a:lnTo>
                      <a:pt x="57" y="122"/>
                    </a:lnTo>
                    <a:lnTo>
                      <a:pt x="61" y="114"/>
                    </a:lnTo>
                    <a:lnTo>
                      <a:pt x="67" y="109"/>
                    </a:lnTo>
                    <a:lnTo>
                      <a:pt x="73" y="103"/>
                    </a:lnTo>
                    <a:lnTo>
                      <a:pt x="78" y="97"/>
                    </a:lnTo>
                    <a:lnTo>
                      <a:pt x="86" y="90"/>
                    </a:lnTo>
                    <a:lnTo>
                      <a:pt x="90" y="86"/>
                    </a:lnTo>
                    <a:lnTo>
                      <a:pt x="92" y="84"/>
                    </a:lnTo>
                    <a:lnTo>
                      <a:pt x="97" y="80"/>
                    </a:lnTo>
                    <a:lnTo>
                      <a:pt x="101" y="78"/>
                    </a:lnTo>
                    <a:lnTo>
                      <a:pt x="105" y="74"/>
                    </a:lnTo>
                    <a:lnTo>
                      <a:pt x="111" y="69"/>
                    </a:lnTo>
                    <a:lnTo>
                      <a:pt x="116" y="65"/>
                    </a:lnTo>
                    <a:lnTo>
                      <a:pt x="120" y="61"/>
                    </a:lnTo>
                    <a:lnTo>
                      <a:pt x="124" y="57"/>
                    </a:lnTo>
                    <a:lnTo>
                      <a:pt x="130" y="53"/>
                    </a:lnTo>
                    <a:lnTo>
                      <a:pt x="133" y="50"/>
                    </a:lnTo>
                    <a:lnTo>
                      <a:pt x="137" y="46"/>
                    </a:lnTo>
                    <a:lnTo>
                      <a:pt x="143" y="38"/>
                    </a:lnTo>
                    <a:lnTo>
                      <a:pt x="149" y="33"/>
                    </a:lnTo>
                    <a:lnTo>
                      <a:pt x="154" y="27"/>
                    </a:lnTo>
                    <a:lnTo>
                      <a:pt x="158" y="21"/>
                    </a:lnTo>
                    <a:lnTo>
                      <a:pt x="162" y="15"/>
                    </a:lnTo>
                    <a:lnTo>
                      <a:pt x="166" y="12"/>
                    </a:lnTo>
                    <a:lnTo>
                      <a:pt x="168" y="8"/>
                    </a:lnTo>
                    <a:lnTo>
                      <a:pt x="169" y="6"/>
                    </a:lnTo>
                    <a:lnTo>
                      <a:pt x="171"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5" name="Freeform 70"/>
              <p:cNvSpPr>
                <a:spLocks/>
              </p:cNvSpPr>
              <p:nvPr/>
            </p:nvSpPr>
            <p:spPr bwMode="auto">
              <a:xfrm>
                <a:off x="2413001" y="3314701"/>
                <a:ext cx="92075" cy="169863"/>
              </a:xfrm>
              <a:custGeom>
                <a:avLst/>
                <a:gdLst>
                  <a:gd name="T0" fmla="*/ 2147483646 w 115"/>
                  <a:gd name="T1" fmla="*/ 0 h 213"/>
                  <a:gd name="T2" fmla="*/ 2147483646 w 115"/>
                  <a:gd name="T3" fmla="*/ 2147483646 h 213"/>
                  <a:gd name="T4" fmla="*/ 2147483646 w 115"/>
                  <a:gd name="T5" fmla="*/ 2147483646 h 213"/>
                  <a:gd name="T6" fmla="*/ 2147483646 w 115"/>
                  <a:gd name="T7" fmla="*/ 2147483646 h 213"/>
                  <a:gd name="T8" fmla="*/ 2147483646 w 115"/>
                  <a:gd name="T9" fmla="*/ 2147483646 h 213"/>
                  <a:gd name="T10" fmla="*/ 2147483646 w 115"/>
                  <a:gd name="T11" fmla="*/ 2147483646 h 213"/>
                  <a:gd name="T12" fmla="*/ 0 w 115"/>
                  <a:gd name="T13" fmla="*/ 2147483646 h 213"/>
                  <a:gd name="T14" fmla="*/ 0 w 115"/>
                  <a:gd name="T15" fmla="*/ 2147483646 h 213"/>
                  <a:gd name="T16" fmla="*/ 0 w 115"/>
                  <a:gd name="T17" fmla="*/ 2147483646 h 213"/>
                  <a:gd name="T18" fmla="*/ 2147483646 w 115"/>
                  <a:gd name="T19" fmla="*/ 2147483646 h 213"/>
                  <a:gd name="T20" fmla="*/ 2147483646 w 115"/>
                  <a:gd name="T21" fmla="*/ 2147483646 h 213"/>
                  <a:gd name="T22" fmla="*/ 2147483646 w 115"/>
                  <a:gd name="T23" fmla="*/ 2147483646 h 213"/>
                  <a:gd name="T24" fmla="*/ 2147483646 w 115"/>
                  <a:gd name="T25" fmla="*/ 2147483646 h 213"/>
                  <a:gd name="T26" fmla="*/ 2147483646 w 115"/>
                  <a:gd name="T27" fmla="*/ 2147483646 h 213"/>
                  <a:gd name="T28" fmla="*/ 2147483646 w 115"/>
                  <a:gd name="T29" fmla="*/ 2147483646 h 213"/>
                  <a:gd name="T30" fmla="*/ 2147483646 w 115"/>
                  <a:gd name="T31" fmla="*/ 2147483646 h 213"/>
                  <a:gd name="T32" fmla="*/ 2147483646 w 115"/>
                  <a:gd name="T33" fmla="*/ 2147483646 h 213"/>
                  <a:gd name="T34" fmla="*/ 2147483646 w 115"/>
                  <a:gd name="T35" fmla="*/ 2147483646 h 213"/>
                  <a:gd name="T36" fmla="*/ 2147483646 w 115"/>
                  <a:gd name="T37" fmla="*/ 2147483646 h 213"/>
                  <a:gd name="T38" fmla="*/ 2147483646 w 115"/>
                  <a:gd name="T39" fmla="*/ 2147483646 h 213"/>
                  <a:gd name="T40" fmla="*/ 2147483646 w 115"/>
                  <a:gd name="T41" fmla="*/ 2147483646 h 213"/>
                  <a:gd name="T42" fmla="*/ 2147483646 w 115"/>
                  <a:gd name="T43" fmla="*/ 2147483646 h 213"/>
                  <a:gd name="T44" fmla="*/ 2147483646 w 115"/>
                  <a:gd name="T45" fmla="*/ 2147483646 h 213"/>
                  <a:gd name="T46" fmla="*/ 2147483646 w 115"/>
                  <a:gd name="T47" fmla="*/ 2147483646 h 213"/>
                  <a:gd name="T48" fmla="*/ 2147483646 w 115"/>
                  <a:gd name="T49" fmla="*/ 2147483646 h 213"/>
                  <a:gd name="T50" fmla="*/ 2147483646 w 115"/>
                  <a:gd name="T51" fmla="*/ 2147483646 h 213"/>
                  <a:gd name="T52" fmla="*/ 2147483646 w 115"/>
                  <a:gd name="T53" fmla="*/ 2147483646 h 213"/>
                  <a:gd name="T54" fmla="*/ 2147483646 w 115"/>
                  <a:gd name="T55" fmla="*/ 2147483646 h 213"/>
                  <a:gd name="T56" fmla="*/ 2147483646 w 115"/>
                  <a:gd name="T57" fmla="*/ 2147483646 h 213"/>
                  <a:gd name="T58" fmla="*/ 2147483646 w 115"/>
                  <a:gd name="T59" fmla="*/ 2147483646 h 213"/>
                  <a:gd name="T60" fmla="*/ 2147483646 w 115"/>
                  <a:gd name="T61" fmla="*/ 2147483646 h 213"/>
                  <a:gd name="T62" fmla="*/ 2147483646 w 115"/>
                  <a:gd name="T63" fmla="*/ 2147483646 h 213"/>
                  <a:gd name="T64" fmla="*/ 2147483646 w 115"/>
                  <a:gd name="T65" fmla="*/ 2147483646 h 213"/>
                  <a:gd name="T66" fmla="*/ 2147483646 w 115"/>
                  <a:gd name="T67" fmla="*/ 2147483646 h 213"/>
                  <a:gd name="T68" fmla="*/ 2147483646 w 115"/>
                  <a:gd name="T69" fmla="*/ 2147483646 h 213"/>
                  <a:gd name="T70" fmla="*/ 2147483646 w 115"/>
                  <a:gd name="T71" fmla="*/ 2147483646 h 213"/>
                  <a:gd name="T72" fmla="*/ 2147483646 w 115"/>
                  <a:gd name="T73" fmla="*/ 2147483646 h 213"/>
                  <a:gd name="T74" fmla="*/ 2147483646 w 115"/>
                  <a:gd name="T75" fmla="*/ 2147483646 h 213"/>
                  <a:gd name="T76" fmla="*/ 2147483646 w 115"/>
                  <a:gd name="T77" fmla="*/ 2147483646 h 213"/>
                  <a:gd name="T78" fmla="*/ 2147483646 w 115"/>
                  <a:gd name="T79" fmla="*/ 2147483646 h 213"/>
                  <a:gd name="T80" fmla="*/ 2147483646 w 115"/>
                  <a:gd name="T81" fmla="*/ 2147483646 h 213"/>
                  <a:gd name="T82" fmla="*/ 2147483646 w 115"/>
                  <a:gd name="T83" fmla="*/ 2147483646 h 213"/>
                  <a:gd name="T84" fmla="*/ 2147483646 w 115"/>
                  <a:gd name="T85" fmla="*/ 2147483646 h 213"/>
                  <a:gd name="T86" fmla="*/ 2147483646 w 115"/>
                  <a:gd name="T87" fmla="*/ 2147483646 h 213"/>
                  <a:gd name="T88" fmla="*/ 2147483646 w 115"/>
                  <a:gd name="T89" fmla="*/ 2147483646 h 213"/>
                  <a:gd name="T90" fmla="*/ 2147483646 w 115"/>
                  <a:gd name="T91" fmla="*/ 2147483646 h 213"/>
                  <a:gd name="T92" fmla="*/ 2147483646 w 115"/>
                  <a:gd name="T93" fmla="*/ 2147483646 h 213"/>
                  <a:gd name="T94" fmla="*/ 2147483646 w 115"/>
                  <a:gd name="T95" fmla="*/ 0 h 2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5"/>
                  <a:gd name="T145" fmla="*/ 0 h 213"/>
                  <a:gd name="T146" fmla="*/ 115 w 115"/>
                  <a:gd name="T147" fmla="*/ 213 h 2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5" h="213">
                    <a:moveTo>
                      <a:pt x="43" y="0"/>
                    </a:moveTo>
                    <a:lnTo>
                      <a:pt x="41" y="0"/>
                    </a:lnTo>
                    <a:lnTo>
                      <a:pt x="36" y="2"/>
                    </a:lnTo>
                    <a:lnTo>
                      <a:pt x="32" y="2"/>
                    </a:lnTo>
                    <a:lnTo>
                      <a:pt x="28" y="4"/>
                    </a:lnTo>
                    <a:lnTo>
                      <a:pt x="22" y="6"/>
                    </a:lnTo>
                    <a:lnTo>
                      <a:pt x="19" y="10"/>
                    </a:lnTo>
                    <a:lnTo>
                      <a:pt x="15" y="14"/>
                    </a:lnTo>
                    <a:lnTo>
                      <a:pt x="11" y="19"/>
                    </a:lnTo>
                    <a:lnTo>
                      <a:pt x="7" y="23"/>
                    </a:lnTo>
                    <a:lnTo>
                      <a:pt x="3" y="31"/>
                    </a:lnTo>
                    <a:lnTo>
                      <a:pt x="1" y="33"/>
                    </a:lnTo>
                    <a:lnTo>
                      <a:pt x="1" y="37"/>
                    </a:lnTo>
                    <a:lnTo>
                      <a:pt x="0" y="40"/>
                    </a:lnTo>
                    <a:lnTo>
                      <a:pt x="0" y="44"/>
                    </a:lnTo>
                    <a:lnTo>
                      <a:pt x="0" y="48"/>
                    </a:lnTo>
                    <a:lnTo>
                      <a:pt x="0" y="54"/>
                    </a:lnTo>
                    <a:lnTo>
                      <a:pt x="0" y="57"/>
                    </a:lnTo>
                    <a:lnTo>
                      <a:pt x="1" y="63"/>
                    </a:lnTo>
                    <a:lnTo>
                      <a:pt x="1" y="67"/>
                    </a:lnTo>
                    <a:lnTo>
                      <a:pt x="1" y="73"/>
                    </a:lnTo>
                    <a:lnTo>
                      <a:pt x="3" y="76"/>
                    </a:lnTo>
                    <a:lnTo>
                      <a:pt x="7" y="82"/>
                    </a:lnTo>
                    <a:lnTo>
                      <a:pt x="7" y="86"/>
                    </a:lnTo>
                    <a:lnTo>
                      <a:pt x="9" y="90"/>
                    </a:lnTo>
                    <a:lnTo>
                      <a:pt x="13" y="94"/>
                    </a:lnTo>
                    <a:lnTo>
                      <a:pt x="17" y="99"/>
                    </a:lnTo>
                    <a:lnTo>
                      <a:pt x="19" y="101"/>
                    </a:lnTo>
                    <a:lnTo>
                      <a:pt x="20" y="107"/>
                    </a:lnTo>
                    <a:lnTo>
                      <a:pt x="24" y="109"/>
                    </a:lnTo>
                    <a:lnTo>
                      <a:pt x="28" y="114"/>
                    </a:lnTo>
                    <a:lnTo>
                      <a:pt x="30" y="116"/>
                    </a:lnTo>
                    <a:lnTo>
                      <a:pt x="34" y="120"/>
                    </a:lnTo>
                    <a:lnTo>
                      <a:pt x="38" y="124"/>
                    </a:lnTo>
                    <a:lnTo>
                      <a:pt x="39" y="128"/>
                    </a:lnTo>
                    <a:lnTo>
                      <a:pt x="45" y="135"/>
                    </a:lnTo>
                    <a:lnTo>
                      <a:pt x="51" y="141"/>
                    </a:lnTo>
                    <a:lnTo>
                      <a:pt x="55" y="149"/>
                    </a:lnTo>
                    <a:lnTo>
                      <a:pt x="60" y="156"/>
                    </a:lnTo>
                    <a:lnTo>
                      <a:pt x="62" y="162"/>
                    </a:lnTo>
                    <a:lnTo>
                      <a:pt x="64" y="170"/>
                    </a:lnTo>
                    <a:lnTo>
                      <a:pt x="64" y="173"/>
                    </a:lnTo>
                    <a:lnTo>
                      <a:pt x="64" y="177"/>
                    </a:lnTo>
                    <a:lnTo>
                      <a:pt x="62" y="181"/>
                    </a:lnTo>
                    <a:lnTo>
                      <a:pt x="62" y="185"/>
                    </a:lnTo>
                    <a:lnTo>
                      <a:pt x="102" y="213"/>
                    </a:lnTo>
                    <a:lnTo>
                      <a:pt x="104" y="211"/>
                    </a:lnTo>
                    <a:lnTo>
                      <a:pt x="108" y="208"/>
                    </a:lnTo>
                    <a:lnTo>
                      <a:pt x="110" y="204"/>
                    </a:lnTo>
                    <a:lnTo>
                      <a:pt x="112" y="200"/>
                    </a:lnTo>
                    <a:lnTo>
                      <a:pt x="114" y="196"/>
                    </a:lnTo>
                    <a:lnTo>
                      <a:pt x="115" y="192"/>
                    </a:lnTo>
                    <a:lnTo>
                      <a:pt x="115" y="187"/>
                    </a:lnTo>
                    <a:lnTo>
                      <a:pt x="115" y="181"/>
                    </a:lnTo>
                    <a:lnTo>
                      <a:pt x="114" y="173"/>
                    </a:lnTo>
                    <a:lnTo>
                      <a:pt x="114" y="168"/>
                    </a:lnTo>
                    <a:lnTo>
                      <a:pt x="112" y="164"/>
                    </a:lnTo>
                    <a:lnTo>
                      <a:pt x="110" y="158"/>
                    </a:lnTo>
                    <a:lnTo>
                      <a:pt x="106" y="154"/>
                    </a:lnTo>
                    <a:lnTo>
                      <a:pt x="104" y="151"/>
                    </a:lnTo>
                    <a:lnTo>
                      <a:pt x="102" y="147"/>
                    </a:lnTo>
                    <a:lnTo>
                      <a:pt x="98" y="143"/>
                    </a:lnTo>
                    <a:lnTo>
                      <a:pt x="95" y="139"/>
                    </a:lnTo>
                    <a:lnTo>
                      <a:pt x="91" y="134"/>
                    </a:lnTo>
                    <a:lnTo>
                      <a:pt x="85" y="128"/>
                    </a:lnTo>
                    <a:lnTo>
                      <a:pt x="81" y="124"/>
                    </a:lnTo>
                    <a:lnTo>
                      <a:pt x="77" y="120"/>
                    </a:lnTo>
                    <a:lnTo>
                      <a:pt x="72" y="116"/>
                    </a:lnTo>
                    <a:lnTo>
                      <a:pt x="66" y="109"/>
                    </a:lnTo>
                    <a:lnTo>
                      <a:pt x="60" y="103"/>
                    </a:lnTo>
                    <a:lnTo>
                      <a:pt x="53" y="97"/>
                    </a:lnTo>
                    <a:lnTo>
                      <a:pt x="49" y="92"/>
                    </a:lnTo>
                    <a:lnTo>
                      <a:pt x="45" y="88"/>
                    </a:lnTo>
                    <a:lnTo>
                      <a:pt x="41" y="84"/>
                    </a:lnTo>
                    <a:lnTo>
                      <a:pt x="38" y="80"/>
                    </a:lnTo>
                    <a:lnTo>
                      <a:pt x="36" y="76"/>
                    </a:lnTo>
                    <a:lnTo>
                      <a:pt x="34" y="73"/>
                    </a:lnTo>
                    <a:lnTo>
                      <a:pt x="32" y="69"/>
                    </a:lnTo>
                    <a:lnTo>
                      <a:pt x="30" y="65"/>
                    </a:lnTo>
                    <a:lnTo>
                      <a:pt x="28" y="61"/>
                    </a:lnTo>
                    <a:lnTo>
                      <a:pt x="26" y="57"/>
                    </a:lnTo>
                    <a:lnTo>
                      <a:pt x="26" y="52"/>
                    </a:lnTo>
                    <a:lnTo>
                      <a:pt x="24" y="48"/>
                    </a:lnTo>
                    <a:lnTo>
                      <a:pt x="24" y="42"/>
                    </a:lnTo>
                    <a:lnTo>
                      <a:pt x="24" y="37"/>
                    </a:lnTo>
                    <a:lnTo>
                      <a:pt x="26" y="33"/>
                    </a:lnTo>
                    <a:lnTo>
                      <a:pt x="26" y="29"/>
                    </a:lnTo>
                    <a:lnTo>
                      <a:pt x="28" y="25"/>
                    </a:lnTo>
                    <a:lnTo>
                      <a:pt x="30" y="19"/>
                    </a:lnTo>
                    <a:lnTo>
                      <a:pt x="32" y="18"/>
                    </a:lnTo>
                    <a:lnTo>
                      <a:pt x="34" y="14"/>
                    </a:lnTo>
                    <a:lnTo>
                      <a:pt x="36" y="10"/>
                    </a:lnTo>
                    <a:lnTo>
                      <a:pt x="38" y="6"/>
                    </a:lnTo>
                    <a:lnTo>
                      <a:pt x="39" y="4"/>
                    </a:lnTo>
                    <a:lnTo>
                      <a:pt x="43"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6" name="Freeform 71"/>
              <p:cNvSpPr>
                <a:spLocks/>
              </p:cNvSpPr>
              <p:nvPr/>
            </p:nvSpPr>
            <p:spPr bwMode="auto">
              <a:xfrm>
                <a:off x="2493963" y="3297238"/>
                <a:ext cx="41275" cy="96838"/>
              </a:xfrm>
              <a:custGeom>
                <a:avLst/>
                <a:gdLst>
                  <a:gd name="T0" fmla="*/ 2147483646 w 51"/>
                  <a:gd name="T1" fmla="*/ 0 h 121"/>
                  <a:gd name="T2" fmla="*/ 2147483646 w 51"/>
                  <a:gd name="T3" fmla="*/ 2147483646 h 121"/>
                  <a:gd name="T4" fmla="*/ 2147483646 w 51"/>
                  <a:gd name="T5" fmla="*/ 2147483646 h 121"/>
                  <a:gd name="T6" fmla="*/ 2147483646 w 51"/>
                  <a:gd name="T7" fmla="*/ 2147483646 h 121"/>
                  <a:gd name="T8" fmla="*/ 2147483646 w 51"/>
                  <a:gd name="T9" fmla="*/ 2147483646 h 121"/>
                  <a:gd name="T10" fmla="*/ 2147483646 w 51"/>
                  <a:gd name="T11" fmla="*/ 2147483646 h 121"/>
                  <a:gd name="T12" fmla="*/ 2147483646 w 51"/>
                  <a:gd name="T13" fmla="*/ 2147483646 h 121"/>
                  <a:gd name="T14" fmla="*/ 2147483646 w 51"/>
                  <a:gd name="T15" fmla="*/ 2147483646 h 121"/>
                  <a:gd name="T16" fmla="*/ 2147483646 w 51"/>
                  <a:gd name="T17" fmla="*/ 2147483646 h 121"/>
                  <a:gd name="T18" fmla="*/ 2147483646 w 51"/>
                  <a:gd name="T19" fmla="*/ 2147483646 h 121"/>
                  <a:gd name="T20" fmla="*/ 2147483646 w 51"/>
                  <a:gd name="T21" fmla="*/ 2147483646 h 121"/>
                  <a:gd name="T22" fmla="*/ 2147483646 w 51"/>
                  <a:gd name="T23" fmla="*/ 2147483646 h 121"/>
                  <a:gd name="T24" fmla="*/ 2147483646 w 51"/>
                  <a:gd name="T25" fmla="*/ 2147483646 h 121"/>
                  <a:gd name="T26" fmla="*/ 2147483646 w 51"/>
                  <a:gd name="T27" fmla="*/ 2147483646 h 121"/>
                  <a:gd name="T28" fmla="*/ 2147483646 w 51"/>
                  <a:gd name="T29" fmla="*/ 2147483646 h 121"/>
                  <a:gd name="T30" fmla="*/ 2147483646 w 51"/>
                  <a:gd name="T31" fmla="*/ 2147483646 h 121"/>
                  <a:gd name="T32" fmla="*/ 2147483646 w 51"/>
                  <a:gd name="T33" fmla="*/ 2147483646 h 121"/>
                  <a:gd name="T34" fmla="*/ 2147483646 w 51"/>
                  <a:gd name="T35" fmla="*/ 2147483646 h 121"/>
                  <a:gd name="T36" fmla="*/ 2147483646 w 51"/>
                  <a:gd name="T37" fmla="*/ 2147483646 h 121"/>
                  <a:gd name="T38" fmla="*/ 2147483646 w 51"/>
                  <a:gd name="T39" fmla="*/ 2147483646 h 121"/>
                  <a:gd name="T40" fmla="*/ 2147483646 w 51"/>
                  <a:gd name="T41" fmla="*/ 2147483646 h 121"/>
                  <a:gd name="T42" fmla="*/ 2147483646 w 51"/>
                  <a:gd name="T43" fmla="*/ 2147483646 h 121"/>
                  <a:gd name="T44" fmla="*/ 2147483646 w 51"/>
                  <a:gd name="T45" fmla="*/ 2147483646 h 121"/>
                  <a:gd name="T46" fmla="*/ 0 w 51"/>
                  <a:gd name="T47" fmla="*/ 2147483646 h 121"/>
                  <a:gd name="T48" fmla="*/ 2147483646 w 51"/>
                  <a:gd name="T49" fmla="*/ 2147483646 h 121"/>
                  <a:gd name="T50" fmla="*/ 2147483646 w 51"/>
                  <a:gd name="T51" fmla="*/ 2147483646 h 121"/>
                  <a:gd name="T52" fmla="*/ 2147483646 w 51"/>
                  <a:gd name="T53" fmla="*/ 2147483646 h 121"/>
                  <a:gd name="T54" fmla="*/ 2147483646 w 51"/>
                  <a:gd name="T55" fmla="*/ 2147483646 h 121"/>
                  <a:gd name="T56" fmla="*/ 2147483646 w 51"/>
                  <a:gd name="T57" fmla="*/ 2147483646 h 121"/>
                  <a:gd name="T58" fmla="*/ 2147483646 w 51"/>
                  <a:gd name="T59" fmla="*/ 2147483646 h 121"/>
                  <a:gd name="T60" fmla="*/ 2147483646 w 51"/>
                  <a:gd name="T61" fmla="*/ 2147483646 h 121"/>
                  <a:gd name="T62" fmla="*/ 2147483646 w 51"/>
                  <a:gd name="T63" fmla="*/ 2147483646 h 121"/>
                  <a:gd name="T64" fmla="*/ 2147483646 w 51"/>
                  <a:gd name="T65" fmla="*/ 2147483646 h 121"/>
                  <a:gd name="T66" fmla="*/ 2147483646 w 51"/>
                  <a:gd name="T67" fmla="*/ 2147483646 h 121"/>
                  <a:gd name="T68" fmla="*/ 2147483646 w 51"/>
                  <a:gd name="T69" fmla="*/ 2147483646 h 121"/>
                  <a:gd name="T70" fmla="*/ 2147483646 w 51"/>
                  <a:gd name="T71" fmla="*/ 2147483646 h 121"/>
                  <a:gd name="T72" fmla="*/ 2147483646 w 51"/>
                  <a:gd name="T73" fmla="*/ 2147483646 h 121"/>
                  <a:gd name="T74" fmla="*/ 2147483646 w 51"/>
                  <a:gd name="T75" fmla="*/ 2147483646 h 121"/>
                  <a:gd name="T76" fmla="*/ 2147483646 w 51"/>
                  <a:gd name="T77" fmla="*/ 2147483646 h 121"/>
                  <a:gd name="T78" fmla="*/ 2147483646 w 51"/>
                  <a:gd name="T79" fmla="*/ 2147483646 h 121"/>
                  <a:gd name="T80" fmla="*/ 2147483646 w 51"/>
                  <a:gd name="T81" fmla="*/ 2147483646 h 121"/>
                  <a:gd name="T82" fmla="*/ 2147483646 w 51"/>
                  <a:gd name="T83" fmla="*/ 2147483646 h 121"/>
                  <a:gd name="T84" fmla="*/ 2147483646 w 51"/>
                  <a:gd name="T85" fmla="*/ 2147483646 h 121"/>
                  <a:gd name="T86" fmla="*/ 2147483646 w 51"/>
                  <a:gd name="T87" fmla="*/ 2147483646 h 121"/>
                  <a:gd name="T88" fmla="*/ 2147483646 w 51"/>
                  <a:gd name="T89" fmla="*/ 2147483646 h 121"/>
                  <a:gd name="T90" fmla="*/ 2147483646 w 51"/>
                  <a:gd name="T91" fmla="*/ 2147483646 h 121"/>
                  <a:gd name="T92" fmla="*/ 2147483646 w 51"/>
                  <a:gd name="T93" fmla="*/ 2147483646 h 121"/>
                  <a:gd name="T94" fmla="*/ 2147483646 w 51"/>
                  <a:gd name="T95" fmla="*/ 2147483646 h 121"/>
                  <a:gd name="T96" fmla="*/ 2147483646 w 51"/>
                  <a:gd name="T97" fmla="*/ 2147483646 h 121"/>
                  <a:gd name="T98" fmla="*/ 2147483646 w 51"/>
                  <a:gd name="T99" fmla="*/ 2147483646 h 121"/>
                  <a:gd name="T100" fmla="*/ 2147483646 w 51"/>
                  <a:gd name="T101" fmla="*/ 2147483646 h 121"/>
                  <a:gd name="T102" fmla="*/ 2147483646 w 51"/>
                  <a:gd name="T103" fmla="*/ 2147483646 h 121"/>
                  <a:gd name="T104" fmla="*/ 2147483646 w 51"/>
                  <a:gd name="T105" fmla="*/ 2147483646 h 121"/>
                  <a:gd name="T106" fmla="*/ 2147483646 w 51"/>
                  <a:gd name="T107" fmla="*/ 2147483646 h 121"/>
                  <a:gd name="T108" fmla="*/ 2147483646 w 51"/>
                  <a:gd name="T109" fmla="*/ 2147483646 h 121"/>
                  <a:gd name="T110" fmla="*/ 2147483646 w 51"/>
                  <a:gd name="T111" fmla="*/ 0 h 121"/>
                  <a:gd name="T112" fmla="*/ 2147483646 w 51"/>
                  <a:gd name="T113" fmla="*/ 0 h 121"/>
                  <a:gd name="T114" fmla="*/ 2147483646 w 51"/>
                  <a:gd name="T115" fmla="*/ 0 h 1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
                  <a:gd name="T175" fmla="*/ 0 h 121"/>
                  <a:gd name="T176" fmla="*/ 51 w 51"/>
                  <a:gd name="T177" fmla="*/ 121 h 1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 h="121">
                    <a:moveTo>
                      <a:pt x="25" y="0"/>
                    </a:moveTo>
                    <a:lnTo>
                      <a:pt x="25" y="2"/>
                    </a:lnTo>
                    <a:lnTo>
                      <a:pt x="25" y="3"/>
                    </a:lnTo>
                    <a:lnTo>
                      <a:pt x="27" y="9"/>
                    </a:lnTo>
                    <a:lnTo>
                      <a:pt x="27" y="13"/>
                    </a:lnTo>
                    <a:lnTo>
                      <a:pt x="27" y="19"/>
                    </a:lnTo>
                    <a:lnTo>
                      <a:pt x="27" y="24"/>
                    </a:lnTo>
                    <a:lnTo>
                      <a:pt x="27" y="32"/>
                    </a:lnTo>
                    <a:lnTo>
                      <a:pt x="25" y="36"/>
                    </a:lnTo>
                    <a:lnTo>
                      <a:pt x="25" y="40"/>
                    </a:lnTo>
                    <a:lnTo>
                      <a:pt x="25" y="43"/>
                    </a:lnTo>
                    <a:lnTo>
                      <a:pt x="23" y="47"/>
                    </a:lnTo>
                    <a:lnTo>
                      <a:pt x="21" y="53"/>
                    </a:lnTo>
                    <a:lnTo>
                      <a:pt x="21" y="57"/>
                    </a:lnTo>
                    <a:lnTo>
                      <a:pt x="19" y="60"/>
                    </a:lnTo>
                    <a:lnTo>
                      <a:pt x="19" y="64"/>
                    </a:lnTo>
                    <a:lnTo>
                      <a:pt x="17" y="68"/>
                    </a:lnTo>
                    <a:lnTo>
                      <a:pt x="15" y="72"/>
                    </a:lnTo>
                    <a:lnTo>
                      <a:pt x="13" y="76"/>
                    </a:lnTo>
                    <a:lnTo>
                      <a:pt x="12" y="79"/>
                    </a:lnTo>
                    <a:lnTo>
                      <a:pt x="10" y="83"/>
                    </a:lnTo>
                    <a:lnTo>
                      <a:pt x="6" y="87"/>
                    </a:lnTo>
                    <a:lnTo>
                      <a:pt x="4" y="91"/>
                    </a:lnTo>
                    <a:lnTo>
                      <a:pt x="0" y="97"/>
                    </a:lnTo>
                    <a:lnTo>
                      <a:pt x="36" y="121"/>
                    </a:lnTo>
                    <a:lnTo>
                      <a:pt x="36" y="119"/>
                    </a:lnTo>
                    <a:lnTo>
                      <a:pt x="38" y="119"/>
                    </a:lnTo>
                    <a:lnTo>
                      <a:pt x="40" y="117"/>
                    </a:lnTo>
                    <a:lnTo>
                      <a:pt x="42" y="114"/>
                    </a:lnTo>
                    <a:lnTo>
                      <a:pt x="44" y="110"/>
                    </a:lnTo>
                    <a:lnTo>
                      <a:pt x="44" y="106"/>
                    </a:lnTo>
                    <a:lnTo>
                      <a:pt x="46" y="102"/>
                    </a:lnTo>
                    <a:lnTo>
                      <a:pt x="48" y="98"/>
                    </a:lnTo>
                    <a:lnTo>
                      <a:pt x="48" y="93"/>
                    </a:lnTo>
                    <a:lnTo>
                      <a:pt x="50" y="85"/>
                    </a:lnTo>
                    <a:lnTo>
                      <a:pt x="50" y="81"/>
                    </a:lnTo>
                    <a:lnTo>
                      <a:pt x="50" y="78"/>
                    </a:lnTo>
                    <a:lnTo>
                      <a:pt x="51" y="74"/>
                    </a:lnTo>
                    <a:lnTo>
                      <a:pt x="51" y="70"/>
                    </a:lnTo>
                    <a:lnTo>
                      <a:pt x="51" y="64"/>
                    </a:lnTo>
                    <a:lnTo>
                      <a:pt x="51" y="59"/>
                    </a:lnTo>
                    <a:lnTo>
                      <a:pt x="51" y="55"/>
                    </a:lnTo>
                    <a:lnTo>
                      <a:pt x="51" y="51"/>
                    </a:lnTo>
                    <a:lnTo>
                      <a:pt x="50" y="47"/>
                    </a:lnTo>
                    <a:lnTo>
                      <a:pt x="50" y="43"/>
                    </a:lnTo>
                    <a:lnTo>
                      <a:pt x="50" y="40"/>
                    </a:lnTo>
                    <a:lnTo>
                      <a:pt x="48" y="38"/>
                    </a:lnTo>
                    <a:lnTo>
                      <a:pt x="46" y="30"/>
                    </a:lnTo>
                    <a:lnTo>
                      <a:pt x="44" y="24"/>
                    </a:lnTo>
                    <a:lnTo>
                      <a:pt x="42" y="19"/>
                    </a:lnTo>
                    <a:lnTo>
                      <a:pt x="38" y="15"/>
                    </a:lnTo>
                    <a:lnTo>
                      <a:pt x="36" y="11"/>
                    </a:lnTo>
                    <a:lnTo>
                      <a:pt x="34" y="7"/>
                    </a:lnTo>
                    <a:lnTo>
                      <a:pt x="31" y="5"/>
                    </a:lnTo>
                    <a:lnTo>
                      <a:pt x="29" y="3"/>
                    </a:lnTo>
                    <a:lnTo>
                      <a:pt x="27" y="0"/>
                    </a:lnTo>
                    <a:lnTo>
                      <a:pt x="25"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7" name="Freeform 72"/>
              <p:cNvSpPr>
                <a:spLocks/>
              </p:cNvSpPr>
              <p:nvPr/>
            </p:nvSpPr>
            <p:spPr bwMode="auto">
              <a:xfrm>
                <a:off x="2832101" y="3306763"/>
                <a:ext cx="53975" cy="282575"/>
              </a:xfrm>
              <a:custGeom>
                <a:avLst/>
                <a:gdLst>
                  <a:gd name="T0" fmla="*/ 2147483646 w 68"/>
                  <a:gd name="T1" fmla="*/ 2147483646 h 357"/>
                  <a:gd name="T2" fmla="*/ 2147483646 w 68"/>
                  <a:gd name="T3" fmla="*/ 2147483646 h 357"/>
                  <a:gd name="T4" fmla="*/ 2147483646 w 68"/>
                  <a:gd name="T5" fmla="*/ 2147483646 h 357"/>
                  <a:gd name="T6" fmla="*/ 2147483646 w 68"/>
                  <a:gd name="T7" fmla="*/ 2147483646 h 357"/>
                  <a:gd name="T8" fmla="*/ 2147483646 w 68"/>
                  <a:gd name="T9" fmla="*/ 2147483646 h 357"/>
                  <a:gd name="T10" fmla="*/ 0 w 68"/>
                  <a:gd name="T11" fmla="*/ 2147483646 h 357"/>
                  <a:gd name="T12" fmla="*/ 0 w 68"/>
                  <a:gd name="T13" fmla="*/ 2147483646 h 357"/>
                  <a:gd name="T14" fmla="*/ 0 w 68"/>
                  <a:gd name="T15" fmla="*/ 2147483646 h 357"/>
                  <a:gd name="T16" fmla="*/ 2147483646 w 68"/>
                  <a:gd name="T17" fmla="*/ 2147483646 h 357"/>
                  <a:gd name="T18" fmla="*/ 2147483646 w 68"/>
                  <a:gd name="T19" fmla="*/ 2147483646 h 357"/>
                  <a:gd name="T20" fmla="*/ 2147483646 w 68"/>
                  <a:gd name="T21" fmla="*/ 2147483646 h 357"/>
                  <a:gd name="T22" fmla="*/ 2147483646 w 68"/>
                  <a:gd name="T23" fmla="*/ 2147483646 h 357"/>
                  <a:gd name="T24" fmla="*/ 2147483646 w 68"/>
                  <a:gd name="T25" fmla="*/ 2147483646 h 357"/>
                  <a:gd name="T26" fmla="*/ 2147483646 w 68"/>
                  <a:gd name="T27" fmla="*/ 2147483646 h 357"/>
                  <a:gd name="T28" fmla="*/ 2147483646 w 68"/>
                  <a:gd name="T29" fmla="*/ 2147483646 h 357"/>
                  <a:gd name="T30" fmla="*/ 2147483646 w 68"/>
                  <a:gd name="T31" fmla="*/ 2147483646 h 357"/>
                  <a:gd name="T32" fmla="*/ 2147483646 w 68"/>
                  <a:gd name="T33" fmla="*/ 2147483646 h 357"/>
                  <a:gd name="T34" fmla="*/ 2147483646 w 68"/>
                  <a:gd name="T35" fmla="*/ 2147483646 h 357"/>
                  <a:gd name="T36" fmla="*/ 2147483646 w 68"/>
                  <a:gd name="T37" fmla="*/ 2147483646 h 357"/>
                  <a:gd name="T38" fmla="*/ 2147483646 w 68"/>
                  <a:gd name="T39" fmla="*/ 2147483646 h 357"/>
                  <a:gd name="T40" fmla="*/ 2147483646 w 68"/>
                  <a:gd name="T41" fmla="*/ 2147483646 h 357"/>
                  <a:gd name="T42" fmla="*/ 2147483646 w 68"/>
                  <a:gd name="T43" fmla="*/ 2147483646 h 357"/>
                  <a:gd name="T44" fmla="*/ 2147483646 w 68"/>
                  <a:gd name="T45" fmla="*/ 2147483646 h 357"/>
                  <a:gd name="T46" fmla="*/ 2147483646 w 68"/>
                  <a:gd name="T47" fmla="*/ 2147483646 h 357"/>
                  <a:gd name="T48" fmla="*/ 2147483646 w 68"/>
                  <a:gd name="T49" fmla="*/ 2147483646 h 357"/>
                  <a:gd name="T50" fmla="*/ 2147483646 w 68"/>
                  <a:gd name="T51" fmla="*/ 2147483646 h 357"/>
                  <a:gd name="T52" fmla="*/ 2147483646 w 68"/>
                  <a:gd name="T53" fmla="*/ 2147483646 h 357"/>
                  <a:gd name="T54" fmla="*/ 2147483646 w 68"/>
                  <a:gd name="T55" fmla="*/ 2147483646 h 357"/>
                  <a:gd name="T56" fmla="*/ 2147483646 w 68"/>
                  <a:gd name="T57" fmla="*/ 2147483646 h 357"/>
                  <a:gd name="T58" fmla="*/ 2147483646 w 68"/>
                  <a:gd name="T59" fmla="*/ 2147483646 h 357"/>
                  <a:gd name="T60" fmla="*/ 2147483646 w 68"/>
                  <a:gd name="T61" fmla="*/ 2147483646 h 357"/>
                  <a:gd name="T62" fmla="*/ 2147483646 w 68"/>
                  <a:gd name="T63" fmla="*/ 2147483646 h 357"/>
                  <a:gd name="T64" fmla="*/ 2147483646 w 68"/>
                  <a:gd name="T65" fmla="*/ 2147483646 h 357"/>
                  <a:gd name="T66" fmla="*/ 2147483646 w 68"/>
                  <a:gd name="T67" fmla="*/ 2147483646 h 357"/>
                  <a:gd name="T68" fmla="*/ 2147483646 w 68"/>
                  <a:gd name="T69" fmla="*/ 2147483646 h 357"/>
                  <a:gd name="T70" fmla="*/ 2147483646 w 68"/>
                  <a:gd name="T71" fmla="*/ 2147483646 h 357"/>
                  <a:gd name="T72" fmla="*/ 2147483646 w 68"/>
                  <a:gd name="T73" fmla="*/ 2147483646 h 357"/>
                  <a:gd name="T74" fmla="*/ 2147483646 w 68"/>
                  <a:gd name="T75" fmla="*/ 2147483646 h 357"/>
                  <a:gd name="T76" fmla="*/ 2147483646 w 68"/>
                  <a:gd name="T77" fmla="*/ 2147483646 h 357"/>
                  <a:gd name="T78" fmla="*/ 2147483646 w 68"/>
                  <a:gd name="T79" fmla="*/ 2147483646 h 357"/>
                  <a:gd name="T80" fmla="*/ 2147483646 w 68"/>
                  <a:gd name="T81" fmla="*/ 2147483646 h 357"/>
                  <a:gd name="T82" fmla="*/ 2147483646 w 68"/>
                  <a:gd name="T83" fmla="*/ 2147483646 h 357"/>
                  <a:gd name="T84" fmla="*/ 2147483646 w 68"/>
                  <a:gd name="T85" fmla="*/ 2147483646 h 3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8"/>
                  <a:gd name="T130" fmla="*/ 0 h 357"/>
                  <a:gd name="T131" fmla="*/ 68 w 68"/>
                  <a:gd name="T132" fmla="*/ 357 h 35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8" h="357">
                    <a:moveTo>
                      <a:pt x="23" y="11"/>
                    </a:moveTo>
                    <a:lnTo>
                      <a:pt x="23" y="11"/>
                    </a:lnTo>
                    <a:lnTo>
                      <a:pt x="21" y="13"/>
                    </a:lnTo>
                    <a:lnTo>
                      <a:pt x="19" y="17"/>
                    </a:lnTo>
                    <a:lnTo>
                      <a:pt x="17" y="21"/>
                    </a:lnTo>
                    <a:lnTo>
                      <a:pt x="15" y="27"/>
                    </a:lnTo>
                    <a:lnTo>
                      <a:pt x="13" y="34"/>
                    </a:lnTo>
                    <a:lnTo>
                      <a:pt x="11" y="38"/>
                    </a:lnTo>
                    <a:lnTo>
                      <a:pt x="9" y="42"/>
                    </a:lnTo>
                    <a:lnTo>
                      <a:pt x="7" y="46"/>
                    </a:lnTo>
                    <a:lnTo>
                      <a:pt x="7" y="51"/>
                    </a:lnTo>
                    <a:lnTo>
                      <a:pt x="5" y="55"/>
                    </a:lnTo>
                    <a:lnTo>
                      <a:pt x="5" y="61"/>
                    </a:lnTo>
                    <a:lnTo>
                      <a:pt x="4" y="67"/>
                    </a:lnTo>
                    <a:lnTo>
                      <a:pt x="4" y="72"/>
                    </a:lnTo>
                    <a:lnTo>
                      <a:pt x="2" y="78"/>
                    </a:lnTo>
                    <a:lnTo>
                      <a:pt x="0" y="86"/>
                    </a:lnTo>
                    <a:lnTo>
                      <a:pt x="0" y="91"/>
                    </a:lnTo>
                    <a:lnTo>
                      <a:pt x="0" y="99"/>
                    </a:lnTo>
                    <a:lnTo>
                      <a:pt x="0" y="105"/>
                    </a:lnTo>
                    <a:lnTo>
                      <a:pt x="0" y="112"/>
                    </a:lnTo>
                    <a:lnTo>
                      <a:pt x="0" y="120"/>
                    </a:lnTo>
                    <a:lnTo>
                      <a:pt x="0" y="127"/>
                    </a:lnTo>
                    <a:lnTo>
                      <a:pt x="0" y="129"/>
                    </a:lnTo>
                    <a:lnTo>
                      <a:pt x="0" y="135"/>
                    </a:lnTo>
                    <a:lnTo>
                      <a:pt x="0" y="139"/>
                    </a:lnTo>
                    <a:lnTo>
                      <a:pt x="2" y="143"/>
                    </a:lnTo>
                    <a:lnTo>
                      <a:pt x="2" y="146"/>
                    </a:lnTo>
                    <a:lnTo>
                      <a:pt x="4" y="150"/>
                    </a:lnTo>
                    <a:lnTo>
                      <a:pt x="4" y="154"/>
                    </a:lnTo>
                    <a:lnTo>
                      <a:pt x="5" y="160"/>
                    </a:lnTo>
                    <a:lnTo>
                      <a:pt x="5" y="165"/>
                    </a:lnTo>
                    <a:lnTo>
                      <a:pt x="7" y="171"/>
                    </a:lnTo>
                    <a:lnTo>
                      <a:pt x="7" y="179"/>
                    </a:lnTo>
                    <a:lnTo>
                      <a:pt x="11" y="184"/>
                    </a:lnTo>
                    <a:lnTo>
                      <a:pt x="11" y="192"/>
                    </a:lnTo>
                    <a:lnTo>
                      <a:pt x="13" y="198"/>
                    </a:lnTo>
                    <a:lnTo>
                      <a:pt x="15" y="203"/>
                    </a:lnTo>
                    <a:lnTo>
                      <a:pt x="17" y="211"/>
                    </a:lnTo>
                    <a:lnTo>
                      <a:pt x="19" y="217"/>
                    </a:lnTo>
                    <a:lnTo>
                      <a:pt x="21" y="222"/>
                    </a:lnTo>
                    <a:lnTo>
                      <a:pt x="23" y="228"/>
                    </a:lnTo>
                    <a:lnTo>
                      <a:pt x="24" y="234"/>
                    </a:lnTo>
                    <a:lnTo>
                      <a:pt x="26" y="240"/>
                    </a:lnTo>
                    <a:lnTo>
                      <a:pt x="30" y="247"/>
                    </a:lnTo>
                    <a:lnTo>
                      <a:pt x="32" y="253"/>
                    </a:lnTo>
                    <a:lnTo>
                      <a:pt x="34" y="259"/>
                    </a:lnTo>
                    <a:lnTo>
                      <a:pt x="36" y="264"/>
                    </a:lnTo>
                    <a:lnTo>
                      <a:pt x="38" y="270"/>
                    </a:lnTo>
                    <a:lnTo>
                      <a:pt x="40" y="276"/>
                    </a:lnTo>
                    <a:lnTo>
                      <a:pt x="42" y="281"/>
                    </a:lnTo>
                    <a:lnTo>
                      <a:pt x="43" y="287"/>
                    </a:lnTo>
                    <a:lnTo>
                      <a:pt x="47" y="295"/>
                    </a:lnTo>
                    <a:lnTo>
                      <a:pt x="49" y="300"/>
                    </a:lnTo>
                    <a:lnTo>
                      <a:pt x="51" y="306"/>
                    </a:lnTo>
                    <a:lnTo>
                      <a:pt x="51" y="312"/>
                    </a:lnTo>
                    <a:lnTo>
                      <a:pt x="55" y="319"/>
                    </a:lnTo>
                    <a:lnTo>
                      <a:pt x="57" y="325"/>
                    </a:lnTo>
                    <a:lnTo>
                      <a:pt x="59" y="331"/>
                    </a:lnTo>
                    <a:lnTo>
                      <a:pt x="59" y="337"/>
                    </a:lnTo>
                    <a:lnTo>
                      <a:pt x="61" y="344"/>
                    </a:lnTo>
                    <a:lnTo>
                      <a:pt x="62" y="350"/>
                    </a:lnTo>
                    <a:lnTo>
                      <a:pt x="64" y="357"/>
                    </a:lnTo>
                    <a:lnTo>
                      <a:pt x="64" y="350"/>
                    </a:lnTo>
                    <a:lnTo>
                      <a:pt x="64" y="344"/>
                    </a:lnTo>
                    <a:lnTo>
                      <a:pt x="64" y="340"/>
                    </a:lnTo>
                    <a:lnTo>
                      <a:pt x="64" y="337"/>
                    </a:lnTo>
                    <a:lnTo>
                      <a:pt x="64" y="333"/>
                    </a:lnTo>
                    <a:lnTo>
                      <a:pt x="66" y="329"/>
                    </a:lnTo>
                    <a:lnTo>
                      <a:pt x="64" y="325"/>
                    </a:lnTo>
                    <a:lnTo>
                      <a:pt x="64" y="321"/>
                    </a:lnTo>
                    <a:lnTo>
                      <a:pt x="64" y="318"/>
                    </a:lnTo>
                    <a:lnTo>
                      <a:pt x="64" y="312"/>
                    </a:lnTo>
                    <a:lnTo>
                      <a:pt x="64" y="306"/>
                    </a:lnTo>
                    <a:lnTo>
                      <a:pt x="64" y="302"/>
                    </a:lnTo>
                    <a:lnTo>
                      <a:pt x="62" y="297"/>
                    </a:lnTo>
                    <a:lnTo>
                      <a:pt x="62" y="293"/>
                    </a:lnTo>
                    <a:lnTo>
                      <a:pt x="61" y="287"/>
                    </a:lnTo>
                    <a:lnTo>
                      <a:pt x="61" y="281"/>
                    </a:lnTo>
                    <a:lnTo>
                      <a:pt x="61" y="278"/>
                    </a:lnTo>
                    <a:lnTo>
                      <a:pt x="59" y="272"/>
                    </a:lnTo>
                    <a:lnTo>
                      <a:pt x="59" y="266"/>
                    </a:lnTo>
                    <a:lnTo>
                      <a:pt x="57" y="262"/>
                    </a:lnTo>
                    <a:lnTo>
                      <a:pt x="57" y="257"/>
                    </a:lnTo>
                    <a:lnTo>
                      <a:pt x="55" y="251"/>
                    </a:lnTo>
                    <a:lnTo>
                      <a:pt x="55" y="245"/>
                    </a:lnTo>
                    <a:lnTo>
                      <a:pt x="53" y="240"/>
                    </a:lnTo>
                    <a:lnTo>
                      <a:pt x="51" y="236"/>
                    </a:lnTo>
                    <a:lnTo>
                      <a:pt x="51" y="230"/>
                    </a:lnTo>
                    <a:lnTo>
                      <a:pt x="49" y="226"/>
                    </a:lnTo>
                    <a:lnTo>
                      <a:pt x="47" y="221"/>
                    </a:lnTo>
                    <a:lnTo>
                      <a:pt x="47" y="217"/>
                    </a:lnTo>
                    <a:lnTo>
                      <a:pt x="45" y="211"/>
                    </a:lnTo>
                    <a:lnTo>
                      <a:pt x="43" y="205"/>
                    </a:lnTo>
                    <a:lnTo>
                      <a:pt x="42" y="202"/>
                    </a:lnTo>
                    <a:lnTo>
                      <a:pt x="42" y="196"/>
                    </a:lnTo>
                    <a:lnTo>
                      <a:pt x="40" y="190"/>
                    </a:lnTo>
                    <a:lnTo>
                      <a:pt x="38" y="184"/>
                    </a:lnTo>
                    <a:lnTo>
                      <a:pt x="38" y="179"/>
                    </a:lnTo>
                    <a:lnTo>
                      <a:pt x="36" y="171"/>
                    </a:lnTo>
                    <a:lnTo>
                      <a:pt x="36" y="167"/>
                    </a:lnTo>
                    <a:lnTo>
                      <a:pt x="34" y="160"/>
                    </a:lnTo>
                    <a:lnTo>
                      <a:pt x="34" y="152"/>
                    </a:lnTo>
                    <a:lnTo>
                      <a:pt x="34" y="146"/>
                    </a:lnTo>
                    <a:lnTo>
                      <a:pt x="34" y="139"/>
                    </a:lnTo>
                    <a:lnTo>
                      <a:pt x="34" y="131"/>
                    </a:lnTo>
                    <a:lnTo>
                      <a:pt x="34" y="125"/>
                    </a:lnTo>
                    <a:lnTo>
                      <a:pt x="34" y="118"/>
                    </a:lnTo>
                    <a:lnTo>
                      <a:pt x="34" y="112"/>
                    </a:lnTo>
                    <a:lnTo>
                      <a:pt x="34" y="106"/>
                    </a:lnTo>
                    <a:lnTo>
                      <a:pt x="34" y="105"/>
                    </a:lnTo>
                    <a:lnTo>
                      <a:pt x="34" y="99"/>
                    </a:lnTo>
                    <a:lnTo>
                      <a:pt x="36" y="97"/>
                    </a:lnTo>
                    <a:lnTo>
                      <a:pt x="36" y="89"/>
                    </a:lnTo>
                    <a:lnTo>
                      <a:pt x="38" y="82"/>
                    </a:lnTo>
                    <a:lnTo>
                      <a:pt x="40" y="74"/>
                    </a:lnTo>
                    <a:lnTo>
                      <a:pt x="40" y="68"/>
                    </a:lnTo>
                    <a:lnTo>
                      <a:pt x="42" y="61"/>
                    </a:lnTo>
                    <a:lnTo>
                      <a:pt x="43" y="53"/>
                    </a:lnTo>
                    <a:lnTo>
                      <a:pt x="47" y="46"/>
                    </a:lnTo>
                    <a:lnTo>
                      <a:pt x="49" y="38"/>
                    </a:lnTo>
                    <a:lnTo>
                      <a:pt x="51" y="32"/>
                    </a:lnTo>
                    <a:lnTo>
                      <a:pt x="55" y="27"/>
                    </a:lnTo>
                    <a:lnTo>
                      <a:pt x="57" y="19"/>
                    </a:lnTo>
                    <a:lnTo>
                      <a:pt x="61" y="11"/>
                    </a:lnTo>
                    <a:lnTo>
                      <a:pt x="64" y="6"/>
                    </a:lnTo>
                    <a:lnTo>
                      <a:pt x="68" y="0"/>
                    </a:lnTo>
                    <a:lnTo>
                      <a:pt x="23" y="11"/>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8" name="Freeform 73"/>
              <p:cNvSpPr>
                <a:spLocks/>
              </p:cNvSpPr>
              <p:nvPr/>
            </p:nvSpPr>
            <p:spPr bwMode="auto">
              <a:xfrm>
                <a:off x="2901951" y="3268663"/>
                <a:ext cx="104775" cy="160338"/>
              </a:xfrm>
              <a:custGeom>
                <a:avLst/>
                <a:gdLst>
                  <a:gd name="T0" fmla="*/ 2147483646 w 133"/>
                  <a:gd name="T1" fmla="*/ 0 h 201"/>
                  <a:gd name="T2" fmla="*/ 2147483646 w 133"/>
                  <a:gd name="T3" fmla="*/ 2147483646 h 201"/>
                  <a:gd name="T4" fmla="*/ 2147483646 w 133"/>
                  <a:gd name="T5" fmla="*/ 2147483646 h 201"/>
                  <a:gd name="T6" fmla="*/ 2147483646 w 133"/>
                  <a:gd name="T7" fmla="*/ 2147483646 h 201"/>
                  <a:gd name="T8" fmla="*/ 2147483646 w 133"/>
                  <a:gd name="T9" fmla="*/ 2147483646 h 201"/>
                  <a:gd name="T10" fmla="*/ 2147483646 w 133"/>
                  <a:gd name="T11" fmla="*/ 2147483646 h 201"/>
                  <a:gd name="T12" fmla="*/ 2147483646 w 133"/>
                  <a:gd name="T13" fmla="*/ 2147483646 h 201"/>
                  <a:gd name="T14" fmla="*/ 2147483646 w 133"/>
                  <a:gd name="T15" fmla="*/ 2147483646 h 201"/>
                  <a:gd name="T16" fmla="*/ 2147483646 w 133"/>
                  <a:gd name="T17" fmla="*/ 2147483646 h 201"/>
                  <a:gd name="T18" fmla="*/ 2147483646 w 133"/>
                  <a:gd name="T19" fmla="*/ 2147483646 h 201"/>
                  <a:gd name="T20" fmla="*/ 2147483646 w 133"/>
                  <a:gd name="T21" fmla="*/ 2147483646 h 201"/>
                  <a:gd name="T22" fmla="*/ 2147483646 w 133"/>
                  <a:gd name="T23" fmla="*/ 2147483646 h 201"/>
                  <a:gd name="T24" fmla="*/ 2147483646 w 133"/>
                  <a:gd name="T25" fmla="*/ 2147483646 h 201"/>
                  <a:gd name="T26" fmla="*/ 2147483646 w 133"/>
                  <a:gd name="T27" fmla="*/ 2147483646 h 201"/>
                  <a:gd name="T28" fmla="*/ 2147483646 w 133"/>
                  <a:gd name="T29" fmla="*/ 2147483646 h 201"/>
                  <a:gd name="T30" fmla="*/ 2147483646 w 133"/>
                  <a:gd name="T31" fmla="*/ 2147483646 h 201"/>
                  <a:gd name="T32" fmla="*/ 0 w 133"/>
                  <a:gd name="T33" fmla="*/ 2147483646 h 201"/>
                  <a:gd name="T34" fmla="*/ 0 w 133"/>
                  <a:gd name="T35" fmla="*/ 2147483646 h 201"/>
                  <a:gd name="T36" fmla="*/ 0 w 133"/>
                  <a:gd name="T37" fmla="*/ 2147483646 h 201"/>
                  <a:gd name="T38" fmla="*/ 2147483646 w 133"/>
                  <a:gd name="T39" fmla="*/ 2147483646 h 201"/>
                  <a:gd name="T40" fmla="*/ 2147483646 w 133"/>
                  <a:gd name="T41" fmla="*/ 2147483646 h 201"/>
                  <a:gd name="T42" fmla="*/ 2147483646 w 133"/>
                  <a:gd name="T43" fmla="*/ 2147483646 h 201"/>
                  <a:gd name="T44" fmla="*/ 2147483646 w 133"/>
                  <a:gd name="T45" fmla="*/ 2147483646 h 201"/>
                  <a:gd name="T46" fmla="*/ 2147483646 w 133"/>
                  <a:gd name="T47" fmla="*/ 2147483646 h 201"/>
                  <a:gd name="T48" fmla="*/ 2147483646 w 133"/>
                  <a:gd name="T49" fmla="*/ 2147483646 h 201"/>
                  <a:gd name="T50" fmla="*/ 2147483646 w 133"/>
                  <a:gd name="T51" fmla="*/ 2147483646 h 201"/>
                  <a:gd name="T52" fmla="*/ 2147483646 w 133"/>
                  <a:gd name="T53" fmla="*/ 2147483646 h 201"/>
                  <a:gd name="T54" fmla="*/ 2147483646 w 133"/>
                  <a:gd name="T55" fmla="*/ 2147483646 h 201"/>
                  <a:gd name="T56" fmla="*/ 2147483646 w 133"/>
                  <a:gd name="T57" fmla="*/ 2147483646 h 201"/>
                  <a:gd name="T58" fmla="*/ 2147483646 w 133"/>
                  <a:gd name="T59" fmla="*/ 2147483646 h 201"/>
                  <a:gd name="T60" fmla="*/ 2147483646 w 133"/>
                  <a:gd name="T61" fmla="*/ 2147483646 h 201"/>
                  <a:gd name="T62" fmla="*/ 2147483646 w 133"/>
                  <a:gd name="T63" fmla="*/ 2147483646 h 201"/>
                  <a:gd name="T64" fmla="*/ 2147483646 w 133"/>
                  <a:gd name="T65" fmla="*/ 2147483646 h 201"/>
                  <a:gd name="T66" fmla="*/ 2147483646 w 133"/>
                  <a:gd name="T67" fmla="*/ 2147483646 h 201"/>
                  <a:gd name="T68" fmla="*/ 2147483646 w 133"/>
                  <a:gd name="T69" fmla="*/ 2147483646 h 201"/>
                  <a:gd name="T70" fmla="*/ 2147483646 w 133"/>
                  <a:gd name="T71" fmla="*/ 2147483646 h 201"/>
                  <a:gd name="T72" fmla="*/ 2147483646 w 133"/>
                  <a:gd name="T73" fmla="*/ 2147483646 h 201"/>
                  <a:gd name="T74" fmla="*/ 2147483646 w 133"/>
                  <a:gd name="T75" fmla="*/ 2147483646 h 201"/>
                  <a:gd name="T76" fmla="*/ 2147483646 w 133"/>
                  <a:gd name="T77" fmla="*/ 2147483646 h 201"/>
                  <a:gd name="T78" fmla="*/ 2147483646 w 133"/>
                  <a:gd name="T79" fmla="*/ 2147483646 h 201"/>
                  <a:gd name="T80" fmla="*/ 2147483646 w 133"/>
                  <a:gd name="T81" fmla="*/ 2147483646 h 201"/>
                  <a:gd name="T82" fmla="*/ 2147483646 w 133"/>
                  <a:gd name="T83" fmla="*/ 2147483646 h 201"/>
                  <a:gd name="T84" fmla="*/ 2147483646 w 133"/>
                  <a:gd name="T85" fmla="*/ 2147483646 h 201"/>
                  <a:gd name="T86" fmla="*/ 2147483646 w 133"/>
                  <a:gd name="T87" fmla="*/ 2147483646 h 201"/>
                  <a:gd name="T88" fmla="*/ 2147483646 w 133"/>
                  <a:gd name="T89" fmla="*/ 2147483646 h 201"/>
                  <a:gd name="T90" fmla="*/ 2147483646 w 133"/>
                  <a:gd name="T91" fmla="*/ 2147483646 h 201"/>
                  <a:gd name="T92" fmla="*/ 2147483646 w 133"/>
                  <a:gd name="T93" fmla="*/ 2147483646 h 201"/>
                  <a:gd name="T94" fmla="*/ 2147483646 w 133"/>
                  <a:gd name="T95" fmla="*/ 2147483646 h 201"/>
                  <a:gd name="T96" fmla="*/ 2147483646 w 133"/>
                  <a:gd name="T97" fmla="*/ 2147483646 h 201"/>
                  <a:gd name="T98" fmla="*/ 2147483646 w 133"/>
                  <a:gd name="T99" fmla="*/ 2147483646 h 201"/>
                  <a:gd name="T100" fmla="*/ 2147483646 w 133"/>
                  <a:gd name="T101" fmla="*/ 2147483646 h 201"/>
                  <a:gd name="T102" fmla="*/ 2147483646 w 133"/>
                  <a:gd name="T103" fmla="*/ 2147483646 h 201"/>
                  <a:gd name="T104" fmla="*/ 2147483646 w 133"/>
                  <a:gd name="T105" fmla="*/ 2147483646 h 201"/>
                  <a:gd name="T106" fmla="*/ 2147483646 w 133"/>
                  <a:gd name="T107" fmla="*/ 2147483646 h 201"/>
                  <a:gd name="T108" fmla="*/ 2147483646 w 133"/>
                  <a:gd name="T109" fmla="*/ 2147483646 h 201"/>
                  <a:gd name="T110" fmla="*/ 2147483646 w 133"/>
                  <a:gd name="T111" fmla="*/ 2147483646 h 201"/>
                  <a:gd name="T112" fmla="*/ 2147483646 w 133"/>
                  <a:gd name="T113" fmla="*/ 2147483646 h 201"/>
                  <a:gd name="T114" fmla="*/ 2147483646 w 133"/>
                  <a:gd name="T115" fmla="*/ 0 h 2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
                  <a:gd name="T175" fmla="*/ 0 h 201"/>
                  <a:gd name="T176" fmla="*/ 133 w 133"/>
                  <a:gd name="T177" fmla="*/ 201 h 2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 h="201">
                    <a:moveTo>
                      <a:pt x="129" y="0"/>
                    </a:moveTo>
                    <a:lnTo>
                      <a:pt x="129" y="0"/>
                    </a:lnTo>
                    <a:lnTo>
                      <a:pt x="127" y="3"/>
                    </a:lnTo>
                    <a:lnTo>
                      <a:pt x="126" y="5"/>
                    </a:lnTo>
                    <a:lnTo>
                      <a:pt x="124" y="9"/>
                    </a:lnTo>
                    <a:lnTo>
                      <a:pt x="120" y="13"/>
                    </a:lnTo>
                    <a:lnTo>
                      <a:pt x="116" y="17"/>
                    </a:lnTo>
                    <a:lnTo>
                      <a:pt x="112" y="20"/>
                    </a:lnTo>
                    <a:lnTo>
                      <a:pt x="107" y="26"/>
                    </a:lnTo>
                    <a:lnTo>
                      <a:pt x="101" y="30"/>
                    </a:lnTo>
                    <a:lnTo>
                      <a:pt x="93" y="36"/>
                    </a:lnTo>
                    <a:lnTo>
                      <a:pt x="89" y="39"/>
                    </a:lnTo>
                    <a:lnTo>
                      <a:pt x="86" y="43"/>
                    </a:lnTo>
                    <a:lnTo>
                      <a:pt x="80" y="45"/>
                    </a:lnTo>
                    <a:lnTo>
                      <a:pt x="76" y="49"/>
                    </a:lnTo>
                    <a:lnTo>
                      <a:pt x="70" y="51"/>
                    </a:lnTo>
                    <a:lnTo>
                      <a:pt x="65" y="55"/>
                    </a:lnTo>
                    <a:lnTo>
                      <a:pt x="59" y="58"/>
                    </a:lnTo>
                    <a:lnTo>
                      <a:pt x="53" y="62"/>
                    </a:lnTo>
                    <a:lnTo>
                      <a:pt x="46" y="66"/>
                    </a:lnTo>
                    <a:lnTo>
                      <a:pt x="40" y="70"/>
                    </a:lnTo>
                    <a:lnTo>
                      <a:pt x="34" y="74"/>
                    </a:lnTo>
                    <a:lnTo>
                      <a:pt x="31" y="77"/>
                    </a:lnTo>
                    <a:lnTo>
                      <a:pt x="25" y="83"/>
                    </a:lnTo>
                    <a:lnTo>
                      <a:pt x="21" y="87"/>
                    </a:lnTo>
                    <a:lnTo>
                      <a:pt x="17" y="91"/>
                    </a:lnTo>
                    <a:lnTo>
                      <a:pt x="13" y="96"/>
                    </a:lnTo>
                    <a:lnTo>
                      <a:pt x="12" y="100"/>
                    </a:lnTo>
                    <a:lnTo>
                      <a:pt x="8" y="106"/>
                    </a:lnTo>
                    <a:lnTo>
                      <a:pt x="6" y="110"/>
                    </a:lnTo>
                    <a:lnTo>
                      <a:pt x="4" y="115"/>
                    </a:lnTo>
                    <a:lnTo>
                      <a:pt x="2" y="121"/>
                    </a:lnTo>
                    <a:lnTo>
                      <a:pt x="2" y="127"/>
                    </a:lnTo>
                    <a:lnTo>
                      <a:pt x="0" y="131"/>
                    </a:lnTo>
                    <a:lnTo>
                      <a:pt x="0" y="136"/>
                    </a:lnTo>
                    <a:lnTo>
                      <a:pt x="0" y="140"/>
                    </a:lnTo>
                    <a:lnTo>
                      <a:pt x="0" y="146"/>
                    </a:lnTo>
                    <a:lnTo>
                      <a:pt x="0" y="150"/>
                    </a:lnTo>
                    <a:lnTo>
                      <a:pt x="0" y="155"/>
                    </a:lnTo>
                    <a:lnTo>
                      <a:pt x="2" y="159"/>
                    </a:lnTo>
                    <a:lnTo>
                      <a:pt x="2" y="163"/>
                    </a:lnTo>
                    <a:lnTo>
                      <a:pt x="4" y="167"/>
                    </a:lnTo>
                    <a:lnTo>
                      <a:pt x="6" y="172"/>
                    </a:lnTo>
                    <a:lnTo>
                      <a:pt x="10" y="176"/>
                    </a:lnTo>
                    <a:lnTo>
                      <a:pt x="12" y="180"/>
                    </a:lnTo>
                    <a:lnTo>
                      <a:pt x="13" y="184"/>
                    </a:lnTo>
                    <a:lnTo>
                      <a:pt x="17" y="186"/>
                    </a:lnTo>
                    <a:lnTo>
                      <a:pt x="21" y="190"/>
                    </a:lnTo>
                    <a:lnTo>
                      <a:pt x="23" y="192"/>
                    </a:lnTo>
                    <a:lnTo>
                      <a:pt x="29" y="193"/>
                    </a:lnTo>
                    <a:lnTo>
                      <a:pt x="32" y="197"/>
                    </a:lnTo>
                    <a:lnTo>
                      <a:pt x="36" y="197"/>
                    </a:lnTo>
                    <a:lnTo>
                      <a:pt x="40" y="199"/>
                    </a:lnTo>
                    <a:lnTo>
                      <a:pt x="44" y="199"/>
                    </a:lnTo>
                    <a:lnTo>
                      <a:pt x="48" y="201"/>
                    </a:lnTo>
                    <a:lnTo>
                      <a:pt x="55" y="201"/>
                    </a:lnTo>
                    <a:lnTo>
                      <a:pt x="63" y="199"/>
                    </a:lnTo>
                    <a:lnTo>
                      <a:pt x="69" y="197"/>
                    </a:lnTo>
                    <a:lnTo>
                      <a:pt x="72" y="195"/>
                    </a:lnTo>
                    <a:lnTo>
                      <a:pt x="78" y="192"/>
                    </a:lnTo>
                    <a:lnTo>
                      <a:pt x="82" y="190"/>
                    </a:lnTo>
                    <a:lnTo>
                      <a:pt x="86" y="184"/>
                    </a:lnTo>
                    <a:lnTo>
                      <a:pt x="89" y="180"/>
                    </a:lnTo>
                    <a:lnTo>
                      <a:pt x="91" y="176"/>
                    </a:lnTo>
                    <a:lnTo>
                      <a:pt x="93" y="172"/>
                    </a:lnTo>
                    <a:lnTo>
                      <a:pt x="97" y="167"/>
                    </a:lnTo>
                    <a:lnTo>
                      <a:pt x="88" y="153"/>
                    </a:lnTo>
                    <a:lnTo>
                      <a:pt x="86" y="153"/>
                    </a:lnTo>
                    <a:lnTo>
                      <a:pt x="82" y="157"/>
                    </a:lnTo>
                    <a:lnTo>
                      <a:pt x="78" y="161"/>
                    </a:lnTo>
                    <a:lnTo>
                      <a:pt x="70" y="165"/>
                    </a:lnTo>
                    <a:lnTo>
                      <a:pt x="67" y="167"/>
                    </a:lnTo>
                    <a:lnTo>
                      <a:pt x="63" y="169"/>
                    </a:lnTo>
                    <a:lnTo>
                      <a:pt x="59" y="169"/>
                    </a:lnTo>
                    <a:lnTo>
                      <a:pt x="55" y="169"/>
                    </a:lnTo>
                    <a:lnTo>
                      <a:pt x="51" y="169"/>
                    </a:lnTo>
                    <a:lnTo>
                      <a:pt x="48" y="169"/>
                    </a:lnTo>
                    <a:lnTo>
                      <a:pt x="44" y="167"/>
                    </a:lnTo>
                    <a:lnTo>
                      <a:pt x="38" y="165"/>
                    </a:lnTo>
                    <a:lnTo>
                      <a:pt x="34" y="161"/>
                    </a:lnTo>
                    <a:lnTo>
                      <a:pt x="32" y="157"/>
                    </a:lnTo>
                    <a:lnTo>
                      <a:pt x="29" y="152"/>
                    </a:lnTo>
                    <a:lnTo>
                      <a:pt x="29" y="148"/>
                    </a:lnTo>
                    <a:lnTo>
                      <a:pt x="29" y="142"/>
                    </a:lnTo>
                    <a:lnTo>
                      <a:pt x="29" y="138"/>
                    </a:lnTo>
                    <a:lnTo>
                      <a:pt x="31" y="133"/>
                    </a:lnTo>
                    <a:lnTo>
                      <a:pt x="32" y="127"/>
                    </a:lnTo>
                    <a:lnTo>
                      <a:pt x="36" y="121"/>
                    </a:lnTo>
                    <a:lnTo>
                      <a:pt x="38" y="117"/>
                    </a:lnTo>
                    <a:lnTo>
                      <a:pt x="44" y="112"/>
                    </a:lnTo>
                    <a:lnTo>
                      <a:pt x="48" y="106"/>
                    </a:lnTo>
                    <a:lnTo>
                      <a:pt x="51" y="100"/>
                    </a:lnTo>
                    <a:lnTo>
                      <a:pt x="55" y="96"/>
                    </a:lnTo>
                    <a:lnTo>
                      <a:pt x="61" y="93"/>
                    </a:lnTo>
                    <a:lnTo>
                      <a:pt x="67" y="89"/>
                    </a:lnTo>
                    <a:lnTo>
                      <a:pt x="72" y="85"/>
                    </a:lnTo>
                    <a:lnTo>
                      <a:pt x="76" y="81"/>
                    </a:lnTo>
                    <a:lnTo>
                      <a:pt x="80" y="76"/>
                    </a:lnTo>
                    <a:lnTo>
                      <a:pt x="86" y="74"/>
                    </a:lnTo>
                    <a:lnTo>
                      <a:pt x="89" y="70"/>
                    </a:lnTo>
                    <a:lnTo>
                      <a:pt x="93" y="66"/>
                    </a:lnTo>
                    <a:lnTo>
                      <a:pt x="97" y="62"/>
                    </a:lnTo>
                    <a:lnTo>
                      <a:pt x="103" y="60"/>
                    </a:lnTo>
                    <a:lnTo>
                      <a:pt x="108" y="53"/>
                    </a:lnTo>
                    <a:lnTo>
                      <a:pt x="116" y="47"/>
                    </a:lnTo>
                    <a:lnTo>
                      <a:pt x="122" y="41"/>
                    </a:lnTo>
                    <a:lnTo>
                      <a:pt x="127" y="36"/>
                    </a:lnTo>
                    <a:lnTo>
                      <a:pt x="131" y="28"/>
                    </a:lnTo>
                    <a:lnTo>
                      <a:pt x="133" y="20"/>
                    </a:lnTo>
                    <a:lnTo>
                      <a:pt x="133" y="15"/>
                    </a:lnTo>
                    <a:lnTo>
                      <a:pt x="133" y="11"/>
                    </a:lnTo>
                    <a:lnTo>
                      <a:pt x="131" y="5"/>
                    </a:lnTo>
                    <a:lnTo>
                      <a:pt x="131" y="1"/>
                    </a:lnTo>
                    <a:lnTo>
                      <a:pt x="129" y="0"/>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9" name="Freeform 74"/>
              <p:cNvSpPr>
                <a:spLocks/>
              </p:cNvSpPr>
              <p:nvPr/>
            </p:nvSpPr>
            <p:spPr bwMode="auto">
              <a:xfrm>
                <a:off x="2954338" y="3360738"/>
                <a:ext cx="87313" cy="103188"/>
              </a:xfrm>
              <a:custGeom>
                <a:avLst/>
                <a:gdLst>
                  <a:gd name="T0" fmla="*/ 2147483646 w 110"/>
                  <a:gd name="T1" fmla="*/ 2147483646 h 132"/>
                  <a:gd name="T2" fmla="*/ 2147483646 w 110"/>
                  <a:gd name="T3" fmla="*/ 2147483646 h 132"/>
                  <a:gd name="T4" fmla="*/ 2147483646 w 110"/>
                  <a:gd name="T5" fmla="*/ 2147483646 h 132"/>
                  <a:gd name="T6" fmla="*/ 2147483646 w 110"/>
                  <a:gd name="T7" fmla="*/ 2147483646 h 132"/>
                  <a:gd name="T8" fmla="*/ 2147483646 w 110"/>
                  <a:gd name="T9" fmla="*/ 2147483646 h 132"/>
                  <a:gd name="T10" fmla="*/ 2147483646 w 110"/>
                  <a:gd name="T11" fmla="*/ 2147483646 h 132"/>
                  <a:gd name="T12" fmla="*/ 2147483646 w 110"/>
                  <a:gd name="T13" fmla="*/ 2147483646 h 132"/>
                  <a:gd name="T14" fmla="*/ 2147483646 w 110"/>
                  <a:gd name="T15" fmla="*/ 2147483646 h 132"/>
                  <a:gd name="T16" fmla="*/ 2147483646 w 110"/>
                  <a:gd name="T17" fmla="*/ 2147483646 h 132"/>
                  <a:gd name="T18" fmla="*/ 2147483646 w 110"/>
                  <a:gd name="T19" fmla="*/ 2147483646 h 132"/>
                  <a:gd name="T20" fmla="*/ 2147483646 w 110"/>
                  <a:gd name="T21" fmla="*/ 2147483646 h 132"/>
                  <a:gd name="T22" fmla="*/ 2147483646 w 110"/>
                  <a:gd name="T23" fmla="*/ 2147483646 h 132"/>
                  <a:gd name="T24" fmla="*/ 2147483646 w 110"/>
                  <a:gd name="T25" fmla="*/ 2147483646 h 132"/>
                  <a:gd name="T26" fmla="*/ 2147483646 w 110"/>
                  <a:gd name="T27" fmla="*/ 2147483646 h 132"/>
                  <a:gd name="T28" fmla="*/ 2147483646 w 110"/>
                  <a:gd name="T29" fmla="*/ 2147483646 h 132"/>
                  <a:gd name="T30" fmla="*/ 2147483646 w 110"/>
                  <a:gd name="T31" fmla="*/ 2147483646 h 132"/>
                  <a:gd name="T32" fmla="*/ 2147483646 w 110"/>
                  <a:gd name="T33" fmla="*/ 2147483646 h 132"/>
                  <a:gd name="T34" fmla="*/ 2147483646 w 110"/>
                  <a:gd name="T35" fmla="*/ 2147483646 h 132"/>
                  <a:gd name="T36" fmla="*/ 2147483646 w 110"/>
                  <a:gd name="T37" fmla="*/ 2147483646 h 132"/>
                  <a:gd name="T38" fmla="*/ 2147483646 w 110"/>
                  <a:gd name="T39" fmla="*/ 2147483646 h 132"/>
                  <a:gd name="T40" fmla="*/ 2147483646 w 110"/>
                  <a:gd name="T41" fmla="*/ 2147483646 h 132"/>
                  <a:gd name="T42" fmla="*/ 2147483646 w 110"/>
                  <a:gd name="T43" fmla="*/ 2147483646 h 132"/>
                  <a:gd name="T44" fmla="*/ 2147483646 w 110"/>
                  <a:gd name="T45" fmla="*/ 2147483646 h 132"/>
                  <a:gd name="T46" fmla="*/ 2147483646 w 110"/>
                  <a:gd name="T47" fmla="*/ 2147483646 h 132"/>
                  <a:gd name="T48" fmla="*/ 2147483646 w 110"/>
                  <a:gd name="T49" fmla="*/ 2147483646 h 132"/>
                  <a:gd name="T50" fmla="*/ 2147483646 w 110"/>
                  <a:gd name="T51" fmla="*/ 2147483646 h 132"/>
                  <a:gd name="T52" fmla="*/ 2147483646 w 110"/>
                  <a:gd name="T53" fmla="*/ 2147483646 h 132"/>
                  <a:gd name="T54" fmla="*/ 2147483646 w 110"/>
                  <a:gd name="T55" fmla="*/ 2147483646 h 132"/>
                  <a:gd name="T56" fmla="*/ 2147483646 w 110"/>
                  <a:gd name="T57" fmla="*/ 2147483646 h 132"/>
                  <a:gd name="T58" fmla="*/ 2147483646 w 110"/>
                  <a:gd name="T59" fmla="*/ 2147483646 h 132"/>
                  <a:gd name="T60" fmla="*/ 2147483646 w 110"/>
                  <a:gd name="T61" fmla="*/ 2147483646 h 132"/>
                  <a:gd name="T62" fmla="*/ 2147483646 w 110"/>
                  <a:gd name="T63" fmla="*/ 2147483646 h 132"/>
                  <a:gd name="T64" fmla="*/ 2147483646 w 110"/>
                  <a:gd name="T65" fmla="*/ 0 h 132"/>
                  <a:gd name="T66" fmla="*/ 2147483646 w 110"/>
                  <a:gd name="T67" fmla="*/ 0 h 132"/>
                  <a:gd name="T68" fmla="*/ 2147483646 w 110"/>
                  <a:gd name="T69" fmla="*/ 0 h 132"/>
                  <a:gd name="T70" fmla="*/ 2147483646 w 110"/>
                  <a:gd name="T71" fmla="*/ 0 h 132"/>
                  <a:gd name="T72" fmla="*/ 2147483646 w 110"/>
                  <a:gd name="T73" fmla="*/ 0 h 132"/>
                  <a:gd name="T74" fmla="*/ 2147483646 w 110"/>
                  <a:gd name="T75" fmla="*/ 2147483646 h 132"/>
                  <a:gd name="T76" fmla="*/ 0 w 110"/>
                  <a:gd name="T77" fmla="*/ 2147483646 h 1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0"/>
                  <a:gd name="T118" fmla="*/ 0 h 132"/>
                  <a:gd name="T119" fmla="*/ 110 w 110"/>
                  <a:gd name="T120" fmla="*/ 132 h 13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0" h="132">
                    <a:moveTo>
                      <a:pt x="0" y="2"/>
                    </a:moveTo>
                    <a:lnTo>
                      <a:pt x="2" y="2"/>
                    </a:lnTo>
                    <a:lnTo>
                      <a:pt x="5" y="2"/>
                    </a:lnTo>
                    <a:lnTo>
                      <a:pt x="9" y="4"/>
                    </a:lnTo>
                    <a:lnTo>
                      <a:pt x="13" y="4"/>
                    </a:lnTo>
                    <a:lnTo>
                      <a:pt x="21" y="6"/>
                    </a:lnTo>
                    <a:lnTo>
                      <a:pt x="26" y="8"/>
                    </a:lnTo>
                    <a:lnTo>
                      <a:pt x="32" y="12"/>
                    </a:lnTo>
                    <a:lnTo>
                      <a:pt x="40" y="14"/>
                    </a:lnTo>
                    <a:lnTo>
                      <a:pt x="45" y="16"/>
                    </a:lnTo>
                    <a:lnTo>
                      <a:pt x="51" y="19"/>
                    </a:lnTo>
                    <a:lnTo>
                      <a:pt x="59" y="25"/>
                    </a:lnTo>
                    <a:lnTo>
                      <a:pt x="62" y="29"/>
                    </a:lnTo>
                    <a:lnTo>
                      <a:pt x="68" y="35"/>
                    </a:lnTo>
                    <a:lnTo>
                      <a:pt x="72" y="38"/>
                    </a:lnTo>
                    <a:lnTo>
                      <a:pt x="74" y="46"/>
                    </a:lnTo>
                    <a:lnTo>
                      <a:pt x="76" y="52"/>
                    </a:lnTo>
                    <a:lnTo>
                      <a:pt x="76" y="59"/>
                    </a:lnTo>
                    <a:lnTo>
                      <a:pt x="76" y="65"/>
                    </a:lnTo>
                    <a:lnTo>
                      <a:pt x="76" y="71"/>
                    </a:lnTo>
                    <a:lnTo>
                      <a:pt x="76" y="77"/>
                    </a:lnTo>
                    <a:lnTo>
                      <a:pt x="74" y="82"/>
                    </a:lnTo>
                    <a:lnTo>
                      <a:pt x="72" y="86"/>
                    </a:lnTo>
                    <a:lnTo>
                      <a:pt x="70" y="92"/>
                    </a:lnTo>
                    <a:lnTo>
                      <a:pt x="66" y="96"/>
                    </a:lnTo>
                    <a:lnTo>
                      <a:pt x="64" y="99"/>
                    </a:lnTo>
                    <a:lnTo>
                      <a:pt x="60" y="103"/>
                    </a:lnTo>
                    <a:lnTo>
                      <a:pt x="57" y="107"/>
                    </a:lnTo>
                    <a:lnTo>
                      <a:pt x="51" y="111"/>
                    </a:lnTo>
                    <a:lnTo>
                      <a:pt x="47" y="113"/>
                    </a:lnTo>
                    <a:lnTo>
                      <a:pt x="41" y="115"/>
                    </a:lnTo>
                    <a:lnTo>
                      <a:pt x="38" y="118"/>
                    </a:lnTo>
                    <a:lnTo>
                      <a:pt x="64" y="132"/>
                    </a:lnTo>
                    <a:lnTo>
                      <a:pt x="66" y="130"/>
                    </a:lnTo>
                    <a:lnTo>
                      <a:pt x="72" y="126"/>
                    </a:lnTo>
                    <a:lnTo>
                      <a:pt x="76" y="124"/>
                    </a:lnTo>
                    <a:lnTo>
                      <a:pt x="79" y="120"/>
                    </a:lnTo>
                    <a:lnTo>
                      <a:pt x="83" y="116"/>
                    </a:lnTo>
                    <a:lnTo>
                      <a:pt x="89" y="113"/>
                    </a:lnTo>
                    <a:lnTo>
                      <a:pt x="95" y="107"/>
                    </a:lnTo>
                    <a:lnTo>
                      <a:pt x="98" y="101"/>
                    </a:lnTo>
                    <a:lnTo>
                      <a:pt x="102" y="96"/>
                    </a:lnTo>
                    <a:lnTo>
                      <a:pt x="106" y="90"/>
                    </a:lnTo>
                    <a:lnTo>
                      <a:pt x="106" y="82"/>
                    </a:lnTo>
                    <a:lnTo>
                      <a:pt x="108" y="75"/>
                    </a:lnTo>
                    <a:lnTo>
                      <a:pt x="108" y="71"/>
                    </a:lnTo>
                    <a:lnTo>
                      <a:pt x="110" y="67"/>
                    </a:lnTo>
                    <a:lnTo>
                      <a:pt x="110" y="63"/>
                    </a:lnTo>
                    <a:lnTo>
                      <a:pt x="110" y="59"/>
                    </a:lnTo>
                    <a:lnTo>
                      <a:pt x="108" y="52"/>
                    </a:lnTo>
                    <a:lnTo>
                      <a:pt x="106" y="44"/>
                    </a:lnTo>
                    <a:lnTo>
                      <a:pt x="102" y="38"/>
                    </a:lnTo>
                    <a:lnTo>
                      <a:pt x="100" y="33"/>
                    </a:lnTo>
                    <a:lnTo>
                      <a:pt x="97" y="27"/>
                    </a:lnTo>
                    <a:lnTo>
                      <a:pt x="95" y="23"/>
                    </a:lnTo>
                    <a:lnTo>
                      <a:pt x="91" y="19"/>
                    </a:lnTo>
                    <a:lnTo>
                      <a:pt x="87" y="18"/>
                    </a:lnTo>
                    <a:lnTo>
                      <a:pt x="81" y="12"/>
                    </a:lnTo>
                    <a:lnTo>
                      <a:pt x="78" y="10"/>
                    </a:lnTo>
                    <a:lnTo>
                      <a:pt x="74" y="8"/>
                    </a:lnTo>
                    <a:lnTo>
                      <a:pt x="70" y="6"/>
                    </a:lnTo>
                    <a:lnTo>
                      <a:pt x="64" y="4"/>
                    </a:lnTo>
                    <a:lnTo>
                      <a:pt x="59" y="2"/>
                    </a:lnTo>
                    <a:lnTo>
                      <a:pt x="55" y="2"/>
                    </a:lnTo>
                    <a:lnTo>
                      <a:pt x="49" y="2"/>
                    </a:lnTo>
                    <a:lnTo>
                      <a:pt x="45" y="0"/>
                    </a:lnTo>
                    <a:lnTo>
                      <a:pt x="40" y="0"/>
                    </a:lnTo>
                    <a:lnTo>
                      <a:pt x="36" y="0"/>
                    </a:lnTo>
                    <a:lnTo>
                      <a:pt x="30" y="0"/>
                    </a:lnTo>
                    <a:lnTo>
                      <a:pt x="26" y="0"/>
                    </a:lnTo>
                    <a:lnTo>
                      <a:pt x="22" y="0"/>
                    </a:lnTo>
                    <a:lnTo>
                      <a:pt x="19" y="0"/>
                    </a:lnTo>
                    <a:lnTo>
                      <a:pt x="15" y="0"/>
                    </a:lnTo>
                    <a:lnTo>
                      <a:pt x="7" y="0"/>
                    </a:lnTo>
                    <a:lnTo>
                      <a:pt x="3" y="2"/>
                    </a:lnTo>
                    <a:lnTo>
                      <a:pt x="2" y="2"/>
                    </a:lnTo>
                    <a:lnTo>
                      <a:pt x="0" y="2"/>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80" name="Freeform 75"/>
              <p:cNvSpPr>
                <a:spLocks/>
              </p:cNvSpPr>
              <p:nvPr/>
            </p:nvSpPr>
            <p:spPr bwMode="auto">
              <a:xfrm>
                <a:off x="2365376" y="3800476"/>
                <a:ext cx="168275" cy="101600"/>
              </a:xfrm>
              <a:custGeom>
                <a:avLst/>
                <a:gdLst>
                  <a:gd name="T0" fmla="*/ 0 w 211"/>
                  <a:gd name="T1" fmla="*/ 2147483646 h 127"/>
                  <a:gd name="T2" fmla="*/ 2147483646 w 211"/>
                  <a:gd name="T3" fmla="*/ 2147483646 h 127"/>
                  <a:gd name="T4" fmla="*/ 2147483646 w 211"/>
                  <a:gd name="T5" fmla="*/ 2147483646 h 127"/>
                  <a:gd name="T6" fmla="*/ 2147483646 w 211"/>
                  <a:gd name="T7" fmla="*/ 2147483646 h 127"/>
                  <a:gd name="T8" fmla="*/ 2147483646 w 211"/>
                  <a:gd name="T9" fmla="*/ 2147483646 h 127"/>
                  <a:gd name="T10" fmla="*/ 2147483646 w 211"/>
                  <a:gd name="T11" fmla="*/ 2147483646 h 127"/>
                  <a:gd name="T12" fmla="*/ 2147483646 w 211"/>
                  <a:gd name="T13" fmla="*/ 2147483646 h 127"/>
                  <a:gd name="T14" fmla="*/ 2147483646 w 211"/>
                  <a:gd name="T15" fmla="*/ 2147483646 h 127"/>
                  <a:gd name="T16" fmla="*/ 2147483646 w 211"/>
                  <a:gd name="T17" fmla="*/ 2147483646 h 127"/>
                  <a:gd name="T18" fmla="*/ 2147483646 w 211"/>
                  <a:gd name="T19" fmla="*/ 2147483646 h 127"/>
                  <a:gd name="T20" fmla="*/ 2147483646 w 211"/>
                  <a:gd name="T21" fmla="*/ 0 h 127"/>
                  <a:gd name="T22" fmla="*/ 2147483646 w 211"/>
                  <a:gd name="T23" fmla="*/ 0 h 127"/>
                  <a:gd name="T24" fmla="*/ 2147483646 w 211"/>
                  <a:gd name="T25" fmla="*/ 2147483646 h 127"/>
                  <a:gd name="T26" fmla="*/ 2147483646 w 211"/>
                  <a:gd name="T27" fmla="*/ 2147483646 h 127"/>
                  <a:gd name="T28" fmla="*/ 2147483646 w 211"/>
                  <a:gd name="T29" fmla="*/ 2147483646 h 127"/>
                  <a:gd name="T30" fmla="*/ 2147483646 w 211"/>
                  <a:gd name="T31" fmla="*/ 2147483646 h 127"/>
                  <a:gd name="T32" fmla="*/ 2147483646 w 211"/>
                  <a:gd name="T33" fmla="*/ 2147483646 h 127"/>
                  <a:gd name="T34" fmla="*/ 2147483646 w 211"/>
                  <a:gd name="T35" fmla="*/ 2147483646 h 127"/>
                  <a:gd name="T36" fmla="*/ 2147483646 w 211"/>
                  <a:gd name="T37" fmla="*/ 2147483646 h 127"/>
                  <a:gd name="T38" fmla="*/ 2147483646 w 211"/>
                  <a:gd name="T39" fmla="*/ 2147483646 h 127"/>
                  <a:gd name="T40" fmla="*/ 2147483646 w 211"/>
                  <a:gd name="T41" fmla="*/ 2147483646 h 127"/>
                  <a:gd name="T42" fmla="*/ 2147483646 w 211"/>
                  <a:gd name="T43" fmla="*/ 2147483646 h 127"/>
                  <a:gd name="T44" fmla="*/ 2147483646 w 211"/>
                  <a:gd name="T45" fmla="*/ 2147483646 h 127"/>
                  <a:gd name="T46" fmla="*/ 2147483646 w 211"/>
                  <a:gd name="T47" fmla="*/ 2147483646 h 127"/>
                  <a:gd name="T48" fmla="*/ 2147483646 w 211"/>
                  <a:gd name="T49" fmla="*/ 2147483646 h 127"/>
                  <a:gd name="T50" fmla="*/ 2147483646 w 211"/>
                  <a:gd name="T51" fmla="*/ 2147483646 h 127"/>
                  <a:gd name="T52" fmla="*/ 2147483646 w 211"/>
                  <a:gd name="T53" fmla="*/ 2147483646 h 127"/>
                  <a:gd name="T54" fmla="*/ 2147483646 w 211"/>
                  <a:gd name="T55" fmla="*/ 2147483646 h 127"/>
                  <a:gd name="T56" fmla="*/ 2147483646 w 211"/>
                  <a:gd name="T57" fmla="*/ 2147483646 h 127"/>
                  <a:gd name="T58" fmla="*/ 2147483646 w 211"/>
                  <a:gd name="T59" fmla="*/ 2147483646 h 127"/>
                  <a:gd name="T60" fmla="*/ 2147483646 w 211"/>
                  <a:gd name="T61" fmla="*/ 2147483646 h 127"/>
                  <a:gd name="T62" fmla="*/ 2147483646 w 211"/>
                  <a:gd name="T63" fmla="*/ 2147483646 h 127"/>
                  <a:gd name="T64" fmla="*/ 2147483646 w 211"/>
                  <a:gd name="T65" fmla="*/ 2147483646 h 127"/>
                  <a:gd name="T66" fmla="*/ 2147483646 w 211"/>
                  <a:gd name="T67" fmla="*/ 2147483646 h 127"/>
                  <a:gd name="T68" fmla="*/ 2147483646 w 211"/>
                  <a:gd name="T69" fmla="*/ 2147483646 h 127"/>
                  <a:gd name="T70" fmla="*/ 2147483646 w 211"/>
                  <a:gd name="T71" fmla="*/ 2147483646 h 127"/>
                  <a:gd name="T72" fmla="*/ 2147483646 w 211"/>
                  <a:gd name="T73" fmla="*/ 2147483646 h 127"/>
                  <a:gd name="T74" fmla="*/ 2147483646 w 211"/>
                  <a:gd name="T75" fmla="*/ 2147483646 h 127"/>
                  <a:gd name="T76" fmla="*/ 2147483646 w 211"/>
                  <a:gd name="T77" fmla="*/ 2147483646 h 127"/>
                  <a:gd name="T78" fmla="*/ 2147483646 w 211"/>
                  <a:gd name="T79" fmla="*/ 2147483646 h 127"/>
                  <a:gd name="T80" fmla="*/ 2147483646 w 211"/>
                  <a:gd name="T81" fmla="*/ 2147483646 h 127"/>
                  <a:gd name="T82" fmla="*/ 2147483646 w 211"/>
                  <a:gd name="T83" fmla="*/ 2147483646 h 127"/>
                  <a:gd name="T84" fmla="*/ 2147483646 w 211"/>
                  <a:gd name="T85" fmla="*/ 2147483646 h 127"/>
                  <a:gd name="T86" fmla="*/ 2147483646 w 211"/>
                  <a:gd name="T87" fmla="*/ 2147483646 h 127"/>
                  <a:gd name="T88" fmla="*/ 2147483646 w 211"/>
                  <a:gd name="T89" fmla="*/ 2147483646 h 127"/>
                  <a:gd name="T90" fmla="*/ 2147483646 w 211"/>
                  <a:gd name="T91" fmla="*/ 2147483646 h 127"/>
                  <a:gd name="T92" fmla="*/ 2147483646 w 211"/>
                  <a:gd name="T93" fmla="*/ 2147483646 h 127"/>
                  <a:gd name="T94" fmla="*/ 2147483646 w 211"/>
                  <a:gd name="T95" fmla="*/ 2147483646 h 127"/>
                  <a:gd name="T96" fmla="*/ 2147483646 w 211"/>
                  <a:gd name="T97" fmla="*/ 2147483646 h 127"/>
                  <a:gd name="T98" fmla="*/ 2147483646 w 211"/>
                  <a:gd name="T99" fmla="*/ 2147483646 h 127"/>
                  <a:gd name="T100" fmla="*/ 2147483646 w 211"/>
                  <a:gd name="T101" fmla="*/ 2147483646 h 127"/>
                  <a:gd name="T102" fmla="*/ 0 w 211"/>
                  <a:gd name="T103" fmla="*/ 2147483646 h 1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1"/>
                  <a:gd name="T157" fmla="*/ 0 h 127"/>
                  <a:gd name="T158" fmla="*/ 211 w 211"/>
                  <a:gd name="T159" fmla="*/ 127 h 1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1" h="127">
                    <a:moveTo>
                      <a:pt x="0" y="47"/>
                    </a:moveTo>
                    <a:lnTo>
                      <a:pt x="0" y="45"/>
                    </a:lnTo>
                    <a:lnTo>
                      <a:pt x="2" y="43"/>
                    </a:lnTo>
                    <a:lnTo>
                      <a:pt x="5" y="39"/>
                    </a:lnTo>
                    <a:lnTo>
                      <a:pt x="11" y="36"/>
                    </a:lnTo>
                    <a:lnTo>
                      <a:pt x="13" y="34"/>
                    </a:lnTo>
                    <a:lnTo>
                      <a:pt x="17" y="30"/>
                    </a:lnTo>
                    <a:lnTo>
                      <a:pt x="21" y="28"/>
                    </a:lnTo>
                    <a:lnTo>
                      <a:pt x="24" y="26"/>
                    </a:lnTo>
                    <a:lnTo>
                      <a:pt x="28" y="22"/>
                    </a:lnTo>
                    <a:lnTo>
                      <a:pt x="32" y="20"/>
                    </a:lnTo>
                    <a:lnTo>
                      <a:pt x="36" y="17"/>
                    </a:lnTo>
                    <a:lnTo>
                      <a:pt x="41" y="15"/>
                    </a:lnTo>
                    <a:lnTo>
                      <a:pt x="45" y="13"/>
                    </a:lnTo>
                    <a:lnTo>
                      <a:pt x="51" y="9"/>
                    </a:lnTo>
                    <a:lnTo>
                      <a:pt x="57" y="7"/>
                    </a:lnTo>
                    <a:lnTo>
                      <a:pt x="62" y="5"/>
                    </a:lnTo>
                    <a:lnTo>
                      <a:pt x="68" y="3"/>
                    </a:lnTo>
                    <a:lnTo>
                      <a:pt x="76" y="1"/>
                    </a:lnTo>
                    <a:lnTo>
                      <a:pt x="81" y="1"/>
                    </a:lnTo>
                    <a:lnTo>
                      <a:pt x="89" y="1"/>
                    </a:lnTo>
                    <a:lnTo>
                      <a:pt x="95" y="0"/>
                    </a:lnTo>
                    <a:lnTo>
                      <a:pt x="102" y="0"/>
                    </a:lnTo>
                    <a:lnTo>
                      <a:pt x="106" y="0"/>
                    </a:lnTo>
                    <a:lnTo>
                      <a:pt x="110" y="0"/>
                    </a:lnTo>
                    <a:lnTo>
                      <a:pt x="114" y="1"/>
                    </a:lnTo>
                    <a:lnTo>
                      <a:pt x="117" y="1"/>
                    </a:lnTo>
                    <a:lnTo>
                      <a:pt x="123" y="3"/>
                    </a:lnTo>
                    <a:lnTo>
                      <a:pt x="131" y="5"/>
                    </a:lnTo>
                    <a:lnTo>
                      <a:pt x="136" y="5"/>
                    </a:lnTo>
                    <a:lnTo>
                      <a:pt x="140" y="9"/>
                    </a:lnTo>
                    <a:lnTo>
                      <a:pt x="144" y="11"/>
                    </a:lnTo>
                    <a:lnTo>
                      <a:pt x="148" y="13"/>
                    </a:lnTo>
                    <a:lnTo>
                      <a:pt x="152" y="15"/>
                    </a:lnTo>
                    <a:lnTo>
                      <a:pt x="155" y="17"/>
                    </a:lnTo>
                    <a:lnTo>
                      <a:pt x="161" y="19"/>
                    </a:lnTo>
                    <a:lnTo>
                      <a:pt x="165" y="22"/>
                    </a:lnTo>
                    <a:lnTo>
                      <a:pt x="169" y="24"/>
                    </a:lnTo>
                    <a:lnTo>
                      <a:pt x="173" y="28"/>
                    </a:lnTo>
                    <a:lnTo>
                      <a:pt x="174" y="30"/>
                    </a:lnTo>
                    <a:lnTo>
                      <a:pt x="178" y="36"/>
                    </a:lnTo>
                    <a:lnTo>
                      <a:pt x="182" y="38"/>
                    </a:lnTo>
                    <a:lnTo>
                      <a:pt x="184" y="41"/>
                    </a:lnTo>
                    <a:lnTo>
                      <a:pt x="186" y="45"/>
                    </a:lnTo>
                    <a:lnTo>
                      <a:pt x="190" y="51"/>
                    </a:lnTo>
                    <a:lnTo>
                      <a:pt x="192" y="53"/>
                    </a:lnTo>
                    <a:lnTo>
                      <a:pt x="193" y="58"/>
                    </a:lnTo>
                    <a:lnTo>
                      <a:pt x="195" y="62"/>
                    </a:lnTo>
                    <a:lnTo>
                      <a:pt x="197" y="66"/>
                    </a:lnTo>
                    <a:lnTo>
                      <a:pt x="199" y="70"/>
                    </a:lnTo>
                    <a:lnTo>
                      <a:pt x="201" y="74"/>
                    </a:lnTo>
                    <a:lnTo>
                      <a:pt x="201" y="78"/>
                    </a:lnTo>
                    <a:lnTo>
                      <a:pt x="203" y="81"/>
                    </a:lnTo>
                    <a:lnTo>
                      <a:pt x="205" y="87"/>
                    </a:lnTo>
                    <a:lnTo>
                      <a:pt x="207" y="95"/>
                    </a:lnTo>
                    <a:lnTo>
                      <a:pt x="209" y="100"/>
                    </a:lnTo>
                    <a:lnTo>
                      <a:pt x="211" y="106"/>
                    </a:lnTo>
                    <a:lnTo>
                      <a:pt x="211" y="112"/>
                    </a:lnTo>
                    <a:lnTo>
                      <a:pt x="211" y="116"/>
                    </a:lnTo>
                    <a:lnTo>
                      <a:pt x="186" y="127"/>
                    </a:lnTo>
                    <a:lnTo>
                      <a:pt x="186" y="123"/>
                    </a:lnTo>
                    <a:lnTo>
                      <a:pt x="186" y="119"/>
                    </a:lnTo>
                    <a:lnTo>
                      <a:pt x="184" y="116"/>
                    </a:lnTo>
                    <a:lnTo>
                      <a:pt x="182" y="112"/>
                    </a:lnTo>
                    <a:lnTo>
                      <a:pt x="180" y="106"/>
                    </a:lnTo>
                    <a:lnTo>
                      <a:pt x="180" y="102"/>
                    </a:lnTo>
                    <a:lnTo>
                      <a:pt x="176" y="95"/>
                    </a:lnTo>
                    <a:lnTo>
                      <a:pt x="173" y="89"/>
                    </a:lnTo>
                    <a:lnTo>
                      <a:pt x="169" y="81"/>
                    </a:lnTo>
                    <a:lnTo>
                      <a:pt x="165" y="76"/>
                    </a:lnTo>
                    <a:lnTo>
                      <a:pt x="161" y="68"/>
                    </a:lnTo>
                    <a:lnTo>
                      <a:pt x="154" y="62"/>
                    </a:lnTo>
                    <a:lnTo>
                      <a:pt x="152" y="58"/>
                    </a:lnTo>
                    <a:lnTo>
                      <a:pt x="148" y="55"/>
                    </a:lnTo>
                    <a:lnTo>
                      <a:pt x="144" y="51"/>
                    </a:lnTo>
                    <a:lnTo>
                      <a:pt x="140" y="47"/>
                    </a:lnTo>
                    <a:lnTo>
                      <a:pt x="135" y="43"/>
                    </a:lnTo>
                    <a:lnTo>
                      <a:pt x="131" y="39"/>
                    </a:lnTo>
                    <a:lnTo>
                      <a:pt x="125" y="38"/>
                    </a:lnTo>
                    <a:lnTo>
                      <a:pt x="119" y="36"/>
                    </a:lnTo>
                    <a:lnTo>
                      <a:pt x="114" y="34"/>
                    </a:lnTo>
                    <a:lnTo>
                      <a:pt x="110" y="34"/>
                    </a:lnTo>
                    <a:lnTo>
                      <a:pt x="104" y="32"/>
                    </a:lnTo>
                    <a:lnTo>
                      <a:pt x="98" y="32"/>
                    </a:lnTo>
                    <a:lnTo>
                      <a:pt x="93" y="30"/>
                    </a:lnTo>
                    <a:lnTo>
                      <a:pt x="87" y="30"/>
                    </a:lnTo>
                    <a:lnTo>
                      <a:pt x="81" y="30"/>
                    </a:lnTo>
                    <a:lnTo>
                      <a:pt x="76" y="30"/>
                    </a:lnTo>
                    <a:lnTo>
                      <a:pt x="70" y="30"/>
                    </a:lnTo>
                    <a:lnTo>
                      <a:pt x="62" y="30"/>
                    </a:lnTo>
                    <a:lnTo>
                      <a:pt x="59" y="32"/>
                    </a:lnTo>
                    <a:lnTo>
                      <a:pt x="53" y="34"/>
                    </a:lnTo>
                    <a:lnTo>
                      <a:pt x="47" y="34"/>
                    </a:lnTo>
                    <a:lnTo>
                      <a:pt x="41" y="34"/>
                    </a:lnTo>
                    <a:lnTo>
                      <a:pt x="36" y="36"/>
                    </a:lnTo>
                    <a:lnTo>
                      <a:pt x="32" y="36"/>
                    </a:lnTo>
                    <a:lnTo>
                      <a:pt x="26" y="38"/>
                    </a:lnTo>
                    <a:lnTo>
                      <a:pt x="22" y="39"/>
                    </a:lnTo>
                    <a:lnTo>
                      <a:pt x="19" y="39"/>
                    </a:lnTo>
                    <a:lnTo>
                      <a:pt x="15" y="41"/>
                    </a:lnTo>
                    <a:lnTo>
                      <a:pt x="9" y="43"/>
                    </a:lnTo>
                    <a:lnTo>
                      <a:pt x="3" y="45"/>
                    </a:lnTo>
                    <a:lnTo>
                      <a:pt x="2" y="47"/>
                    </a:lnTo>
                    <a:lnTo>
                      <a:pt x="0" y="47"/>
                    </a:lnTo>
                    <a:close/>
                  </a:path>
                </a:pathLst>
              </a:custGeom>
              <a:solidFill>
                <a:srgbClr val="4D6B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81" name="Freeform 76"/>
              <p:cNvSpPr>
                <a:spLocks/>
              </p:cNvSpPr>
              <p:nvPr/>
            </p:nvSpPr>
            <p:spPr bwMode="auto">
              <a:xfrm>
                <a:off x="2130426" y="3778251"/>
                <a:ext cx="176213" cy="180975"/>
              </a:xfrm>
              <a:custGeom>
                <a:avLst/>
                <a:gdLst>
                  <a:gd name="T0" fmla="*/ 2147483646 w 223"/>
                  <a:gd name="T1" fmla="*/ 2147483646 h 228"/>
                  <a:gd name="T2" fmla="*/ 2147483646 w 223"/>
                  <a:gd name="T3" fmla="*/ 2147483646 h 228"/>
                  <a:gd name="T4" fmla="*/ 2147483646 w 223"/>
                  <a:gd name="T5" fmla="*/ 2147483646 h 228"/>
                  <a:gd name="T6" fmla="*/ 2147483646 w 223"/>
                  <a:gd name="T7" fmla="*/ 2147483646 h 228"/>
                  <a:gd name="T8" fmla="*/ 2147483646 w 223"/>
                  <a:gd name="T9" fmla="*/ 2147483646 h 228"/>
                  <a:gd name="T10" fmla="*/ 2147483646 w 223"/>
                  <a:gd name="T11" fmla="*/ 2147483646 h 228"/>
                  <a:gd name="T12" fmla="*/ 2147483646 w 223"/>
                  <a:gd name="T13" fmla="*/ 2147483646 h 228"/>
                  <a:gd name="T14" fmla="*/ 2147483646 w 223"/>
                  <a:gd name="T15" fmla="*/ 2147483646 h 228"/>
                  <a:gd name="T16" fmla="*/ 2147483646 w 223"/>
                  <a:gd name="T17" fmla="*/ 2147483646 h 228"/>
                  <a:gd name="T18" fmla="*/ 2147483646 w 223"/>
                  <a:gd name="T19" fmla="*/ 2147483646 h 228"/>
                  <a:gd name="T20" fmla="*/ 2147483646 w 223"/>
                  <a:gd name="T21" fmla="*/ 2147483646 h 228"/>
                  <a:gd name="T22" fmla="*/ 2147483646 w 223"/>
                  <a:gd name="T23" fmla="*/ 2147483646 h 228"/>
                  <a:gd name="T24" fmla="*/ 2147483646 w 223"/>
                  <a:gd name="T25" fmla="*/ 2147483646 h 228"/>
                  <a:gd name="T26" fmla="*/ 2147483646 w 223"/>
                  <a:gd name="T27" fmla="*/ 2147483646 h 228"/>
                  <a:gd name="T28" fmla="*/ 2147483646 w 223"/>
                  <a:gd name="T29" fmla="*/ 2147483646 h 228"/>
                  <a:gd name="T30" fmla="*/ 2147483646 w 223"/>
                  <a:gd name="T31" fmla="*/ 2147483646 h 228"/>
                  <a:gd name="T32" fmla="*/ 2147483646 w 223"/>
                  <a:gd name="T33" fmla="*/ 2147483646 h 228"/>
                  <a:gd name="T34" fmla="*/ 2147483646 w 223"/>
                  <a:gd name="T35" fmla="*/ 2147483646 h 228"/>
                  <a:gd name="T36" fmla="*/ 2147483646 w 223"/>
                  <a:gd name="T37" fmla="*/ 2147483646 h 228"/>
                  <a:gd name="T38" fmla="*/ 2147483646 w 223"/>
                  <a:gd name="T39" fmla="*/ 2147483646 h 228"/>
                  <a:gd name="T40" fmla="*/ 2147483646 w 223"/>
                  <a:gd name="T41" fmla="*/ 2147483646 h 228"/>
                  <a:gd name="T42" fmla="*/ 2147483646 w 223"/>
                  <a:gd name="T43" fmla="*/ 2147483646 h 228"/>
                  <a:gd name="T44" fmla="*/ 2147483646 w 223"/>
                  <a:gd name="T45" fmla="*/ 2147483646 h 228"/>
                  <a:gd name="T46" fmla="*/ 2147483646 w 223"/>
                  <a:gd name="T47" fmla="*/ 2147483646 h 228"/>
                  <a:gd name="T48" fmla="*/ 2147483646 w 223"/>
                  <a:gd name="T49" fmla="*/ 2147483646 h 228"/>
                  <a:gd name="T50" fmla="*/ 2147483646 w 223"/>
                  <a:gd name="T51" fmla="*/ 2147483646 h 228"/>
                  <a:gd name="T52" fmla="*/ 0 w 223"/>
                  <a:gd name="T53" fmla="*/ 2147483646 h 228"/>
                  <a:gd name="T54" fmla="*/ 2147483646 w 223"/>
                  <a:gd name="T55" fmla="*/ 2147483646 h 228"/>
                  <a:gd name="T56" fmla="*/ 2147483646 w 223"/>
                  <a:gd name="T57" fmla="*/ 2147483646 h 228"/>
                  <a:gd name="T58" fmla="*/ 2147483646 w 223"/>
                  <a:gd name="T59" fmla="*/ 2147483646 h 228"/>
                  <a:gd name="T60" fmla="*/ 2147483646 w 223"/>
                  <a:gd name="T61" fmla="*/ 2147483646 h 228"/>
                  <a:gd name="T62" fmla="*/ 2147483646 w 223"/>
                  <a:gd name="T63" fmla="*/ 2147483646 h 228"/>
                  <a:gd name="T64" fmla="*/ 2147483646 w 223"/>
                  <a:gd name="T65" fmla="*/ 2147483646 h 228"/>
                  <a:gd name="T66" fmla="*/ 2147483646 w 223"/>
                  <a:gd name="T67" fmla="*/ 2147483646 h 228"/>
                  <a:gd name="T68" fmla="*/ 2147483646 w 223"/>
                  <a:gd name="T69" fmla="*/ 2147483646 h 228"/>
                  <a:gd name="T70" fmla="*/ 2147483646 w 223"/>
                  <a:gd name="T71" fmla="*/ 2147483646 h 228"/>
                  <a:gd name="T72" fmla="*/ 2147483646 w 223"/>
                  <a:gd name="T73" fmla="*/ 2147483646 h 228"/>
                  <a:gd name="T74" fmla="*/ 2147483646 w 223"/>
                  <a:gd name="T75" fmla="*/ 2147483646 h 228"/>
                  <a:gd name="T76" fmla="*/ 2147483646 w 223"/>
                  <a:gd name="T77" fmla="*/ 2147483646 h 228"/>
                  <a:gd name="T78" fmla="*/ 2147483646 w 223"/>
                  <a:gd name="T79" fmla="*/ 2147483646 h 228"/>
                  <a:gd name="T80" fmla="*/ 2147483646 w 223"/>
                  <a:gd name="T81" fmla="*/ 2147483646 h 228"/>
                  <a:gd name="T82" fmla="*/ 2147483646 w 223"/>
                  <a:gd name="T83" fmla="*/ 2147483646 h 228"/>
                  <a:gd name="T84" fmla="*/ 2147483646 w 223"/>
                  <a:gd name="T85" fmla="*/ 2147483646 h 228"/>
                  <a:gd name="T86" fmla="*/ 2147483646 w 223"/>
                  <a:gd name="T87" fmla="*/ 2147483646 h 228"/>
                  <a:gd name="T88" fmla="*/ 2147483646 w 223"/>
                  <a:gd name="T89" fmla="*/ 2147483646 h 228"/>
                  <a:gd name="T90" fmla="*/ 2147483646 w 223"/>
                  <a:gd name="T91" fmla="*/ 2147483646 h 228"/>
                  <a:gd name="T92" fmla="*/ 2147483646 w 223"/>
                  <a:gd name="T93" fmla="*/ 2147483646 h 228"/>
                  <a:gd name="T94" fmla="*/ 2147483646 w 223"/>
                  <a:gd name="T95" fmla="*/ 2147483646 h 228"/>
                  <a:gd name="T96" fmla="*/ 2147483646 w 223"/>
                  <a:gd name="T97" fmla="*/ 2147483646 h 228"/>
                  <a:gd name="T98" fmla="*/ 2147483646 w 223"/>
                  <a:gd name="T99" fmla="*/ 2147483646 h 228"/>
                  <a:gd name="T100" fmla="*/ 2147483646 w 223"/>
                  <a:gd name="T101" fmla="*/ 2147483646 h 228"/>
                  <a:gd name="T102" fmla="*/ 2147483646 w 223"/>
                  <a:gd name="T103" fmla="*/ 2147483646 h 228"/>
                  <a:gd name="T104" fmla="*/ 2147483646 w 223"/>
                  <a:gd name="T105" fmla="*/ 2147483646 h 228"/>
                  <a:gd name="T106" fmla="*/ 2147483646 w 223"/>
                  <a:gd name="T107" fmla="*/ 2147483646 h 228"/>
                  <a:gd name="T108" fmla="*/ 2147483646 w 223"/>
                  <a:gd name="T109" fmla="*/ 2147483646 h 228"/>
                  <a:gd name="T110" fmla="*/ 2147483646 w 223"/>
                  <a:gd name="T111" fmla="*/ 2147483646 h 228"/>
                  <a:gd name="T112" fmla="*/ 2147483646 w 223"/>
                  <a:gd name="T113" fmla="*/ 2147483646 h 228"/>
                  <a:gd name="T114" fmla="*/ 2147483646 w 223"/>
                  <a:gd name="T115" fmla="*/ 2147483646 h 228"/>
                  <a:gd name="T116" fmla="*/ 2147483646 w 223"/>
                  <a:gd name="T117" fmla="*/ 2147483646 h 228"/>
                  <a:gd name="T118" fmla="*/ 2147483646 w 223"/>
                  <a:gd name="T119" fmla="*/ 2147483646 h 228"/>
                  <a:gd name="T120" fmla="*/ 2147483646 w 223"/>
                  <a:gd name="T121" fmla="*/ 2147483646 h 228"/>
                  <a:gd name="T122" fmla="*/ 2147483646 w 223"/>
                  <a:gd name="T123" fmla="*/ 2147483646 h 228"/>
                  <a:gd name="T124" fmla="*/ 2147483646 w 223"/>
                  <a:gd name="T125" fmla="*/ 0 h 2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
                  <a:gd name="T190" fmla="*/ 0 h 228"/>
                  <a:gd name="T191" fmla="*/ 223 w 223"/>
                  <a:gd name="T192" fmla="*/ 228 h 2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 h="228">
                    <a:moveTo>
                      <a:pt x="185" y="0"/>
                    </a:moveTo>
                    <a:lnTo>
                      <a:pt x="186" y="2"/>
                    </a:lnTo>
                    <a:lnTo>
                      <a:pt x="186" y="6"/>
                    </a:lnTo>
                    <a:lnTo>
                      <a:pt x="188" y="10"/>
                    </a:lnTo>
                    <a:lnTo>
                      <a:pt x="190" y="15"/>
                    </a:lnTo>
                    <a:lnTo>
                      <a:pt x="192" y="21"/>
                    </a:lnTo>
                    <a:lnTo>
                      <a:pt x="194" y="23"/>
                    </a:lnTo>
                    <a:lnTo>
                      <a:pt x="194" y="27"/>
                    </a:lnTo>
                    <a:lnTo>
                      <a:pt x="196" y="32"/>
                    </a:lnTo>
                    <a:lnTo>
                      <a:pt x="196" y="36"/>
                    </a:lnTo>
                    <a:lnTo>
                      <a:pt x="196" y="40"/>
                    </a:lnTo>
                    <a:lnTo>
                      <a:pt x="196" y="44"/>
                    </a:lnTo>
                    <a:lnTo>
                      <a:pt x="196" y="48"/>
                    </a:lnTo>
                    <a:lnTo>
                      <a:pt x="196" y="53"/>
                    </a:lnTo>
                    <a:lnTo>
                      <a:pt x="194" y="57"/>
                    </a:lnTo>
                    <a:lnTo>
                      <a:pt x="194" y="63"/>
                    </a:lnTo>
                    <a:lnTo>
                      <a:pt x="192" y="68"/>
                    </a:lnTo>
                    <a:lnTo>
                      <a:pt x="190" y="74"/>
                    </a:lnTo>
                    <a:lnTo>
                      <a:pt x="188" y="80"/>
                    </a:lnTo>
                    <a:lnTo>
                      <a:pt x="186" y="86"/>
                    </a:lnTo>
                    <a:lnTo>
                      <a:pt x="183" y="91"/>
                    </a:lnTo>
                    <a:lnTo>
                      <a:pt x="181" y="97"/>
                    </a:lnTo>
                    <a:lnTo>
                      <a:pt x="175" y="105"/>
                    </a:lnTo>
                    <a:lnTo>
                      <a:pt x="171" y="110"/>
                    </a:lnTo>
                    <a:lnTo>
                      <a:pt x="166" y="116"/>
                    </a:lnTo>
                    <a:lnTo>
                      <a:pt x="162" y="124"/>
                    </a:lnTo>
                    <a:lnTo>
                      <a:pt x="154" y="127"/>
                    </a:lnTo>
                    <a:lnTo>
                      <a:pt x="148" y="135"/>
                    </a:lnTo>
                    <a:lnTo>
                      <a:pt x="141" y="141"/>
                    </a:lnTo>
                    <a:lnTo>
                      <a:pt x="135" y="146"/>
                    </a:lnTo>
                    <a:lnTo>
                      <a:pt x="129" y="152"/>
                    </a:lnTo>
                    <a:lnTo>
                      <a:pt x="122" y="158"/>
                    </a:lnTo>
                    <a:lnTo>
                      <a:pt x="114" y="164"/>
                    </a:lnTo>
                    <a:lnTo>
                      <a:pt x="109" y="167"/>
                    </a:lnTo>
                    <a:lnTo>
                      <a:pt x="101" y="173"/>
                    </a:lnTo>
                    <a:lnTo>
                      <a:pt x="95" y="177"/>
                    </a:lnTo>
                    <a:lnTo>
                      <a:pt x="88" y="181"/>
                    </a:lnTo>
                    <a:lnTo>
                      <a:pt x="82" y="186"/>
                    </a:lnTo>
                    <a:lnTo>
                      <a:pt x="74" y="190"/>
                    </a:lnTo>
                    <a:lnTo>
                      <a:pt x="69" y="194"/>
                    </a:lnTo>
                    <a:lnTo>
                      <a:pt x="63" y="198"/>
                    </a:lnTo>
                    <a:lnTo>
                      <a:pt x="55" y="202"/>
                    </a:lnTo>
                    <a:lnTo>
                      <a:pt x="50" y="203"/>
                    </a:lnTo>
                    <a:lnTo>
                      <a:pt x="44" y="207"/>
                    </a:lnTo>
                    <a:lnTo>
                      <a:pt x="38" y="209"/>
                    </a:lnTo>
                    <a:lnTo>
                      <a:pt x="33" y="213"/>
                    </a:lnTo>
                    <a:lnTo>
                      <a:pt x="27" y="215"/>
                    </a:lnTo>
                    <a:lnTo>
                      <a:pt x="23" y="217"/>
                    </a:lnTo>
                    <a:lnTo>
                      <a:pt x="19" y="219"/>
                    </a:lnTo>
                    <a:lnTo>
                      <a:pt x="15" y="221"/>
                    </a:lnTo>
                    <a:lnTo>
                      <a:pt x="8" y="222"/>
                    </a:lnTo>
                    <a:lnTo>
                      <a:pt x="4" y="226"/>
                    </a:lnTo>
                    <a:lnTo>
                      <a:pt x="0" y="226"/>
                    </a:lnTo>
                    <a:lnTo>
                      <a:pt x="0" y="228"/>
                    </a:lnTo>
                    <a:lnTo>
                      <a:pt x="0" y="226"/>
                    </a:lnTo>
                    <a:lnTo>
                      <a:pt x="4" y="226"/>
                    </a:lnTo>
                    <a:lnTo>
                      <a:pt x="6" y="224"/>
                    </a:lnTo>
                    <a:lnTo>
                      <a:pt x="10" y="224"/>
                    </a:lnTo>
                    <a:lnTo>
                      <a:pt x="14" y="222"/>
                    </a:lnTo>
                    <a:lnTo>
                      <a:pt x="19" y="222"/>
                    </a:lnTo>
                    <a:lnTo>
                      <a:pt x="23" y="221"/>
                    </a:lnTo>
                    <a:lnTo>
                      <a:pt x="29" y="219"/>
                    </a:lnTo>
                    <a:lnTo>
                      <a:pt x="34" y="217"/>
                    </a:lnTo>
                    <a:lnTo>
                      <a:pt x="40" y="215"/>
                    </a:lnTo>
                    <a:lnTo>
                      <a:pt x="48" y="213"/>
                    </a:lnTo>
                    <a:lnTo>
                      <a:pt x="53" y="211"/>
                    </a:lnTo>
                    <a:lnTo>
                      <a:pt x="57" y="209"/>
                    </a:lnTo>
                    <a:lnTo>
                      <a:pt x="61" y="209"/>
                    </a:lnTo>
                    <a:lnTo>
                      <a:pt x="65" y="207"/>
                    </a:lnTo>
                    <a:lnTo>
                      <a:pt x="69" y="207"/>
                    </a:lnTo>
                    <a:lnTo>
                      <a:pt x="76" y="203"/>
                    </a:lnTo>
                    <a:lnTo>
                      <a:pt x="84" y="202"/>
                    </a:lnTo>
                    <a:lnTo>
                      <a:pt x="88" y="200"/>
                    </a:lnTo>
                    <a:lnTo>
                      <a:pt x="90" y="198"/>
                    </a:lnTo>
                    <a:lnTo>
                      <a:pt x="95" y="198"/>
                    </a:lnTo>
                    <a:lnTo>
                      <a:pt x="99" y="196"/>
                    </a:lnTo>
                    <a:lnTo>
                      <a:pt x="105" y="192"/>
                    </a:lnTo>
                    <a:lnTo>
                      <a:pt x="112" y="188"/>
                    </a:lnTo>
                    <a:lnTo>
                      <a:pt x="116" y="186"/>
                    </a:lnTo>
                    <a:lnTo>
                      <a:pt x="120" y="184"/>
                    </a:lnTo>
                    <a:lnTo>
                      <a:pt x="124" y="184"/>
                    </a:lnTo>
                    <a:lnTo>
                      <a:pt x="129" y="183"/>
                    </a:lnTo>
                    <a:lnTo>
                      <a:pt x="135" y="179"/>
                    </a:lnTo>
                    <a:lnTo>
                      <a:pt x="143" y="175"/>
                    </a:lnTo>
                    <a:lnTo>
                      <a:pt x="150" y="171"/>
                    </a:lnTo>
                    <a:lnTo>
                      <a:pt x="158" y="167"/>
                    </a:lnTo>
                    <a:lnTo>
                      <a:pt x="164" y="164"/>
                    </a:lnTo>
                    <a:lnTo>
                      <a:pt x="171" y="158"/>
                    </a:lnTo>
                    <a:lnTo>
                      <a:pt x="177" y="154"/>
                    </a:lnTo>
                    <a:lnTo>
                      <a:pt x="183" y="150"/>
                    </a:lnTo>
                    <a:lnTo>
                      <a:pt x="186" y="145"/>
                    </a:lnTo>
                    <a:lnTo>
                      <a:pt x="192" y="141"/>
                    </a:lnTo>
                    <a:lnTo>
                      <a:pt x="196" y="135"/>
                    </a:lnTo>
                    <a:lnTo>
                      <a:pt x="200" y="131"/>
                    </a:lnTo>
                    <a:lnTo>
                      <a:pt x="202" y="127"/>
                    </a:lnTo>
                    <a:lnTo>
                      <a:pt x="205" y="124"/>
                    </a:lnTo>
                    <a:lnTo>
                      <a:pt x="209" y="118"/>
                    </a:lnTo>
                    <a:lnTo>
                      <a:pt x="213" y="114"/>
                    </a:lnTo>
                    <a:lnTo>
                      <a:pt x="215" y="110"/>
                    </a:lnTo>
                    <a:lnTo>
                      <a:pt x="217" y="107"/>
                    </a:lnTo>
                    <a:lnTo>
                      <a:pt x="217" y="103"/>
                    </a:lnTo>
                    <a:lnTo>
                      <a:pt x="219" y="99"/>
                    </a:lnTo>
                    <a:lnTo>
                      <a:pt x="221" y="93"/>
                    </a:lnTo>
                    <a:lnTo>
                      <a:pt x="221" y="89"/>
                    </a:lnTo>
                    <a:lnTo>
                      <a:pt x="223" y="87"/>
                    </a:lnTo>
                    <a:lnTo>
                      <a:pt x="223" y="84"/>
                    </a:lnTo>
                    <a:lnTo>
                      <a:pt x="223" y="80"/>
                    </a:lnTo>
                    <a:lnTo>
                      <a:pt x="223" y="74"/>
                    </a:lnTo>
                    <a:lnTo>
                      <a:pt x="223" y="72"/>
                    </a:lnTo>
                    <a:lnTo>
                      <a:pt x="223" y="68"/>
                    </a:lnTo>
                    <a:lnTo>
                      <a:pt x="223" y="61"/>
                    </a:lnTo>
                    <a:lnTo>
                      <a:pt x="223" y="55"/>
                    </a:lnTo>
                    <a:lnTo>
                      <a:pt x="219" y="49"/>
                    </a:lnTo>
                    <a:lnTo>
                      <a:pt x="219" y="44"/>
                    </a:lnTo>
                    <a:lnTo>
                      <a:pt x="217" y="40"/>
                    </a:lnTo>
                    <a:lnTo>
                      <a:pt x="215" y="36"/>
                    </a:lnTo>
                    <a:lnTo>
                      <a:pt x="213" y="32"/>
                    </a:lnTo>
                    <a:lnTo>
                      <a:pt x="209" y="29"/>
                    </a:lnTo>
                    <a:lnTo>
                      <a:pt x="207" y="25"/>
                    </a:lnTo>
                    <a:lnTo>
                      <a:pt x="205" y="23"/>
                    </a:lnTo>
                    <a:lnTo>
                      <a:pt x="200" y="15"/>
                    </a:lnTo>
                    <a:lnTo>
                      <a:pt x="196" y="11"/>
                    </a:lnTo>
                    <a:lnTo>
                      <a:pt x="190" y="6"/>
                    </a:lnTo>
                    <a:lnTo>
                      <a:pt x="186" y="2"/>
                    </a:lnTo>
                    <a:lnTo>
                      <a:pt x="185"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82" name="Freeform 77"/>
              <p:cNvSpPr>
                <a:spLocks/>
              </p:cNvSpPr>
              <p:nvPr/>
            </p:nvSpPr>
            <p:spPr bwMode="auto">
              <a:xfrm>
                <a:off x="1982788" y="3735388"/>
                <a:ext cx="76200" cy="298450"/>
              </a:xfrm>
              <a:custGeom>
                <a:avLst/>
                <a:gdLst>
                  <a:gd name="T0" fmla="*/ 2147483646 w 97"/>
                  <a:gd name="T1" fmla="*/ 2147483646 h 374"/>
                  <a:gd name="T2" fmla="*/ 2147483646 w 97"/>
                  <a:gd name="T3" fmla="*/ 2147483646 h 374"/>
                  <a:gd name="T4" fmla="*/ 2147483646 w 97"/>
                  <a:gd name="T5" fmla="*/ 2147483646 h 374"/>
                  <a:gd name="T6" fmla="*/ 2147483646 w 97"/>
                  <a:gd name="T7" fmla="*/ 2147483646 h 374"/>
                  <a:gd name="T8" fmla="*/ 2147483646 w 97"/>
                  <a:gd name="T9" fmla="*/ 2147483646 h 374"/>
                  <a:gd name="T10" fmla="*/ 2147483646 w 97"/>
                  <a:gd name="T11" fmla="*/ 2147483646 h 374"/>
                  <a:gd name="T12" fmla="*/ 2147483646 w 97"/>
                  <a:gd name="T13" fmla="*/ 2147483646 h 374"/>
                  <a:gd name="T14" fmla="*/ 2147483646 w 97"/>
                  <a:gd name="T15" fmla="*/ 2147483646 h 374"/>
                  <a:gd name="T16" fmla="*/ 2147483646 w 97"/>
                  <a:gd name="T17" fmla="*/ 2147483646 h 374"/>
                  <a:gd name="T18" fmla="*/ 2147483646 w 97"/>
                  <a:gd name="T19" fmla="*/ 2147483646 h 374"/>
                  <a:gd name="T20" fmla="*/ 2147483646 w 97"/>
                  <a:gd name="T21" fmla="*/ 2147483646 h 374"/>
                  <a:gd name="T22" fmla="*/ 2147483646 w 97"/>
                  <a:gd name="T23" fmla="*/ 2147483646 h 374"/>
                  <a:gd name="T24" fmla="*/ 2147483646 w 97"/>
                  <a:gd name="T25" fmla="*/ 2147483646 h 374"/>
                  <a:gd name="T26" fmla="*/ 0 w 97"/>
                  <a:gd name="T27" fmla="*/ 2147483646 h 374"/>
                  <a:gd name="T28" fmla="*/ 0 w 97"/>
                  <a:gd name="T29" fmla="*/ 2147483646 h 374"/>
                  <a:gd name="T30" fmla="*/ 0 w 97"/>
                  <a:gd name="T31" fmla="*/ 2147483646 h 374"/>
                  <a:gd name="T32" fmla="*/ 0 w 97"/>
                  <a:gd name="T33" fmla="*/ 2147483646 h 374"/>
                  <a:gd name="T34" fmla="*/ 0 w 97"/>
                  <a:gd name="T35" fmla="*/ 2147483646 h 374"/>
                  <a:gd name="T36" fmla="*/ 0 w 97"/>
                  <a:gd name="T37" fmla="*/ 2147483646 h 374"/>
                  <a:gd name="T38" fmla="*/ 0 w 97"/>
                  <a:gd name="T39" fmla="*/ 2147483646 h 374"/>
                  <a:gd name="T40" fmla="*/ 2147483646 w 97"/>
                  <a:gd name="T41" fmla="*/ 2147483646 h 374"/>
                  <a:gd name="T42" fmla="*/ 2147483646 w 97"/>
                  <a:gd name="T43" fmla="*/ 2147483646 h 374"/>
                  <a:gd name="T44" fmla="*/ 2147483646 w 97"/>
                  <a:gd name="T45" fmla="*/ 2147483646 h 374"/>
                  <a:gd name="T46" fmla="*/ 2147483646 w 97"/>
                  <a:gd name="T47" fmla="*/ 2147483646 h 374"/>
                  <a:gd name="T48" fmla="*/ 2147483646 w 97"/>
                  <a:gd name="T49" fmla="*/ 2147483646 h 374"/>
                  <a:gd name="T50" fmla="*/ 2147483646 w 97"/>
                  <a:gd name="T51" fmla="*/ 2147483646 h 374"/>
                  <a:gd name="T52" fmla="*/ 2147483646 w 97"/>
                  <a:gd name="T53" fmla="*/ 2147483646 h 374"/>
                  <a:gd name="T54" fmla="*/ 2147483646 w 97"/>
                  <a:gd name="T55" fmla="*/ 2147483646 h 374"/>
                  <a:gd name="T56" fmla="*/ 2147483646 w 97"/>
                  <a:gd name="T57" fmla="*/ 2147483646 h 374"/>
                  <a:gd name="T58" fmla="*/ 2147483646 w 97"/>
                  <a:gd name="T59" fmla="*/ 2147483646 h 374"/>
                  <a:gd name="T60" fmla="*/ 2147483646 w 97"/>
                  <a:gd name="T61" fmla="*/ 2147483646 h 374"/>
                  <a:gd name="T62" fmla="*/ 2147483646 w 97"/>
                  <a:gd name="T63" fmla="*/ 2147483646 h 374"/>
                  <a:gd name="T64" fmla="*/ 2147483646 w 97"/>
                  <a:gd name="T65" fmla="*/ 2147483646 h 374"/>
                  <a:gd name="T66" fmla="*/ 2147483646 w 97"/>
                  <a:gd name="T67" fmla="*/ 2147483646 h 374"/>
                  <a:gd name="T68" fmla="*/ 2147483646 w 97"/>
                  <a:gd name="T69" fmla="*/ 2147483646 h 374"/>
                  <a:gd name="T70" fmla="*/ 2147483646 w 97"/>
                  <a:gd name="T71" fmla="*/ 2147483646 h 374"/>
                  <a:gd name="T72" fmla="*/ 2147483646 w 97"/>
                  <a:gd name="T73" fmla="*/ 2147483646 h 374"/>
                  <a:gd name="T74" fmla="*/ 2147483646 w 97"/>
                  <a:gd name="T75" fmla="*/ 2147483646 h 374"/>
                  <a:gd name="T76" fmla="*/ 2147483646 w 97"/>
                  <a:gd name="T77" fmla="*/ 2147483646 h 374"/>
                  <a:gd name="T78" fmla="*/ 2147483646 w 97"/>
                  <a:gd name="T79" fmla="*/ 2147483646 h 374"/>
                  <a:gd name="T80" fmla="*/ 2147483646 w 97"/>
                  <a:gd name="T81" fmla="*/ 2147483646 h 374"/>
                  <a:gd name="T82" fmla="*/ 2147483646 w 97"/>
                  <a:gd name="T83" fmla="*/ 2147483646 h 374"/>
                  <a:gd name="T84" fmla="*/ 2147483646 w 97"/>
                  <a:gd name="T85" fmla="*/ 2147483646 h 374"/>
                  <a:gd name="T86" fmla="*/ 2147483646 w 97"/>
                  <a:gd name="T87" fmla="*/ 2147483646 h 374"/>
                  <a:gd name="T88" fmla="*/ 2147483646 w 97"/>
                  <a:gd name="T89" fmla="*/ 2147483646 h 374"/>
                  <a:gd name="T90" fmla="*/ 2147483646 w 97"/>
                  <a:gd name="T91" fmla="*/ 2147483646 h 374"/>
                  <a:gd name="T92" fmla="*/ 2147483646 w 97"/>
                  <a:gd name="T93" fmla="*/ 2147483646 h 374"/>
                  <a:gd name="T94" fmla="*/ 2147483646 w 97"/>
                  <a:gd name="T95" fmla="*/ 2147483646 h 374"/>
                  <a:gd name="T96" fmla="*/ 2147483646 w 97"/>
                  <a:gd name="T97" fmla="*/ 2147483646 h 374"/>
                  <a:gd name="T98" fmla="*/ 2147483646 w 97"/>
                  <a:gd name="T99" fmla="*/ 2147483646 h 374"/>
                  <a:gd name="T100" fmla="*/ 2147483646 w 97"/>
                  <a:gd name="T101" fmla="*/ 2147483646 h 374"/>
                  <a:gd name="T102" fmla="*/ 2147483646 w 97"/>
                  <a:gd name="T103" fmla="*/ 2147483646 h 374"/>
                  <a:gd name="T104" fmla="*/ 2147483646 w 97"/>
                  <a:gd name="T105" fmla="*/ 2147483646 h 3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7"/>
                  <a:gd name="T160" fmla="*/ 0 h 374"/>
                  <a:gd name="T161" fmla="*/ 97 w 97"/>
                  <a:gd name="T162" fmla="*/ 374 h 37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7" h="374">
                    <a:moveTo>
                      <a:pt x="68" y="0"/>
                    </a:moveTo>
                    <a:lnTo>
                      <a:pt x="67" y="0"/>
                    </a:lnTo>
                    <a:lnTo>
                      <a:pt x="65" y="2"/>
                    </a:lnTo>
                    <a:lnTo>
                      <a:pt x="63" y="6"/>
                    </a:lnTo>
                    <a:lnTo>
                      <a:pt x="61" y="11"/>
                    </a:lnTo>
                    <a:lnTo>
                      <a:pt x="57" y="15"/>
                    </a:lnTo>
                    <a:lnTo>
                      <a:pt x="55" y="19"/>
                    </a:lnTo>
                    <a:lnTo>
                      <a:pt x="53" y="23"/>
                    </a:lnTo>
                    <a:lnTo>
                      <a:pt x="51" y="26"/>
                    </a:lnTo>
                    <a:lnTo>
                      <a:pt x="48" y="30"/>
                    </a:lnTo>
                    <a:lnTo>
                      <a:pt x="46" y="36"/>
                    </a:lnTo>
                    <a:lnTo>
                      <a:pt x="44" y="40"/>
                    </a:lnTo>
                    <a:lnTo>
                      <a:pt x="42" y="47"/>
                    </a:lnTo>
                    <a:lnTo>
                      <a:pt x="38" y="51"/>
                    </a:lnTo>
                    <a:lnTo>
                      <a:pt x="36" y="59"/>
                    </a:lnTo>
                    <a:lnTo>
                      <a:pt x="32" y="64"/>
                    </a:lnTo>
                    <a:lnTo>
                      <a:pt x="30" y="70"/>
                    </a:lnTo>
                    <a:lnTo>
                      <a:pt x="29" y="76"/>
                    </a:lnTo>
                    <a:lnTo>
                      <a:pt x="25" y="83"/>
                    </a:lnTo>
                    <a:lnTo>
                      <a:pt x="23" y="91"/>
                    </a:lnTo>
                    <a:lnTo>
                      <a:pt x="21" y="99"/>
                    </a:lnTo>
                    <a:lnTo>
                      <a:pt x="17" y="104"/>
                    </a:lnTo>
                    <a:lnTo>
                      <a:pt x="15" y="112"/>
                    </a:lnTo>
                    <a:lnTo>
                      <a:pt x="13" y="116"/>
                    </a:lnTo>
                    <a:lnTo>
                      <a:pt x="13" y="120"/>
                    </a:lnTo>
                    <a:lnTo>
                      <a:pt x="11" y="123"/>
                    </a:lnTo>
                    <a:lnTo>
                      <a:pt x="11" y="127"/>
                    </a:lnTo>
                    <a:lnTo>
                      <a:pt x="10" y="131"/>
                    </a:lnTo>
                    <a:lnTo>
                      <a:pt x="10" y="135"/>
                    </a:lnTo>
                    <a:lnTo>
                      <a:pt x="8" y="140"/>
                    </a:lnTo>
                    <a:lnTo>
                      <a:pt x="8" y="144"/>
                    </a:lnTo>
                    <a:lnTo>
                      <a:pt x="6" y="148"/>
                    </a:lnTo>
                    <a:lnTo>
                      <a:pt x="6" y="152"/>
                    </a:lnTo>
                    <a:lnTo>
                      <a:pt x="6" y="156"/>
                    </a:lnTo>
                    <a:lnTo>
                      <a:pt x="6" y="160"/>
                    </a:lnTo>
                    <a:lnTo>
                      <a:pt x="4" y="163"/>
                    </a:lnTo>
                    <a:lnTo>
                      <a:pt x="4" y="167"/>
                    </a:lnTo>
                    <a:lnTo>
                      <a:pt x="2" y="171"/>
                    </a:lnTo>
                    <a:lnTo>
                      <a:pt x="2" y="177"/>
                    </a:lnTo>
                    <a:lnTo>
                      <a:pt x="2" y="180"/>
                    </a:lnTo>
                    <a:lnTo>
                      <a:pt x="2" y="184"/>
                    </a:lnTo>
                    <a:lnTo>
                      <a:pt x="0" y="188"/>
                    </a:lnTo>
                    <a:lnTo>
                      <a:pt x="0" y="194"/>
                    </a:lnTo>
                    <a:lnTo>
                      <a:pt x="0" y="198"/>
                    </a:lnTo>
                    <a:lnTo>
                      <a:pt x="0" y="201"/>
                    </a:lnTo>
                    <a:lnTo>
                      <a:pt x="0" y="205"/>
                    </a:lnTo>
                    <a:lnTo>
                      <a:pt x="0" y="211"/>
                    </a:lnTo>
                    <a:lnTo>
                      <a:pt x="0" y="215"/>
                    </a:lnTo>
                    <a:lnTo>
                      <a:pt x="0" y="220"/>
                    </a:lnTo>
                    <a:lnTo>
                      <a:pt x="0" y="224"/>
                    </a:lnTo>
                    <a:lnTo>
                      <a:pt x="0" y="230"/>
                    </a:lnTo>
                    <a:lnTo>
                      <a:pt x="0" y="234"/>
                    </a:lnTo>
                    <a:lnTo>
                      <a:pt x="0" y="237"/>
                    </a:lnTo>
                    <a:lnTo>
                      <a:pt x="0" y="243"/>
                    </a:lnTo>
                    <a:lnTo>
                      <a:pt x="0" y="247"/>
                    </a:lnTo>
                    <a:lnTo>
                      <a:pt x="0" y="251"/>
                    </a:lnTo>
                    <a:lnTo>
                      <a:pt x="0" y="255"/>
                    </a:lnTo>
                    <a:lnTo>
                      <a:pt x="0" y="260"/>
                    </a:lnTo>
                    <a:lnTo>
                      <a:pt x="0" y="266"/>
                    </a:lnTo>
                    <a:lnTo>
                      <a:pt x="0" y="270"/>
                    </a:lnTo>
                    <a:lnTo>
                      <a:pt x="2" y="274"/>
                    </a:lnTo>
                    <a:lnTo>
                      <a:pt x="2" y="277"/>
                    </a:lnTo>
                    <a:lnTo>
                      <a:pt x="2" y="283"/>
                    </a:lnTo>
                    <a:lnTo>
                      <a:pt x="2" y="287"/>
                    </a:lnTo>
                    <a:lnTo>
                      <a:pt x="2" y="291"/>
                    </a:lnTo>
                    <a:lnTo>
                      <a:pt x="4" y="294"/>
                    </a:lnTo>
                    <a:lnTo>
                      <a:pt x="4" y="300"/>
                    </a:lnTo>
                    <a:lnTo>
                      <a:pt x="4" y="302"/>
                    </a:lnTo>
                    <a:lnTo>
                      <a:pt x="4" y="308"/>
                    </a:lnTo>
                    <a:lnTo>
                      <a:pt x="4" y="310"/>
                    </a:lnTo>
                    <a:lnTo>
                      <a:pt x="6" y="315"/>
                    </a:lnTo>
                    <a:lnTo>
                      <a:pt x="6" y="321"/>
                    </a:lnTo>
                    <a:lnTo>
                      <a:pt x="8" y="329"/>
                    </a:lnTo>
                    <a:lnTo>
                      <a:pt x="8" y="334"/>
                    </a:lnTo>
                    <a:lnTo>
                      <a:pt x="10" y="342"/>
                    </a:lnTo>
                    <a:lnTo>
                      <a:pt x="10" y="346"/>
                    </a:lnTo>
                    <a:lnTo>
                      <a:pt x="11" y="353"/>
                    </a:lnTo>
                    <a:lnTo>
                      <a:pt x="11" y="357"/>
                    </a:lnTo>
                    <a:lnTo>
                      <a:pt x="11" y="361"/>
                    </a:lnTo>
                    <a:lnTo>
                      <a:pt x="11" y="365"/>
                    </a:lnTo>
                    <a:lnTo>
                      <a:pt x="13" y="369"/>
                    </a:lnTo>
                    <a:lnTo>
                      <a:pt x="13" y="372"/>
                    </a:lnTo>
                    <a:lnTo>
                      <a:pt x="15" y="374"/>
                    </a:lnTo>
                    <a:lnTo>
                      <a:pt x="15" y="372"/>
                    </a:lnTo>
                    <a:lnTo>
                      <a:pt x="15" y="367"/>
                    </a:lnTo>
                    <a:lnTo>
                      <a:pt x="15" y="363"/>
                    </a:lnTo>
                    <a:lnTo>
                      <a:pt x="15" y="359"/>
                    </a:lnTo>
                    <a:lnTo>
                      <a:pt x="15" y="353"/>
                    </a:lnTo>
                    <a:lnTo>
                      <a:pt x="15" y="348"/>
                    </a:lnTo>
                    <a:lnTo>
                      <a:pt x="15" y="342"/>
                    </a:lnTo>
                    <a:lnTo>
                      <a:pt x="15" y="334"/>
                    </a:lnTo>
                    <a:lnTo>
                      <a:pt x="15" y="331"/>
                    </a:lnTo>
                    <a:lnTo>
                      <a:pt x="17" y="327"/>
                    </a:lnTo>
                    <a:lnTo>
                      <a:pt x="17" y="323"/>
                    </a:lnTo>
                    <a:lnTo>
                      <a:pt x="17" y="319"/>
                    </a:lnTo>
                    <a:lnTo>
                      <a:pt x="17" y="315"/>
                    </a:lnTo>
                    <a:lnTo>
                      <a:pt x="17" y="312"/>
                    </a:lnTo>
                    <a:lnTo>
                      <a:pt x="17" y="308"/>
                    </a:lnTo>
                    <a:lnTo>
                      <a:pt x="19" y="304"/>
                    </a:lnTo>
                    <a:lnTo>
                      <a:pt x="19" y="298"/>
                    </a:lnTo>
                    <a:lnTo>
                      <a:pt x="19" y="294"/>
                    </a:lnTo>
                    <a:lnTo>
                      <a:pt x="19" y="291"/>
                    </a:lnTo>
                    <a:lnTo>
                      <a:pt x="21" y="287"/>
                    </a:lnTo>
                    <a:lnTo>
                      <a:pt x="21" y="281"/>
                    </a:lnTo>
                    <a:lnTo>
                      <a:pt x="21" y="277"/>
                    </a:lnTo>
                    <a:lnTo>
                      <a:pt x="21" y="272"/>
                    </a:lnTo>
                    <a:lnTo>
                      <a:pt x="21" y="268"/>
                    </a:lnTo>
                    <a:lnTo>
                      <a:pt x="21" y="262"/>
                    </a:lnTo>
                    <a:lnTo>
                      <a:pt x="23" y="256"/>
                    </a:lnTo>
                    <a:lnTo>
                      <a:pt x="23" y="253"/>
                    </a:lnTo>
                    <a:lnTo>
                      <a:pt x="23" y="247"/>
                    </a:lnTo>
                    <a:lnTo>
                      <a:pt x="23" y="241"/>
                    </a:lnTo>
                    <a:lnTo>
                      <a:pt x="25" y="237"/>
                    </a:lnTo>
                    <a:lnTo>
                      <a:pt x="25" y="232"/>
                    </a:lnTo>
                    <a:lnTo>
                      <a:pt x="27" y="228"/>
                    </a:lnTo>
                    <a:lnTo>
                      <a:pt x="27" y="222"/>
                    </a:lnTo>
                    <a:lnTo>
                      <a:pt x="27" y="218"/>
                    </a:lnTo>
                    <a:lnTo>
                      <a:pt x="27" y="213"/>
                    </a:lnTo>
                    <a:lnTo>
                      <a:pt x="29" y="209"/>
                    </a:lnTo>
                    <a:lnTo>
                      <a:pt x="29" y="203"/>
                    </a:lnTo>
                    <a:lnTo>
                      <a:pt x="29" y="198"/>
                    </a:lnTo>
                    <a:lnTo>
                      <a:pt x="30" y="194"/>
                    </a:lnTo>
                    <a:lnTo>
                      <a:pt x="30" y="188"/>
                    </a:lnTo>
                    <a:lnTo>
                      <a:pt x="30" y="184"/>
                    </a:lnTo>
                    <a:lnTo>
                      <a:pt x="32" y="179"/>
                    </a:lnTo>
                    <a:lnTo>
                      <a:pt x="32" y="175"/>
                    </a:lnTo>
                    <a:lnTo>
                      <a:pt x="34" y="171"/>
                    </a:lnTo>
                    <a:lnTo>
                      <a:pt x="34" y="167"/>
                    </a:lnTo>
                    <a:lnTo>
                      <a:pt x="36" y="161"/>
                    </a:lnTo>
                    <a:lnTo>
                      <a:pt x="36" y="158"/>
                    </a:lnTo>
                    <a:lnTo>
                      <a:pt x="36" y="154"/>
                    </a:lnTo>
                    <a:lnTo>
                      <a:pt x="38" y="150"/>
                    </a:lnTo>
                    <a:lnTo>
                      <a:pt x="38" y="146"/>
                    </a:lnTo>
                    <a:lnTo>
                      <a:pt x="40" y="142"/>
                    </a:lnTo>
                    <a:lnTo>
                      <a:pt x="40" y="139"/>
                    </a:lnTo>
                    <a:lnTo>
                      <a:pt x="40" y="135"/>
                    </a:lnTo>
                    <a:lnTo>
                      <a:pt x="42" y="131"/>
                    </a:lnTo>
                    <a:lnTo>
                      <a:pt x="42" y="127"/>
                    </a:lnTo>
                    <a:lnTo>
                      <a:pt x="44" y="123"/>
                    </a:lnTo>
                    <a:lnTo>
                      <a:pt x="46" y="118"/>
                    </a:lnTo>
                    <a:lnTo>
                      <a:pt x="48" y="110"/>
                    </a:lnTo>
                    <a:lnTo>
                      <a:pt x="49" y="104"/>
                    </a:lnTo>
                    <a:lnTo>
                      <a:pt x="51" y="97"/>
                    </a:lnTo>
                    <a:lnTo>
                      <a:pt x="53" y="93"/>
                    </a:lnTo>
                    <a:lnTo>
                      <a:pt x="55" y="87"/>
                    </a:lnTo>
                    <a:lnTo>
                      <a:pt x="57" y="80"/>
                    </a:lnTo>
                    <a:lnTo>
                      <a:pt x="61" y="76"/>
                    </a:lnTo>
                    <a:lnTo>
                      <a:pt x="63" y="70"/>
                    </a:lnTo>
                    <a:lnTo>
                      <a:pt x="65" y="66"/>
                    </a:lnTo>
                    <a:lnTo>
                      <a:pt x="67" y="63"/>
                    </a:lnTo>
                    <a:lnTo>
                      <a:pt x="70" y="59"/>
                    </a:lnTo>
                    <a:lnTo>
                      <a:pt x="72" y="55"/>
                    </a:lnTo>
                    <a:lnTo>
                      <a:pt x="74" y="51"/>
                    </a:lnTo>
                    <a:lnTo>
                      <a:pt x="78" y="44"/>
                    </a:lnTo>
                    <a:lnTo>
                      <a:pt x="82" y="38"/>
                    </a:lnTo>
                    <a:lnTo>
                      <a:pt x="86" y="34"/>
                    </a:lnTo>
                    <a:lnTo>
                      <a:pt x="89" y="30"/>
                    </a:lnTo>
                    <a:lnTo>
                      <a:pt x="95" y="25"/>
                    </a:lnTo>
                    <a:lnTo>
                      <a:pt x="97" y="23"/>
                    </a:lnTo>
                    <a:lnTo>
                      <a:pt x="68"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83" name="Freeform 78"/>
              <p:cNvSpPr>
                <a:spLocks/>
              </p:cNvSpPr>
              <p:nvPr/>
            </p:nvSpPr>
            <p:spPr bwMode="auto">
              <a:xfrm>
                <a:off x="2033588" y="3709988"/>
                <a:ext cx="165100" cy="200025"/>
              </a:xfrm>
              <a:custGeom>
                <a:avLst/>
                <a:gdLst>
                  <a:gd name="T0" fmla="*/ 2147483646 w 207"/>
                  <a:gd name="T1" fmla="*/ 2147483646 h 250"/>
                  <a:gd name="T2" fmla="*/ 2147483646 w 207"/>
                  <a:gd name="T3" fmla="*/ 2147483646 h 250"/>
                  <a:gd name="T4" fmla="*/ 2147483646 w 207"/>
                  <a:gd name="T5" fmla="*/ 2147483646 h 250"/>
                  <a:gd name="T6" fmla="*/ 2147483646 w 207"/>
                  <a:gd name="T7" fmla="*/ 2147483646 h 250"/>
                  <a:gd name="T8" fmla="*/ 2147483646 w 207"/>
                  <a:gd name="T9" fmla="*/ 2147483646 h 250"/>
                  <a:gd name="T10" fmla="*/ 2147483646 w 207"/>
                  <a:gd name="T11" fmla="*/ 2147483646 h 250"/>
                  <a:gd name="T12" fmla="*/ 2147483646 w 207"/>
                  <a:gd name="T13" fmla="*/ 2147483646 h 250"/>
                  <a:gd name="T14" fmla="*/ 2147483646 w 207"/>
                  <a:gd name="T15" fmla="*/ 2147483646 h 250"/>
                  <a:gd name="T16" fmla="*/ 2147483646 w 207"/>
                  <a:gd name="T17" fmla="*/ 2147483646 h 250"/>
                  <a:gd name="T18" fmla="*/ 2147483646 w 207"/>
                  <a:gd name="T19" fmla="*/ 2147483646 h 250"/>
                  <a:gd name="T20" fmla="*/ 2147483646 w 207"/>
                  <a:gd name="T21" fmla="*/ 2147483646 h 250"/>
                  <a:gd name="T22" fmla="*/ 2147483646 w 207"/>
                  <a:gd name="T23" fmla="*/ 2147483646 h 250"/>
                  <a:gd name="T24" fmla="*/ 2147483646 w 207"/>
                  <a:gd name="T25" fmla="*/ 2147483646 h 250"/>
                  <a:gd name="T26" fmla="*/ 2147483646 w 207"/>
                  <a:gd name="T27" fmla="*/ 2147483646 h 250"/>
                  <a:gd name="T28" fmla="*/ 2147483646 w 207"/>
                  <a:gd name="T29" fmla="*/ 2147483646 h 250"/>
                  <a:gd name="T30" fmla="*/ 2147483646 w 207"/>
                  <a:gd name="T31" fmla="*/ 2147483646 h 250"/>
                  <a:gd name="T32" fmla="*/ 2147483646 w 207"/>
                  <a:gd name="T33" fmla="*/ 2147483646 h 250"/>
                  <a:gd name="T34" fmla="*/ 2147483646 w 207"/>
                  <a:gd name="T35" fmla="*/ 2147483646 h 250"/>
                  <a:gd name="T36" fmla="*/ 2147483646 w 207"/>
                  <a:gd name="T37" fmla="*/ 2147483646 h 250"/>
                  <a:gd name="T38" fmla="*/ 2147483646 w 207"/>
                  <a:gd name="T39" fmla="*/ 2147483646 h 250"/>
                  <a:gd name="T40" fmla="*/ 2147483646 w 207"/>
                  <a:gd name="T41" fmla="*/ 2147483646 h 250"/>
                  <a:gd name="T42" fmla="*/ 2147483646 w 207"/>
                  <a:gd name="T43" fmla="*/ 2147483646 h 250"/>
                  <a:gd name="T44" fmla="*/ 2147483646 w 207"/>
                  <a:gd name="T45" fmla="*/ 2147483646 h 250"/>
                  <a:gd name="T46" fmla="*/ 2147483646 w 207"/>
                  <a:gd name="T47" fmla="*/ 2147483646 h 250"/>
                  <a:gd name="T48" fmla="*/ 2147483646 w 207"/>
                  <a:gd name="T49" fmla="*/ 2147483646 h 250"/>
                  <a:gd name="T50" fmla="*/ 2147483646 w 207"/>
                  <a:gd name="T51" fmla="*/ 2147483646 h 250"/>
                  <a:gd name="T52" fmla="*/ 2147483646 w 207"/>
                  <a:gd name="T53" fmla="*/ 2147483646 h 250"/>
                  <a:gd name="T54" fmla="*/ 2147483646 w 207"/>
                  <a:gd name="T55" fmla="*/ 2147483646 h 250"/>
                  <a:gd name="T56" fmla="*/ 2147483646 w 207"/>
                  <a:gd name="T57" fmla="*/ 2147483646 h 250"/>
                  <a:gd name="T58" fmla="*/ 2147483646 w 207"/>
                  <a:gd name="T59" fmla="*/ 2147483646 h 250"/>
                  <a:gd name="T60" fmla="*/ 2147483646 w 207"/>
                  <a:gd name="T61" fmla="*/ 2147483646 h 250"/>
                  <a:gd name="T62" fmla="*/ 2147483646 w 207"/>
                  <a:gd name="T63" fmla="*/ 2147483646 h 250"/>
                  <a:gd name="T64" fmla="*/ 2147483646 w 207"/>
                  <a:gd name="T65" fmla="*/ 2147483646 h 250"/>
                  <a:gd name="T66" fmla="*/ 2147483646 w 207"/>
                  <a:gd name="T67" fmla="*/ 2147483646 h 250"/>
                  <a:gd name="T68" fmla="*/ 2147483646 w 207"/>
                  <a:gd name="T69" fmla="*/ 2147483646 h 250"/>
                  <a:gd name="T70" fmla="*/ 2147483646 w 207"/>
                  <a:gd name="T71" fmla="*/ 2147483646 h 250"/>
                  <a:gd name="T72" fmla="*/ 2147483646 w 207"/>
                  <a:gd name="T73" fmla="*/ 2147483646 h 250"/>
                  <a:gd name="T74" fmla="*/ 2147483646 w 207"/>
                  <a:gd name="T75" fmla="*/ 2147483646 h 250"/>
                  <a:gd name="T76" fmla="*/ 2147483646 w 207"/>
                  <a:gd name="T77" fmla="*/ 2147483646 h 250"/>
                  <a:gd name="T78" fmla="*/ 2147483646 w 207"/>
                  <a:gd name="T79" fmla="*/ 2147483646 h 250"/>
                  <a:gd name="T80" fmla="*/ 2147483646 w 207"/>
                  <a:gd name="T81" fmla="*/ 2147483646 h 250"/>
                  <a:gd name="T82" fmla="*/ 2147483646 w 207"/>
                  <a:gd name="T83" fmla="*/ 2147483646 h 250"/>
                  <a:gd name="T84" fmla="*/ 2147483646 w 207"/>
                  <a:gd name="T85" fmla="*/ 2147483646 h 250"/>
                  <a:gd name="T86" fmla="*/ 2147483646 w 207"/>
                  <a:gd name="T87" fmla="*/ 2147483646 h 250"/>
                  <a:gd name="T88" fmla="*/ 2147483646 w 207"/>
                  <a:gd name="T89" fmla="*/ 2147483646 h 250"/>
                  <a:gd name="T90" fmla="*/ 2147483646 w 207"/>
                  <a:gd name="T91" fmla="*/ 0 h 25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7"/>
                  <a:gd name="T139" fmla="*/ 0 h 250"/>
                  <a:gd name="T140" fmla="*/ 207 w 207"/>
                  <a:gd name="T141" fmla="*/ 250 h 25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7" h="250">
                    <a:moveTo>
                      <a:pt x="178" y="0"/>
                    </a:moveTo>
                    <a:lnTo>
                      <a:pt x="178" y="0"/>
                    </a:lnTo>
                    <a:lnTo>
                      <a:pt x="178" y="3"/>
                    </a:lnTo>
                    <a:lnTo>
                      <a:pt x="178" y="7"/>
                    </a:lnTo>
                    <a:lnTo>
                      <a:pt x="180" y="13"/>
                    </a:lnTo>
                    <a:lnTo>
                      <a:pt x="180" y="15"/>
                    </a:lnTo>
                    <a:lnTo>
                      <a:pt x="182" y="19"/>
                    </a:lnTo>
                    <a:lnTo>
                      <a:pt x="182" y="24"/>
                    </a:lnTo>
                    <a:lnTo>
                      <a:pt x="184" y="28"/>
                    </a:lnTo>
                    <a:lnTo>
                      <a:pt x="184" y="32"/>
                    </a:lnTo>
                    <a:lnTo>
                      <a:pt x="184" y="38"/>
                    </a:lnTo>
                    <a:lnTo>
                      <a:pt x="184" y="43"/>
                    </a:lnTo>
                    <a:lnTo>
                      <a:pt x="186" y="49"/>
                    </a:lnTo>
                    <a:lnTo>
                      <a:pt x="186" y="53"/>
                    </a:lnTo>
                    <a:lnTo>
                      <a:pt x="186" y="58"/>
                    </a:lnTo>
                    <a:lnTo>
                      <a:pt x="186" y="66"/>
                    </a:lnTo>
                    <a:lnTo>
                      <a:pt x="186" y="72"/>
                    </a:lnTo>
                    <a:lnTo>
                      <a:pt x="184" y="77"/>
                    </a:lnTo>
                    <a:lnTo>
                      <a:pt x="184" y="83"/>
                    </a:lnTo>
                    <a:lnTo>
                      <a:pt x="184" y="91"/>
                    </a:lnTo>
                    <a:lnTo>
                      <a:pt x="184" y="98"/>
                    </a:lnTo>
                    <a:lnTo>
                      <a:pt x="182" y="104"/>
                    </a:lnTo>
                    <a:lnTo>
                      <a:pt x="180" y="112"/>
                    </a:lnTo>
                    <a:lnTo>
                      <a:pt x="178" y="117"/>
                    </a:lnTo>
                    <a:lnTo>
                      <a:pt x="176" y="125"/>
                    </a:lnTo>
                    <a:lnTo>
                      <a:pt x="174" y="133"/>
                    </a:lnTo>
                    <a:lnTo>
                      <a:pt x="171" y="140"/>
                    </a:lnTo>
                    <a:lnTo>
                      <a:pt x="169" y="146"/>
                    </a:lnTo>
                    <a:lnTo>
                      <a:pt x="165" y="153"/>
                    </a:lnTo>
                    <a:lnTo>
                      <a:pt x="161" y="159"/>
                    </a:lnTo>
                    <a:lnTo>
                      <a:pt x="157" y="167"/>
                    </a:lnTo>
                    <a:lnTo>
                      <a:pt x="152" y="172"/>
                    </a:lnTo>
                    <a:lnTo>
                      <a:pt x="148" y="178"/>
                    </a:lnTo>
                    <a:lnTo>
                      <a:pt x="142" y="184"/>
                    </a:lnTo>
                    <a:lnTo>
                      <a:pt x="136" y="190"/>
                    </a:lnTo>
                    <a:lnTo>
                      <a:pt x="131" y="193"/>
                    </a:lnTo>
                    <a:lnTo>
                      <a:pt x="127" y="199"/>
                    </a:lnTo>
                    <a:lnTo>
                      <a:pt x="121" y="203"/>
                    </a:lnTo>
                    <a:lnTo>
                      <a:pt x="114" y="207"/>
                    </a:lnTo>
                    <a:lnTo>
                      <a:pt x="108" y="211"/>
                    </a:lnTo>
                    <a:lnTo>
                      <a:pt x="102" y="214"/>
                    </a:lnTo>
                    <a:lnTo>
                      <a:pt x="97" y="218"/>
                    </a:lnTo>
                    <a:lnTo>
                      <a:pt x="91" y="220"/>
                    </a:lnTo>
                    <a:lnTo>
                      <a:pt x="83" y="224"/>
                    </a:lnTo>
                    <a:lnTo>
                      <a:pt x="78" y="228"/>
                    </a:lnTo>
                    <a:lnTo>
                      <a:pt x="72" y="230"/>
                    </a:lnTo>
                    <a:lnTo>
                      <a:pt x="66" y="231"/>
                    </a:lnTo>
                    <a:lnTo>
                      <a:pt x="60" y="233"/>
                    </a:lnTo>
                    <a:lnTo>
                      <a:pt x="53" y="235"/>
                    </a:lnTo>
                    <a:lnTo>
                      <a:pt x="47" y="237"/>
                    </a:lnTo>
                    <a:lnTo>
                      <a:pt x="41" y="239"/>
                    </a:lnTo>
                    <a:lnTo>
                      <a:pt x="38" y="241"/>
                    </a:lnTo>
                    <a:lnTo>
                      <a:pt x="32" y="241"/>
                    </a:lnTo>
                    <a:lnTo>
                      <a:pt x="26" y="243"/>
                    </a:lnTo>
                    <a:lnTo>
                      <a:pt x="22" y="243"/>
                    </a:lnTo>
                    <a:lnTo>
                      <a:pt x="17" y="245"/>
                    </a:lnTo>
                    <a:lnTo>
                      <a:pt x="13" y="245"/>
                    </a:lnTo>
                    <a:lnTo>
                      <a:pt x="9" y="245"/>
                    </a:lnTo>
                    <a:lnTo>
                      <a:pt x="5" y="247"/>
                    </a:lnTo>
                    <a:lnTo>
                      <a:pt x="2" y="247"/>
                    </a:lnTo>
                    <a:lnTo>
                      <a:pt x="0" y="249"/>
                    </a:lnTo>
                    <a:lnTo>
                      <a:pt x="3" y="249"/>
                    </a:lnTo>
                    <a:lnTo>
                      <a:pt x="7" y="249"/>
                    </a:lnTo>
                    <a:lnTo>
                      <a:pt x="13" y="249"/>
                    </a:lnTo>
                    <a:lnTo>
                      <a:pt x="17" y="250"/>
                    </a:lnTo>
                    <a:lnTo>
                      <a:pt x="24" y="250"/>
                    </a:lnTo>
                    <a:lnTo>
                      <a:pt x="30" y="250"/>
                    </a:lnTo>
                    <a:lnTo>
                      <a:pt x="34" y="250"/>
                    </a:lnTo>
                    <a:lnTo>
                      <a:pt x="38" y="250"/>
                    </a:lnTo>
                    <a:lnTo>
                      <a:pt x="43" y="250"/>
                    </a:lnTo>
                    <a:lnTo>
                      <a:pt x="47" y="250"/>
                    </a:lnTo>
                    <a:lnTo>
                      <a:pt x="53" y="250"/>
                    </a:lnTo>
                    <a:lnTo>
                      <a:pt x="57" y="250"/>
                    </a:lnTo>
                    <a:lnTo>
                      <a:pt x="62" y="250"/>
                    </a:lnTo>
                    <a:lnTo>
                      <a:pt x="68" y="249"/>
                    </a:lnTo>
                    <a:lnTo>
                      <a:pt x="74" y="249"/>
                    </a:lnTo>
                    <a:lnTo>
                      <a:pt x="79" y="247"/>
                    </a:lnTo>
                    <a:lnTo>
                      <a:pt x="85" y="247"/>
                    </a:lnTo>
                    <a:lnTo>
                      <a:pt x="91" y="245"/>
                    </a:lnTo>
                    <a:lnTo>
                      <a:pt x="97" y="243"/>
                    </a:lnTo>
                    <a:lnTo>
                      <a:pt x="102" y="241"/>
                    </a:lnTo>
                    <a:lnTo>
                      <a:pt x="108" y="239"/>
                    </a:lnTo>
                    <a:lnTo>
                      <a:pt x="114" y="235"/>
                    </a:lnTo>
                    <a:lnTo>
                      <a:pt x="121" y="233"/>
                    </a:lnTo>
                    <a:lnTo>
                      <a:pt x="127" y="230"/>
                    </a:lnTo>
                    <a:lnTo>
                      <a:pt x="133" y="228"/>
                    </a:lnTo>
                    <a:lnTo>
                      <a:pt x="136" y="224"/>
                    </a:lnTo>
                    <a:lnTo>
                      <a:pt x="142" y="220"/>
                    </a:lnTo>
                    <a:lnTo>
                      <a:pt x="148" y="216"/>
                    </a:lnTo>
                    <a:lnTo>
                      <a:pt x="154" y="212"/>
                    </a:lnTo>
                    <a:lnTo>
                      <a:pt x="157" y="209"/>
                    </a:lnTo>
                    <a:lnTo>
                      <a:pt x="161" y="207"/>
                    </a:lnTo>
                    <a:lnTo>
                      <a:pt x="165" y="203"/>
                    </a:lnTo>
                    <a:lnTo>
                      <a:pt x="169" y="199"/>
                    </a:lnTo>
                    <a:lnTo>
                      <a:pt x="173" y="195"/>
                    </a:lnTo>
                    <a:lnTo>
                      <a:pt x="176" y="192"/>
                    </a:lnTo>
                    <a:lnTo>
                      <a:pt x="178" y="188"/>
                    </a:lnTo>
                    <a:lnTo>
                      <a:pt x="182" y="184"/>
                    </a:lnTo>
                    <a:lnTo>
                      <a:pt x="186" y="180"/>
                    </a:lnTo>
                    <a:lnTo>
                      <a:pt x="188" y="176"/>
                    </a:lnTo>
                    <a:lnTo>
                      <a:pt x="192" y="172"/>
                    </a:lnTo>
                    <a:lnTo>
                      <a:pt x="193" y="169"/>
                    </a:lnTo>
                    <a:lnTo>
                      <a:pt x="195" y="165"/>
                    </a:lnTo>
                    <a:lnTo>
                      <a:pt x="197" y="159"/>
                    </a:lnTo>
                    <a:lnTo>
                      <a:pt x="199" y="155"/>
                    </a:lnTo>
                    <a:lnTo>
                      <a:pt x="199" y="152"/>
                    </a:lnTo>
                    <a:lnTo>
                      <a:pt x="201" y="148"/>
                    </a:lnTo>
                    <a:lnTo>
                      <a:pt x="201" y="142"/>
                    </a:lnTo>
                    <a:lnTo>
                      <a:pt x="203" y="138"/>
                    </a:lnTo>
                    <a:lnTo>
                      <a:pt x="205" y="134"/>
                    </a:lnTo>
                    <a:lnTo>
                      <a:pt x="205" y="129"/>
                    </a:lnTo>
                    <a:lnTo>
                      <a:pt x="205" y="123"/>
                    </a:lnTo>
                    <a:lnTo>
                      <a:pt x="205" y="117"/>
                    </a:lnTo>
                    <a:lnTo>
                      <a:pt x="207" y="114"/>
                    </a:lnTo>
                    <a:lnTo>
                      <a:pt x="205" y="108"/>
                    </a:lnTo>
                    <a:lnTo>
                      <a:pt x="205" y="102"/>
                    </a:lnTo>
                    <a:lnTo>
                      <a:pt x="205" y="96"/>
                    </a:lnTo>
                    <a:lnTo>
                      <a:pt x="205" y="91"/>
                    </a:lnTo>
                    <a:lnTo>
                      <a:pt x="203" y="83"/>
                    </a:lnTo>
                    <a:lnTo>
                      <a:pt x="203" y="77"/>
                    </a:lnTo>
                    <a:lnTo>
                      <a:pt x="203" y="72"/>
                    </a:lnTo>
                    <a:lnTo>
                      <a:pt x="201" y="68"/>
                    </a:lnTo>
                    <a:lnTo>
                      <a:pt x="201" y="60"/>
                    </a:lnTo>
                    <a:lnTo>
                      <a:pt x="199" y="57"/>
                    </a:lnTo>
                    <a:lnTo>
                      <a:pt x="199" y="53"/>
                    </a:lnTo>
                    <a:lnTo>
                      <a:pt x="199" y="49"/>
                    </a:lnTo>
                    <a:lnTo>
                      <a:pt x="197" y="43"/>
                    </a:lnTo>
                    <a:lnTo>
                      <a:pt x="195" y="39"/>
                    </a:lnTo>
                    <a:lnTo>
                      <a:pt x="193" y="36"/>
                    </a:lnTo>
                    <a:lnTo>
                      <a:pt x="193" y="32"/>
                    </a:lnTo>
                    <a:lnTo>
                      <a:pt x="192" y="26"/>
                    </a:lnTo>
                    <a:lnTo>
                      <a:pt x="190" y="20"/>
                    </a:lnTo>
                    <a:lnTo>
                      <a:pt x="186" y="15"/>
                    </a:lnTo>
                    <a:lnTo>
                      <a:pt x="184" y="11"/>
                    </a:lnTo>
                    <a:lnTo>
                      <a:pt x="182" y="7"/>
                    </a:lnTo>
                    <a:lnTo>
                      <a:pt x="182" y="3"/>
                    </a:lnTo>
                    <a:lnTo>
                      <a:pt x="178"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84" name="Freeform 79"/>
              <p:cNvSpPr>
                <a:spLocks/>
              </p:cNvSpPr>
              <p:nvPr/>
            </p:nvSpPr>
            <p:spPr bwMode="auto">
              <a:xfrm>
                <a:off x="1812926" y="4064001"/>
                <a:ext cx="193675" cy="123825"/>
              </a:xfrm>
              <a:custGeom>
                <a:avLst/>
                <a:gdLst>
                  <a:gd name="T0" fmla="*/ 2147483646 w 245"/>
                  <a:gd name="T1" fmla="*/ 2147483646 h 156"/>
                  <a:gd name="T2" fmla="*/ 2147483646 w 245"/>
                  <a:gd name="T3" fmla="*/ 2147483646 h 156"/>
                  <a:gd name="T4" fmla="*/ 2147483646 w 245"/>
                  <a:gd name="T5" fmla="*/ 2147483646 h 156"/>
                  <a:gd name="T6" fmla="*/ 2147483646 w 245"/>
                  <a:gd name="T7" fmla="*/ 2147483646 h 156"/>
                  <a:gd name="T8" fmla="*/ 2147483646 w 245"/>
                  <a:gd name="T9" fmla="*/ 2147483646 h 156"/>
                  <a:gd name="T10" fmla="*/ 2147483646 w 245"/>
                  <a:gd name="T11" fmla="*/ 2147483646 h 156"/>
                  <a:gd name="T12" fmla="*/ 2147483646 w 245"/>
                  <a:gd name="T13" fmla="*/ 2147483646 h 156"/>
                  <a:gd name="T14" fmla="*/ 2147483646 w 245"/>
                  <a:gd name="T15" fmla="*/ 2147483646 h 156"/>
                  <a:gd name="T16" fmla="*/ 2147483646 w 245"/>
                  <a:gd name="T17" fmla="*/ 2147483646 h 156"/>
                  <a:gd name="T18" fmla="*/ 2147483646 w 245"/>
                  <a:gd name="T19" fmla="*/ 2147483646 h 156"/>
                  <a:gd name="T20" fmla="*/ 2147483646 w 245"/>
                  <a:gd name="T21" fmla="*/ 2147483646 h 156"/>
                  <a:gd name="T22" fmla="*/ 2147483646 w 245"/>
                  <a:gd name="T23" fmla="*/ 2147483646 h 156"/>
                  <a:gd name="T24" fmla="*/ 2147483646 w 245"/>
                  <a:gd name="T25" fmla="*/ 2147483646 h 156"/>
                  <a:gd name="T26" fmla="*/ 2147483646 w 245"/>
                  <a:gd name="T27" fmla="*/ 2147483646 h 156"/>
                  <a:gd name="T28" fmla="*/ 2147483646 w 245"/>
                  <a:gd name="T29" fmla="*/ 2147483646 h 156"/>
                  <a:gd name="T30" fmla="*/ 2147483646 w 245"/>
                  <a:gd name="T31" fmla="*/ 2147483646 h 156"/>
                  <a:gd name="T32" fmla="*/ 2147483646 w 245"/>
                  <a:gd name="T33" fmla="*/ 2147483646 h 156"/>
                  <a:gd name="T34" fmla="*/ 2147483646 w 245"/>
                  <a:gd name="T35" fmla="*/ 2147483646 h 156"/>
                  <a:gd name="T36" fmla="*/ 2147483646 w 245"/>
                  <a:gd name="T37" fmla="*/ 2147483646 h 156"/>
                  <a:gd name="T38" fmla="*/ 2147483646 w 245"/>
                  <a:gd name="T39" fmla="*/ 2147483646 h 156"/>
                  <a:gd name="T40" fmla="*/ 2147483646 w 245"/>
                  <a:gd name="T41" fmla="*/ 2147483646 h 156"/>
                  <a:gd name="T42" fmla="*/ 2147483646 w 245"/>
                  <a:gd name="T43" fmla="*/ 2147483646 h 156"/>
                  <a:gd name="T44" fmla="*/ 2147483646 w 245"/>
                  <a:gd name="T45" fmla="*/ 2147483646 h 156"/>
                  <a:gd name="T46" fmla="*/ 2147483646 w 245"/>
                  <a:gd name="T47" fmla="*/ 2147483646 h 156"/>
                  <a:gd name="T48" fmla="*/ 2147483646 w 245"/>
                  <a:gd name="T49" fmla="*/ 2147483646 h 156"/>
                  <a:gd name="T50" fmla="*/ 2147483646 w 245"/>
                  <a:gd name="T51" fmla="*/ 2147483646 h 156"/>
                  <a:gd name="T52" fmla="*/ 2147483646 w 245"/>
                  <a:gd name="T53" fmla="*/ 2147483646 h 156"/>
                  <a:gd name="T54" fmla="*/ 2147483646 w 245"/>
                  <a:gd name="T55" fmla="*/ 2147483646 h 156"/>
                  <a:gd name="T56" fmla="*/ 2147483646 w 245"/>
                  <a:gd name="T57" fmla="*/ 2147483646 h 156"/>
                  <a:gd name="T58" fmla="*/ 2147483646 w 245"/>
                  <a:gd name="T59" fmla="*/ 2147483646 h 156"/>
                  <a:gd name="T60" fmla="*/ 2147483646 w 245"/>
                  <a:gd name="T61" fmla="*/ 2147483646 h 156"/>
                  <a:gd name="T62" fmla="*/ 2147483646 w 245"/>
                  <a:gd name="T63" fmla="*/ 2147483646 h 156"/>
                  <a:gd name="T64" fmla="*/ 2147483646 w 245"/>
                  <a:gd name="T65" fmla="*/ 2147483646 h 156"/>
                  <a:gd name="T66" fmla="*/ 2147483646 w 245"/>
                  <a:gd name="T67" fmla="*/ 2147483646 h 156"/>
                  <a:gd name="T68" fmla="*/ 2147483646 w 245"/>
                  <a:gd name="T69" fmla="*/ 2147483646 h 156"/>
                  <a:gd name="T70" fmla="*/ 2147483646 w 245"/>
                  <a:gd name="T71" fmla="*/ 2147483646 h 156"/>
                  <a:gd name="T72" fmla="*/ 2147483646 w 245"/>
                  <a:gd name="T73" fmla="*/ 2147483646 h 156"/>
                  <a:gd name="T74" fmla="*/ 2147483646 w 245"/>
                  <a:gd name="T75" fmla="*/ 2147483646 h 156"/>
                  <a:gd name="T76" fmla="*/ 2147483646 w 245"/>
                  <a:gd name="T77" fmla="*/ 2147483646 h 156"/>
                  <a:gd name="T78" fmla="*/ 0 w 245"/>
                  <a:gd name="T79" fmla="*/ 2147483646 h 156"/>
                  <a:gd name="T80" fmla="*/ 0 w 245"/>
                  <a:gd name="T81" fmla="*/ 2147483646 h 156"/>
                  <a:gd name="T82" fmla="*/ 2147483646 w 245"/>
                  <a:gd name="T83" fmla="*/ 2147483646 h 156"/>
                  <a:gd name="T84" fmla="*/ 2147483646 w 245"/>
                  <a:gd name="T85" fmla="*/ 2147483646 h 156"/>
                  <a:gd name="T86" fmla="*/ 2147483646 w 245"/>
                  <a:gd name="T87" fmla="*/ 2147483646 h 156"/>
                  <a:gd name="T88" fmla="*/ 2147483646 w 245"/>
                  <a:gd name="T89" fmla="*/ 2147483646 h 15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5"/>
                  <a:gd name="T136" fmla="*/ 0 h 156"/>
                  <a:gd name="T137" fmla="*/ 245 w 245"/>
                  <a:gd name="T138" fmla="*/ 156 h 15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5" h="156">
                    <a:moveTo>
                      <a:pt x="21" y="21"/>
                    </a:moveTo>
                    <a:lnTo>
                      <a:pt x="21" y="21"/>
                    </a:lnTo>
                    <a:lnTo>
                      <a:pt x="21" y="23"/>
                    </a:lnTo>
                    <a:lnTo>
                      <a:pt x="21" y="27"/>
                    </a:lnTo>
                    <a:lnTo>
                      <a:pt x="21" y="31"/>
                    </a:lnTo>
                    <a:lnTo>
                      <a:pt x="23" y="36"/>
                    </a:lnTo>
                    <a:lnTo>
                      <a:pt x="23" y="42"/>
                    </a:lnTo>
                    <a:lnTo>
                      <a:pt x="25" y="48"/>
                    </a:lnTo>
                    <a:lnTo>
                      <a:pt x="29" y="55"/>
                    </a:lnTo>
                    <a:lnTo>
                      <a:pt x="31" y="61"/>
                    </a:lnTo>
                    <a:lnTo>
                      <a:pt x="35" y="69"/>
                    </a:lnTo>
                    <a:lnTo>
                      <a:pt x="40" y="76"/>
                    </a:lnTo>
                    <a:lnTo>
                      <a:pt x="48" y="84"/>
                    </a:lnTo>
                    <a:lnTo>
                      <a:pt x="50" y="86"/>
                    </a:lnTo>
                    <a:lnTo>
                      <a:pt x="54" y="90"/>
                    </a:lnTo>
                    <a:lnTo>
                      <a:pt x="57" y="93"/>
                    </a:lnTo>
                    <a:lnTo>
                      <a:pt x="63" y="97"/>
                    </a:lnTo>
                    <a:lnTo>
                      <a:pt x="67" y="99"/>
                    </a:lnTo>
                    <a:lnTo>
                      <a:pt x="73" y="103"/>
                    </a:lnTo>
                    <a:lnTo>
                      <a:pt x="78" y="105"/>
                    </a:lnTo>
                    <a:lnTo>
                      <a:pt x="84" y="109"/>
                    </a:lnTo>
                    <a:lnTo>
                      <a:pt x="92" y="109"/>
                    </a:lnTo>
                    <a:lnTo>
                      <a:pt x="97" y="111"/>
                    </a:lnTo>
                    <a:lnTo>
                      <a:pt x="103" y="113"/>
                    </a:lnTo>
                    <a:lnTo>
                      <a:pt x="109" y="114"/>
                    </a:lnTo>
                    <a:lnTo>
                      <a:pt x="116" y="114"/>
                    </a:lnTo>
                    <a:lnTo>
                      <a:pt x="122" y="114"/>
                    </a:lnTo>
                    <a:lnTo>
                      <a:pt x="128" y="113"/>
                    </a:lnTo>
                    <a:lnTo>
                      <a:pt x="135" y="113"/>
                    </a:lnTo>
                    <a:lnTo>
                      <a:pt x="141" y="111"/>
                    </a:lnTo>
                    <a:lnTo>
                      <a:pt x="147" y="111"/>
                    </a:lnTo>
                    <a:lnTo>
                      <a:pt x="152" y="109"/>
                    </a:lnTo>
                    <a:lnTo>
                      <a:pt x="160" y="107"/>
                    </a:lnTo>
                    <a:lnTo>
                      <a:pt x="164" y="103"/>
                    </a:lnTo>
                    <a:lnTo>
                      <a:pt x="171" y="101"/>
                    </a:lnTo>
                    <a:lnTo>
                      <a:pt x="177" y="97"/>
                    </a:lnTo>
                    <a:lnTo>
                      <a:pt x="183" y="93"/>
                    </a:lnTo>
                    <a:lnTo>
                      <a:pt x="188" y="90"/>
                    </a:lnTo>
                    <a:lnTo>
                      <a:pt x="192" y="86"/>
                    </a:lnTo>
                    <a:lnTo>
                      <a:pt x="198" y="82"/>
                    </a:lnTo>
                    <a:lnTo>
                      <a:pt x="204" y="78"/>
                    </a:lnTo>
                    <a:lnTo>
                      <a:pt x="207" y="73"/>
                    </a:lnTo>
                    <a:lnTo>
                      <a:pt x="213" y="67"/>
                    </a:lnTo>
                    <a:lnTo>
                      <a:pt x="217" y="61"/>
                    </a:lnTo>
                    <a:lnTo>
                      <a:pt x="221" y="55"/>
                    </a:lnTo>
                    <a:lnTo>
                      <a:pt x="225" y="50"/>
                    </a:lnTo>
                    <a:lnTo>
                      <a:pt x="228" y="42"/>
                    </a:lnTo>
                    <a:lnTo>
                      <a:pt x="232" y="36"/>
                    </a:lnTo>
                    <a:lnTo>
                      <a:pt x="236" y="31"/>
                    </a:lnTo>
                    <a:lnTo>
                      <a:pt x="238" y="23"/>
                    </a:lnTo>
                    <a:lnTo>
                      <a:pt x="240" y="16"/>
                    </a:lnTo>
                    <a:lnTo>
                      <a:pt x="242" y="8"/>
                    </a:lnTo>
                    <a:lnTo>
                      <a:pt x="245" y="0"/>
                    </a:lnTo>
                    <a:lnTo>
                      <a:pt x="245" y="4"/>
                    </a:lnTo>
                    <a:lnTo>
                      <a:pt x="245" y="8"/>
                    </a:lnTo>
                    <a:lnTo>
                      <a:pt x="245" y="14"/>
                    </a:lnTo>
                    <a:lnTo>
                      <a:pt x="245" y="19"/>
                    </a:lnTo>
                    <a:lnTo>
                      <a:pt x="245" y="27"/>
                    </a:lnTo>
                    <a:lnTo>
                      <a:pt x="245" y="31"/>
                    </a:lnTo>
                    <a:lnTo>
                      <a:pt x="245" y="36"/>
                    </a:lnTo>
                    <a:lnTo>
                      <a:pt x="245" y="40"/>
                    </a:lnTo>
                    <a:lnTo>
                      <a:pt x="245" y="46"/>
                    </a:lnTo>
                    <a:lnTo>
                      <a:pt x="244" y="50"/>
                    </a:lnTo>
                    <a:lnTo>
                      <a:pt x="242" y="55"/>
                    </a:lnTo>
                    <a:lnTo>
                      <a:pt x="242" y="59"/>
                    </a:lnTo>
                    <a:lnTo>
                      <a:pt x="240" y="65"/>
                    </a:lnTo>
                    <a:lnTo>
                      <a:pt x="238" y="71"/>
                    </a:lnTo>
                    <a:lnTo>
                      <a:pt x="236" y="74"/>
                    </a:lnTo>
                    <a:lnTo>
                      <a:pt x="234" y="80"/>
                    </a:lnTo>
                    <a:lnTo>
                      <a:pt x="232" y="86"/>
                    </a:lnTo>
                    <a:lnTo>
                      <a:pt x="228" y="92"/>
                    </a:lnTo>
                    <a:lnTo>
                      <a:pt x="225" y="95"/>
                    </a:lnTo>
                    <a:lnTo>
                      <a:pt x="221" y="101"/>
                    </a:lnTo>
                    <a:lnTo>
                      <a:pt x="219" y="107"/>
                    </a:lnTo>
                    <a:lnTo>
                      <a:pt x="213" y="111"/>
                    </a:lnTo>
                    <a:lnTo>
                      <a:pt x="209" y="114"/>
                    </a:lnTo>
                    <a:lnTo>
                      <a:pt x="204" y="120"/>
                    </a:lnTo>
                    <a:lnTo>
                      <a:pt x="200" y="124"/>
                    </a:lnTo>
                    <a:lnTo>
                      <a:pt x="192" y="128"/>
                    </a:lnTo>
                    <a:lnTo>
                      <a:pt x="187" y="132"/>
                    </a:lnTo>
                    <a:lnTo>
                      <a:pt x="181" y="135"/>
                    </a:lnTo>
                    <a:lnTo>
                      <a:pt x="175" y="139"/>
                    </a:lnTo>
                    <a:lnTo>
                      <a:pt x="169" y="141"/>
                    </a:lnTo>
                    <a:lnTo>
                      <a:pt x="164" y="145"/>
                    </a:lnTo>
                    <a:lnTo>
                      <a:pt x="158" y="147"/>
                    </a:lnTo>
                    <a:lnTo>
                      <a:pt x="152" y="149"/>
                    </a:lnTo>
                    <a:lnTo>
                      <a:pt x="145" y="151"/>
                    </a:lnTo>
                    <a:lnTo>
                      <a:pt x="139" y="152"/>
                    </a:lnTo>
                    <a:lnTo>
                      <a:pt x="133" y="152"/>
                    </a:lnTo>
                    <a:lnTo>
                      <a:pt x="128" y="154"/>
                    </a:lnTo>
                    <a:lnTo>
                      <a:pt x="122" y="154"/>
                    </a:lnTo>
                    <a:lnTo>
                      <a:pt x="116" y="154"/>
                    </a:lnTo>
                    <a:lnTo>
                      <a:pt x="111" y="154"/>
                    </a:lnTo>
                    <a:lnTo>
                      <a:pt x="105" y="156"/>
                    </a:lnTo>
                    <a:lnTo>
                      <a:pt x="99" y="154"/>
                    </a:lnTo>
                    <a:lnTo>
                      <a:pt x="92" y="154"/>
                    </a:lnTo>
                    <a:lnTo>
                      <a:pt x="86" y="154"/>
                    </a:lnTo>
                    <a:lnTo>
                      <a:pt x="82" y="152"/>
                    </a:lnTo>
                    <a:lnTo>
                      <a:pt x="74" y="151"/>
                    </a:lnTo>
                    <a:lnTo>
                      <a:pt x="71" y="151"/>
                    </a:lnTo>
                    <a:lnTo>
                      <a:pt x="65" y="149"/>
                    </a:lnTo>
                    <a:lnTo>
                      <a:pt x="59" y="147"/>
                    </a:lnTo>
                    <a:lnTo>
                      <a:pt x="54" y="143"/>
                    </a:lnTo>
                    <a:lnTo>
                      <a:pt x="50" y="141"/>
                    </a:lnTo>
                    <a:lnTo>
                      <a:pt x="44" y="139"/>
                    </a:lnTo>
                    <a:lnTo>
                      <a:pt x="40" y="137"/>
                    </a:lnTo>
                    <a:lnTo>
                      <a:pt x="35" y="133"/>
                    </a:lnTo>
                    <a:lnTo>
                      <a:pt x="31" y="130"/>
                    </a:lnTo>
                    <a:lnTo>
                      <a:pt x="25" y="128"/>
                    </a:lnTo>
                    <a:lnTo>
                      <a:pt x="21" y="124"/>
                    </a:lnTo>
                    <a:lnTo>
                      <a:pt x="17" y="120"/>
                    </a:lnTo>
                    <a:lnTo>
                      <a:pt x="14" y="116"/>
                    </a:lnTo>
                    <a:lnTo>
                      <a:pt x="10" y="113"/>
                    </a:lnTo>
                    <a:lnTo>
                      <a:pt x="8" y="109"/>
                    </a:lnTo>
                    <a:lnTo>
                      <a:pt x="6" y="105"/>
                    </a:lnTo>
                    <a:lnTo>
                      <a:pt x="4" y="101"/>
                    </a:lnTo>
                    <a:lnTo>
                      <a:pt x="2" y="97"/>
                    </a:lnTo>
                    <a:lnTo>
                      <a:pt x="2" y="93"/>
                    </a:lnTo>
                    <a:lnTo>
                      <a:pt x="0" y="88"/>
                    </a:lnTo>
                    <a:lnTo>
                      <a:pt x="0" y="84"/>
                    </a:lnTo>
                    <a:lnTo>
                      <a:pt x="0" y="80"/>
                    </a:lnTo>
                    <a:lnTo>
                      <a:pt x="0" y="76"/>
                    </a:lnTo>
                    <a:lnTo>
                      <a:pt x="0" y="73"/>
                    </a:lnTo>
                    <a:lnTo>
                      <a:pt x="2" y="67"/>
                    </a:lnTo>
                    <a:lnTo>
                      <a:pt x="2" y="63"/>
                    </a:lnTo>
                    <a:lnTo>
                      <a:pt x="4" y="59"/>
                    </a:lnTo>
                    <a:lnTo>
                      <a:pt x="6" y="55"/>
                    </a:lnTo>
                    <a:lnTo>
                      <a:pt x="6" y="52"/>
                    </a:lnTo>
                    <a:lnTo>
                      <a:pt x="8" y="48"/>
                    </a:lnTo>
                    <a:lnTo>
                      <a:pt x="10" y="44"/>
                    </a:lnTo>
                    <a:lnTo>
                      <a:pt x="12" y="38"/>
                    </a:lnTo>
                    <a:lnTo>
                      <a:pt x="16" y="33"/>
                    </a:lnTo>
                    <a:lnTo>
                      <a:pt x="17" y="27"/>
                    </a:lnTo>
                    <a:lnTo>
                      <a:pt x="19" y="25"/>
                    </a:lnTo>
                    <a:lnTo>
                      <a:pt x="19" y="21"/>
                    </a:lnTo>
                    <a:lnTo>
                      <a:pt x="21" y="2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85" name="Freeform 80"/>
              <p:cNvSpPr>
                <a:spLocks/>
              </p:cNvSpPr>
              <p:nvPr/>
            </p:nvSpPr>
            <p:spPr bwMode="auto">
              <a:xfrm>
                <a:off x="2300288" y="3965576"/>
                <a:ext cx="95250" cy="207963"/>
              </a:xfrm>
              <a:custGeom>
                <a:avLst/>
                <a:gdLst>
                  <a:gd name="T0" fmla="*/ 2147483646 w 120"/>
                  <a:gd name="T1" fmla="*/ 2147483646 h 262"/>
                  <a:gd name="T2" fmla="*/ 2147483646 w 120"/>
                  <a:gd name="T3" fmla="*/ 2147483646 h 262"/>
                  <a:gd name="T4" fmla="*/ 2147483646 w 120"/>
                  <a:gd name="T5" fmla="*/ 2147483646 h 262"/>
                  <a:gd name="T6" fmla="*/ 2147483646 w 120"/>
                  <a:gd name="T7" fmla="*/ 2147483646 h 262"/>
                  <a:gd name="T8" fmla="*/ 2147483646 w 120"/>
                  <a:gd name="T9" fmla="*/ 2147483646 h 262"/>
                  <a:gd name="T10" fmla="*/ 2147483646 w 120"/>
                  <a:gd name="T11" fmla="*/ 2147483646 h 262"/>
                  <a:gd name="T12" fmla="*/ 2147483646 w 120"/>
                  <a:gd name="T13" fmla="*/ 2147483646 h 262"/>
                  <a:gd name="T14" fmla="*/ 2147483646 w 120"/>
                  <a:gd name="T15" fmla="*/ 2147483646 h 262"/>
                  <a:gd name="T16" fmla="*/ 2147483646 w 120"/>
                  <a:gd name="T17" fmla="*/ 2147483646 h 262"/>
                  <a:gd name="T18" fmla="*/ 2147483646 w 120"/>
                  <a:gd name="T19" fmla="*/ 2147483646 h 262"/>
                  <a:gd name="T20" fmla="*/ 2147483646 w 120"/>
                  <a:gd name="T21" fmla="*/ 2147483646 h 262"/>
                  <a:gd name="T22" fmla="*/ 2147483646 w 120"/>
                  <a:gd name="T23" fmla="*/ 2147483646 h 262"/>
                  <a:gd name="T24" fmla="*/ 2147483646 w 120"/>
                  <a:gd name="T25" fmla="*/ 2147483646 h 262"/>
                  <a:gd name="T26" fmla="*/ 2147483646 w 120"/>
                  <a:gd name="T27" fmla="*/ 2147483646 h 262"/>
                  <a:gd name="T28" fmla="*/ 2147483646 w 120"/>
                  <a:gd name="T29" fmla="*/ 2147483646 h 262"/>
                  <a:gd name="T30" fmla="*/ 2147483646 w 120"/>
                  <a:gd name="T31" fmla="*/ 2147483646 h 262"/>
                  <a:gd name="T32" fmla="*/ 2147483646 w 120"/>
                  <a:gd name="T33" fmla="*/ 2147483646 h 262"/>
                  <a:gd name="T34" fmla="*/ 2147483646 w 120"/>
                  <a:gd name="T35" fmla="*/ 2147483646 h 262"/>
                  <a:gd name="T36" fmla="*/ 2147483646 w 120"/>
                  <a:gd name="T37" fmla="*/ 2147483646 h 262"/>
                  <a:gd name="T38" fmla="*/ 2147483646 w 120"/>
                  <a:gd name="T39" fmla="*/ 2147483646 h 262"/>
                  <a:gd name="T40" fmla="*/ 2147483646 w 120"/>
                  <a:gd name="T41" fmla="*/ 2147483646 h 262"/>
                  <a:gd name="T42" fmla="*/ 2147483646 w 120"/>
                  <a:gd name="T43" fmla="*/ 2147483646 h 262"/>
                  <a:gd name="T44" fmla="*/ 2147483646 w 120"/>
                  <a:gd name="T45" fmla="*/ 2147483646 h 262"/>
                  <a:gd name="T46" fmla="*/ 2147483646 w 120"/>
                  <a:gd name="T47" fmla="*/ 2147483646 h 262"/>
                  <a:gd name="T48" fmla="*/ 2147483646 w 120"/>
                  <a:gd name="T49" fmla="*/ 2147483646 h 262"/>
                  <a:gd name="T50" fmla="*/ 2147483646 w 120"/>
                  <a:gd name="T51" fmla="*/ 2147483646 h 262"/>
                  <a:gd name="T52" fmla="*/ 2147483646 w 120"/>
                  <a:gd name="T53" fmla="*/ 2147483646 h 262"/>
                  <a:gd name="T54" fmla="*/ 0 w 120"/>
                  <a:gd name="T55" fmla="*/ 2147483646 h 262"/>
                  <a:gd name="T56" fmla="*/ 0 w 120"/>
                  <a:gd name="T57" fmla="*/ 2147483646 h 262"/>
                  <a:gd name="T58" fmla="*/ 2147483646 w 120"/>
                  <a:gd name="T59" fmla="*/ 2147483646 h 262"/>
                  <a:gd name="T60" fmla="*/ 2147483646 w 120"/>
                  <a:gd name="T61" fmla="*/ 2147483646 h 262"/>
                  <a:gd name="T62" fmla="*/ 2147483646 w 120"/>
                  <a:gd name="T63" fmla="*/ 2147483646 h 262"/>
                  <a:gd name="T64" fmla="*/ 2147483646 w 120"/>
                  <a:gd name="T65" fmla="*/ 2147483646 h 262"/>
                  <a:gd name="T66" fmla="*/ 2147483646 w 120"/>
                  <a:gd name="T67" fmla="*/ 2147483646 h 262"/>
                  <a:gd name="T68" fmla="*/ 2147483646 w 120"/>
                  <a:gd name="T69" fmla="*/ 2147483646 h 262"/>
                  <a:gd name="T70" fmla="*/ 2147483646 w 120"/>
                  <a:gd name="T71" fmla="*/ 2147483646 h 262"/>
                  <a:gd name="T72" fmla="*/ 2147483646 w 120"/>
                  <a:gd name="T73" fmla="*/ 2147483646 h 262"/>
                  <a:gd name="T74" fmla="*/ 2147483646 w 120"/>
                  <a:gd name="T75" fmla="*/ 2147483646 h 262"/>
                  <a:gd name="T76" fmla="*/ 2147483646 w 120"/>
                  <a:gd name="T77" fmla="*/ 2147483646 h 262"/>
                  <a:gd name="T78" fmla="*/ 2147483646 w 120"/>
                  <a:gd name="T79" fmla="*/ 2147483646 h 262"/>
                  <a:gd name="T80" fmla="*/ 2147483646 w 120"/>
                  <a:gd name="T81" fmla="*/ 2147483646 h 262"/>
                  <a:gd name="T82" fmla="*/ 2147483646 w 120"/>
                  <a:gd name="T83" fmla="*/ 2147483646 h 262"/>
                  <a:gd name="T84" fmla="*/ 2147483646 w 120"/>
                  <a:gd name="T85" fmla="*/ 0 h 2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0"/>
                  <a:gd name="T130" fmla="*/ 0 h 262"/>
                  <a:gd name="T131" fmla="*/ 120 w 120"/>
                  <a:gd name="T132" fmla="*/ 262 h 2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0" h="262">
                    <a:moveTo>
                      <a:pt x="116" y="0"/>
                    </a:moveTo>
                    <a:lnTo>
                      <a:pt x="114" y="0"/>
                    </a:lnTo>
                    <a:lnTo>
                      <a:pt x="112" y="2"/>
                    </a:lnTo>
                    <a:lnTo>
                      <a:pt x="108" y="5"/>
                    </a:lnTo>
                    <a:lnTo>
                      <a:pt x="104" y="11"/>
                    </a:lnTo>
                    <a:lnTo>
                      <a:pt x="103" y="15"/>
                    </a:lnTo>
                    <a:lnTo>
                      <a:pt x="99" y="19"/>
                    </a:lnTo>
                    <a:lnTo>
                      <a:pt x="97" y="23"/>
                    </a:lnTo>
                    <a:lnTo>
                      <a:pt x="93" y="26"/>
                    </a:lnTo>
                    <a:lnTo>
                      <a:pt x="91" y="30"/>
                    </a:lnTo>
                    <a:lnTo>
                      <a:pt x="87" y="36"/>
                    </a:lnTo>
                    <a:lnTo>
                      <a:pt x="84" y="40"/>
                    </a:lnTo>
                    <a:lnTo>
                      <a:pt x="82" y="45"/>
                    </a:lnTo>
                    <a:lnTo>
                      <a:pt x="78" y="49"/>
                    </a:lnTo>
                    <a:lnTo>
                      <a:pt x="74" y="55"/>
                    </a:lnTo>
                    <a:lnTo>
                      <a:pt x="70" y="61"/>
                    </a:lnTo>
                    <a:lnTo>
                      <a:pt x="68" y="66"/>
                    </a:lnTo>
                    <a:lnTo>
                      <a:pt x="65" y="74"/>
                    </a:lnTo>
                    <a:lnTo>
                      <a:pt x="61" y="80"/>
                    </a:lnTo>
                    <a:lnTo>
                      <a:pt x="59" y="85"/>
                    </a:lnTo>
                    <a:lnTo>
                      <a:pt x="57" y="93"/>
                    </a:lnTo>
                    <a:lnTo>
                      <a:pt x="53" y="99"/>
                    </a:lnTo>
                    <a:lnTo>
                      <a:pt x="49" y="106"/>
                    </a:lnTo>
                    <a:lnTo>
                      <a:pt x="47" y="112"/>
                    </a:lnTo>
                    <a:lnTo>
                      <a:pt x="47" y="120"/>
                    </a:lnTo>
                    <a:lnTo>
                      <a:pt x="44" y="127"/>
                    </a:lnTo>
                    <a:lnTo>
                      <a:pt x="44" y="133"/>
                    </a:lnTo>
                    <a:lnTo>
                      <a:pt x="42" y="140"/>
                    </a:lnTo>
                    <a:lnTo>
                      <a:pt x="42" y="148"/>
                    </a:lnTo>
                    <a:lnTo>
                      <a:pt x="40" y="154"/>
                    </a:lnTo>
                    <a:lnTo>
                      <a:pt x="40" y="159"/>
                    </a:lnTo>
                    <a:lnTo>
                      <a:pt x="40" y="165"/>
                    </a:lnTo>
                    <a:lnTo>
                      <a:pt x="42" y="173"/>
                    </a:lnTo>
                    <a:lnTo>
                      <a:pt x="42" y="177"/>
                    </a:lnTo>
                    <a:lnTo>
                      <a:pt x="42" y="182"/>
                    </a:lnTo>
                    <a:lnTo>
                      <a:pt x="42" y="188"/>
                    </a:lnTo>
                    <a:lnTo>
                      <a:pt x="44" y="194"/>
                    </a:lnTo>
                    <a:lnTo>
                      <a:pt x="46" y="197"/>
                    </a:lnTo>
                    <a:lnTo>
                      <a:pt x="47" y="203"/>
                    </a:lnTo>
                    <a:lnTo>
                      <a:pt x="49" y="207"/>
                    </a:lnTo>
                    <a:lnTo>
                      <a:pt x="51" y="211"/>
                    </a:lnTo>
                    <a:lnTo>
                      <a:pt x="55" y="215"/>
                    </a:lnTo>
                    <a:lnTo>
                      <a:pt x="57" y="218"/>
                    </a:lnTo>
                    <a:lnTo>
                      <a:pt x="59" y="222"/>
                    </a:lnTo>
                    <a:lnTo>
                      <a:pt x="63" y="226"/>
                    </a:lnTo>
                    <a:lnTo>
                      <a:pt x="68" y="232"/>
                    </a:lnTo>
                    <a:lnTo>
                      <a:pt x="76" y="237"/>
                    </a:lnTo>
                    <a:lnTo>
                      <a:pt x="82" y="241"/>
                    </a:lnTo>
                    <a:lnTo>
                      <a:pt x="89" y="247"/>
                    </a:lnTo>
                    <a:lnTo>
                      <a:pt x="93" y="249"/>
                    </a:lnTo>
                    <a:lnTo>
                      <a:pt x="97" y="251"/>
                    </a:lnTo>
                    <a:lnTo>
                      <a:pt x="101" y="253"/>
                    </a:lnTo>
                    <a:lnTo>
                      <a:pt x="104" y="255"/>
                    </a:lnTo>
                    <a:lnTo>
                      <a:pt x="108" y="256"/>
                    </a:lnTo>
                    <a:lnTo>
                      <a:pt x="112" y="258"/>
                    </a:lnTo>
                    <a:lnTo>
                      <a:pt x="116" y="260"/>
                    </a:lnTo>
                    <a:lnTo>
                      <a:pt x="120" y="262"/>
                    </a:lnTo>
                    <a:lnTo>
                      <a:pt x="118" y="262"/>
                    </a:lnTo>
                    <a:lnTo>
                      <a:pt x="114" y="262"/>
                    </a:lnTo>
                    <a:lnTo>
                      <a:pt x="110" y="262"/>
                    </a:lnTo>
                    <a:lnTo>
                      <a:pt x="106" y="262"/>
                    </a:lnTo>
                    <a:lnTo>
                      <a:pt x="103" y="262"/>
                    </a:lnTo>
                    <a:lnTo>
                      <a:pt x="99" y="262"/>
                    </a:lnTo>
                    <a:lnTo>
                      <a:pt x="93" y="260"/>
                    </a:lnTo>
                    <a:lnTo>
                      <a:pt x="87" y="260"/>
                    </a:lnTo>
                    <a:lnTo>
                      <a:pt x="82" y="260"/>
                    </a:lnTo>
                    <a:lnTo>
                      <a:pt x="76" y="258"/>
                    </a:lnTo>
                    <a:lnTo>
                      <a:pt x="70" y="256"/>
                    </a:lnTo>
                    <a:lnTo>
                      <a:pt x="65" y="256"/>
                    </a:lnTo>
                    <a:lnTo>
                      <a:pt x="59" y="255"/>
                    </a:lnTo>
                    <a:lnTo>
                      <a:pt x="53" y="253"/>
                    </a:lnTo>
                    <a:lnTo>
                      <a:pt x="47" y="249"/>
                    </a:lnTo>
                    <a:lnTo>
                      <a:pt x="42" y="247"/>
                    </a:lnTo>
                    <a:lnTo>
                      <a:pt x="34" y="243"/>
                    </a:lnTo>
                    <a:lnTo>
                      <a:pt x="30" y="241"/>
                    </a:lnTo>
                    <a:lnTo>
                      <a:pt x="25" y="237"/>
                    </a:lnTo>
                    <a:lnTo>
                      <a:pt x="19" y="232"/>
                    </a:lnTo>
                    <a:lnTo>
                      <a:pt x="15" y="228"/>
                    </a:lnTo>
                    <a:lnTo>
                      <a:pt x="11" y="222"/>
                    </a:lnTo>
                    <a:lnTo>
                      <a:pt x="8" y="215"/>
                    </a:lnTo>
                    <a:lnTo>
                      <a:pt x="6" y="209"/>
                    </a:lnTo>
                    <a:lnTo>
                      <a:pt x="2" y="201"/>
                    </a:lnTo>
                    <a:lnTo>
                      <a:pt x="2" y="196"/>
                    </a:lnTo>
                    <a:lnTo>
                      <a:pt x="0" y="190"/>
                    </a:lnTo>
                    <a:lnTo>
                      <a:pt x="0" y="186"/>
                    </a:lnTo>
                    <a:lnTo>
                      <a:pt x="0" y="180"/>
                    </a:lnTo>
                    <a:lnTo>
                      <a:pt x="0" y="177"/>
                    </a:lnTo>
                    <a:lnTo>
                      <a:pt x="0" y="171"/>
                    </a:lnTo>
                    <a:lnTo>
                      <a:pt x="2" y="167"/>
                    </a:lnTo>
                    <a:lnTo>
                      <a:pt x="2" y="161"/>
                    </a:lnTo>
                    <a:lnTo>
                      <a:pt x="4" y="158"/>
                    </a:lnTo>
                    <a:lnTo>
                      <a:pt x="4" y="152"/>
                    </a:lnTo>
                    <a:lnTo>
                      <a:pt x="6" y="146"/>
                    </a:lnTo>
                    <a:lnTo>
                      <a:pt x="6" y="140"/>
                    </a:lnTo>
                    <a:lnTo>
                      <a:pt x="8" y="137"/>
                    </a:lnTo>
                    <a:lnTo>
                      <a:pt x="9" y="131"/>
                    </a:lnTo>
                    <a:lnTo>
                      <a:pt x="9" y="125"/>
                    </a:lnTo>
                    <a:lnTo>
                      <a:pt x="11" y="121"/>
                    </a:lnTo>
                    <a:lnTo>
                      <a:pt x="15" y="116"/>
                    </a:lnTo>
                    <a:lnTo>
                      <a:pt x="15" y="112"/>
                    </a:lnTo>
                    <a:lnTo>
                      <a:pt x="17" y="106"/>
                    </a:lnTo>
                    <a:lnTo>
                      <a:pt x="19" y="102"/>
                    </a:lnTo>
                    <a:lnTo>
                      <a:pt x="23" y="99"/>
                    </a:lnTo>
                    <a:lnTo>
                      <a:pt x="25" y="95"/>
                    </a:lnTo>
                    <a:lnTo>
                      <a:pt x="27" y="91"/>
                    </a:lnTo>
                    <a:lnTo>
                      <a:pt x="28" y="87"/>
                    </a:lnTo>
                    <a:lnTo>
                      <a:pt x="30" y="83"/>
                    </a:lnTo>
                    <a:lnTo>
                      <a:pt x="32" y="80"/>
                    </a:lnTo>
                    <a:lnTo>
                      <a:pt x="34" y="74"/>
                    </a:lnTo>
                    <a:lnTo>
                      <a:pt x="36" y="72"/>
                    </a:lnTo>
                    <a:lnTo>
                      <a:pt x="38" y="68"/>
                    </a:lnTo>
                    <a:lnTo>
                      <a:pt x="44" y="63"/>
                    </a:lnTo>
                    <a:lnTo>
                      <a:pt x="49" y="55"/>
                    </a:lnTo>
                    <a:lnTo>
                      <a:pt x="53" y="49"/>
                    </a:lnTo>
                    <a:lnTo>
                      <a:pt x="59" y="43"/>
                    </a:lnTo>
                    <a:lnTo>
                      <a:pt x="63" y="38"/>
                    </a:lnTo>
                    <a:lnTo>
                      <a:pt x="68" y="34"/>
                    </a:lnTo>
                    <a:lnTo>
                      <a:pt x="72" y="30"/>
                    </a:lnTo>
                    <a:lnTo>
                      <a:pt x="76" y="26"/>
                    </a:lnTo>
                    <a:lnTo>
                      <a:pt x="80" y="21"/>
                    </a:lnTo>
                    <a:lnTo>
                      <a:pt x="85" y="19"/>
                    </a:lnTo>
                    <a:lnTo>
                      <a:pt x="89" y="15"/>
                    </a:lnTo>
                    <a:lnTo>
                      <a:pt x="93" y="11"/>
                    </a:lnTo>
                    <a:lnTo>
                      <a:pt x="97" y="9"/>
                    </a:lnTo>
                    <a:lnTo>
                      <a:pt x="101" y="7"/>
                    </a:lnTo>
                    <a:lnTo>
                      <a:pt x="106" y="4"/>
                    </a:lnTo>
                    <a:lnTo>
                      <a:pt x="110" y="2"/>
                    </a:lnTo>
                    <a:lnTo>
                      <a:pt x="114" y="0"/>
                    </a:lnTo>
                    <a:lnTo>
                      <a:pt x="116"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86" name="Freeform 81"/>
              <p:cNvSpPr>
                <a:spLocks/>
              </p:cNvSpPr>
              <p:nvPr/>
            </p:nvSpPr>
            <p:spPr bwMode="auto">
              <a:xfrm>
                <a:off x="2663826" y="4102101"/>
                <a:ext cx="165100" cy="73025"/>
              </a:xfrm>
              <a:custGeom>
                <a:avLst/>
                <a:gdLst>
                  <a:gd name="T0" fmla="*/ 2147483646 w 207"/>
                  <a:gd name="T1" fmla="*/ 2147483646 h 91"/>
                  <a:gd name="T2" fmla="*/ 2147483646 w 207"/>
                  <a:gd name="T3" fmla="*/ 2147483646 h 91"/>
                  <a:gd name="T4" fmla="*/ 2147483646 w 207"/>
                  <a:gd name="T5" fmla="*/ 2147483646 h 91"/>
                  <a:gd name="T6" fmla="*/ 2147483646 w 207"/>
                  <a:gd name="T7" fmla="*/ 2147483646 h 91"/>
                  <a:gd name="T8" fmla="*/ 2147483646 w 207"/>
                  <a:gd name="T9" fmla="*/ 2147483646 h 91"/>
                  <a:gd name="T10" fmla="*/ 2147483646 w 207"/>
                  <a:gd name="T11" fmla="*/ 2147483646 h 91"/>
                  <a:gd name="T12" fmla="*/ 2147483646 w 207"/>
                  <a:gd name="T13" fmla="*/ 2147483646 h 91"/>
                  <a:gd name="T14" fmla="*/ 2147483646 w 207"/>
                  <a:gd name="T15" fmla="*/ 2147483646 h 91"/>
                  <a:gd name="T16" fmla="*/ 2147483646 w 207"/>
                  <a:gd name="T17" fmla="*/ 2147483646 h 91"/>
                  <a:gd name="T18" fmla="*/ 2147483646 w 207"/>
                  <a:gd name="T19" fmla="*/ 2147483646 h 91"/>
                  <a:gd name="T20" fmla="*/ 2147483646 w 207"/>
                  <a:gd name="T21" fmla="*/ 2147483646 h 91"/>
                  <a:gd name="T22" fmla="*/ 2147483646 w 207"/>
                  <a:gd name="T23" fmla="*/ 2147483646 h 91"/>
                  <a:gd name="T24" fmla="*/ 2147483646 w 207"/>
                  <a:gd name="T25" fmla="*/ 2147483646 h 91"/>
                  <a:gd name="T26" fmla="*/ 2147483646 w 207"/>
                  <a:gd name="T27" fmla="*/ 2147483646 h 91"/>
                  <a:gd name="T28" fmla="*/ 2147483646 w 207"/>
                  <a:gd name="T29" fmla="*/ 2147483646 h 91"/>
                  <a:gd name="T30" fmla="*/ 2147483646 w 207"/>
                  <a:gd name="T31" fmla="*/ 2147483646 h 91"/>
                  <a:gd name="T32" fmla="*/ 2147483646 w 207"/>
                  <a:gd name="T33" fmla="*/ 2147483646 h 91"/>
                  <a:gd name="T34" fmla="*/ 0 w 207"/>
                  <a:gd name="T35" fmla="*/ 2147483646 h 91"/>
                  <a:gd name="T36" fmla="*/ 0 w 207"/>
                  <a:gd name="T37" fmla="*/ 2147483646 h 91"/>
                  <a:gd name="T38" fmla="*/ 2147483646 w 207"/>
                  <a:gd name="T39" fmla="*/ 2147483646 h 91"/>
                  <a:gd name="T40" fmla="*/ 2147483646 w 207"/>
                  <a:gd name="T41" fmla="*/ 2147483646 h 91"/>
                  <a:gd name="T42" fmla="*/ 2147483646 w 207"/>
                  <a:gd name="T43" fmla="*/ 2147483646 h 91"/>
                  <a:gd name="T44" fmla="*/ 2147483646 w 207"/>
                  <a:gd name="T45" fmla="*/ 2147483646 h 91"/>
                  <a:gd name="T46" fmla="*/ 2147483646 w 207"/>
                  <a:gd name="T47" fmla="*/ 2147483646 h 91"/>
                  <a:gd name="T48" fmla="*/ 2147483646 w 207"/>
                  <a:gd name="T49" fmla="*/ 2147483646 h 91"/>
                  <a:gd name="T50" fmla="*/ 2147483646 w 207"/>
                  <a:gd name="T51" fmla="*/ 2147483646 h 91"/>
                  <a:gd name="T52" fmla="*/ 2147483646 w 207"/>
                  <a:gd name="T53" fmla="*/ 2147483646 h 91"/>
                  <a:gd name="T54" fmla="*/ 2147483646 w 207"/>
                  <a:gd name="T55" fmla="*/ 2147483646 h 91"/>
                  <a:gd name="T56" fmla="*/ 2147483646 w 207"/>
                  <a:gd name="T57" fmla="*/ 2147483646 h 91"/>
                  <a:gd name="T58" fmla="*/ 2147483646 w 207"/>
                  <a:gd name="T59" fmla="*/ 2147483646 h 91"/>
                  <a:gd name="T60" fmla="*/ 2147483646 w 207"/>
                  <a:gd name="T61" fmla="*/ 2147483646 h 91"/>
                  <a:gd name="T62" fmla="*/ 2147483646 w 207"/>
                  <a:gd name="T63" fmla="*/ 2147483646 h 91"/>
                  <a:gd name="T64" fmla="*/ 2147483646 w 207"/>
                  <a:gd name="T65" fmla="*/ 2147483646 h 91"/>
                  <a:gd name="T66" fmla="*/ 2147483646 w 207"/>
                  <a:gd name="T67" fmla="*/ 2147483646 h 91"/>
                  <a:gd name="T68" fmla="*/ 2147483646 w 207"/>
                  <a:gd name="T69" fmla="*/ 0 h 91"/>
                  <a:gd name="T70" fmla="*/ 2147483646 w 207"/>
                  <a:gd name="T71" fmla="*/ 0 h 91"/>
                  <a:gd name="T72" fmla="*/ 2147483646 w 207"/>
                  <a:gd name="T73" fmla="*/ 2147483646 h 91"/>
                  <a:gd name="T74" fmla="*/ 2147483646 w 207"/>
                  <a:gd name="T75" fmla="*/ 2147483646 h 91"/>
                  <a:gd name="T76" fmla="*/ 2147483646 w 207"/>
                  <a:gd name="T77" fmla="*/ 2147483646 h 91"/>
                  <a:gd name="T78" fmla="*/ 2147483646 w 207"/>
                  <a:gd name="T79" fmla="*/ 2147483646 h 9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91"/>
                  <a:gd name="T122" fmla="*/ 207 w 207"/>
                  <a:gd name="T123" fmla="*/ 91 h 9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91">
                    <a:moveTo>
                      <a:pt x="207" y="4"/>
                    </a:moveTo>
                    <a:lnTo>
                      <a:pt x="203" y="4"/>
                    </a:lnTo>
                    <a:lnTo>
                      <a:pt x="201" y="4"/>
                    </a:lnTo>
                    <a:lnTo>
                      <a:pt x="197" y="4"/>
                    </a:lnTo>
                    <a:lnTo>
                      <a:pt x="194" y="4"/>
                    </a:lnTo>
                    <a:lnTo>
                      <a:pt x="192" y="5"/>
                    </a:lnTo>
                    <a:lnTo>
                      <a:pt x="188" y="5"/>
                    </a:lnTo>
                    <a:lnTo>
                      <a:pt x="182" y="5"/>
                    </a:lnTo>
                    <a:lnTo>
                      <a:pt x="177" y="5"/>
                    </a:lnTo>
                    <a:lnTo>
                      <a:pt x="173" y="7"/>
                    </a:lnTo>
                    <a:lnTo>
                      <a:pt x="167" y="7"/>
                    </a:lnTo>
                    <a:lnTo>
                      <a:pt x="161" y="9"/>
                    </a:lnTo>
                    <a:lnTo>
                      <a:pt x="156" y="11"/>
                    </a:lnTo>
                    <a:lnTo>
                      <a:pt x="150" y="13"/>
                    </a:lnTo>
                    <a:lnTo>
                      <a:pt x="144" y="15"/>
                    </a:lnTo>
                    <a:lnTo>
                      <a:pt x="137" y="17"/>
                    </a:lnTo>
                    <a:lnTo>
                      <a:pt x="131" y="19"/>
                    </a:lnTo>
                    <a:lnTo>
                      <a:pt x="123" y="21"/>
                    </a:lnTo>
                    <a:lnTo>
                      <a:pt x="118" y="24"/>
                    </a:lnTo>
                    <a:lnTo>
                      <a:pt x="110" y="28"/>
                    </a:lnTo>
                    <a:lnTo>
                      <a:pt x="102" y="32"/>
                    </a:lnTo>
                    <a:lnTo>
                      <a:pt x="97" y="36"/>
                    </a:lnTo>
                    <a:lnTo>
                      <a:pt x="91" y="40"/>
                    </a:lnTo>
                    <a:lnTo>
                      <a:pt x="83" y="43"/>
                    </a:lnTo>
                    <a:lnTo>
                      <a:pt x="78" y="49"/>
                    </a:lnTo>
                    <a:lnTo>
                      <a:pt x="72" y="55"/>
                    </a:lnTo>
                    <a:lnTo>
                      <a:pt x="66" y="61"/>
                    </a:lnTo>
                    <a:lnTo>
                      <a:pt x="59" y="66"/>
                    </a:lnTo>
                    <a:lnTo>
                      <a:pt x="55" y="74"/>
                    </a:lnTo>
                    <a:lnTo>
                      <a:pt x="51" y="76"/>
                    </a:lnTo>
                    <a:lnTo>
                      <a:pt x="49" y="82"/>
                    </a:lnTo>
                    <a:lnTo>
                      <a:pt x="47" y="85"/>
                    </a:lnTo>
                    <a:lnTo>
                      <a:pt x="45" y="89"/>
                    </a:lnTo>
                    <a:lnTo>
                      <a:pt x="2" y="91"/>
                    </a:lnTo>
                    <a:lnTo>
                      <a:pt x="0" y="89"/>
                    </a:lnTo>
                    <a:lnTo>
                      <a:pt x="0" y="85"/>
                    </a:lnTo>
                    <a:lnTo>
                      <a:pt x="0" y="82"/>
                    </a:lnTo>
                    <a:lnTo>
                      <a:pt x="0" y="80"/>
                    </a:lnTo>
                    <a:lnTo>
                      <a:pt x="0" y="76"/>
                    </a:lnTo>
                    <a:lnTo>
                      <a:pt x="4" y="72"/>
                    </a:lnTo>
                    <a:lnTo>
                      <a:pt x="6" y="66"/>
                    </a:lnTo>
                    <a:lnTo>
                      <a:pt x="7" y="61"/>
                    </a:lnTo>
                    <a:lnTo>
                      <a:pt x="13" y="57"/>
                    </a:lnTo>
                    <a:lnTo>
                      <a:pt x="19" y="51"/>
                    </a:lnTo>
                    <a:lnTo>
                      <a:pt x="23" y="47"/>
                    </a:lnTo>
                    <a:lnTo>
                      <a:pt x="26" y="43"/>
                    </a:lnTo>
                    <a:lnTo>
                      <a:pt x="30" y="40"/>
                    </a:lnTo>
                    <a:lnTo>
                      <a:pt x="34" y="38"/>
                    </a:lnTo>
                    <a:lnTo>
                      <a:pt x="40" y="34"/>
                    </a:lnTo>
                    <a:lnTo>
                      <a:pt x="45" y="32"/>
                    </a:lnTo>
                    <a:lnTo>
                      <a:pt x="51" y="28"/>
                    </a:lnTo>
                    <a:lnTo>
                      <a:pt x="59" y="24"/>
                    </a:lnTo>
                    <a:lnTo>
                      <a:pt x="64" y="21"/>
                    </a:lnTo>
                    <a:lnTo>
                      <a:pt x="72" y="19"/>
                    </a:lnTo>
                    <a:lnTo>
                      <a:pt x="78" y="15"/>
                    </a:lnTo>
                    <a:lnTo>
                      <a:pt x="83" y="13"/>
                    </a:lnTo>
                    <a:lnTo>
                      <a:pt x="91" y="11"/>
                    </a:lnTo>
                    <a:lnTo>
                      <a:pt x="97" y="9"/>
                    </a:lnTo>
                    <a:lnTo>
                      <a:pt x="104" y="7"/>
                    </a:lnTo>
                    <a:lnTo>
                      <a:pt x="110" y="7"/>
                    </a:lnTo>
                    <a:lnTo>
                      <a:pt x="118" y="5"/>
                    </a:lnTo>
                    <a:lnTo>
                      <a:pt x="123" y="4"/>
                    </a:lnTo>
                    <a:lnTo>
                      <a:pt x="129" y="4"/>
                    </a:lnTo>
                    <a:lnTo>
                      <a:pt x="135" y="2"/>
                    </a:lnTo>
                    <a:lnTo>
                      <a:pt x="140" y="2"/>
                    </a:lnTo>
                    <a:lnTo>
                      <a:pt x="148" y="2"/>
                    </a:lnTo>
                    <a:lnTo>
                      <a:pt x="152" y="2"/>
                    </a:lnTo>
                    <a:lnTo>
                      <a:pt x="159" y="2"/>
                    </a:lnTo>
                    <a:lnTo>
                      <a:pt x="163" y="0"/>
                    </a:lnTo>
                    <a:lnTo>
                      <a:pt x="169" y="0"/>
                    </a:lnTo>
                    <a:lnTo>
                      <a:pt x="173" y="0"/>
                    </a:lnTo>
                    <a:lnTo>
                      <a:pt x="177" y="0"/>
                    </a:lnTo>
                    <a:lnTo>
                      <a:pt x="180" y="0"/>
                    </a:lnTo>
                    <a:lnTo>
                      <a:pt x="184" y="2"/>
                    </a:lnTo>
                    <a:lnTo>
                      <a:pt x="188" y="2"/>
                    </a:lnTo>
                    <a:lnTo>
                      <a:pt x="192" y="2"/>
                    </a:lnTo>
                    <a:lnTo>
                      <a:pt x="197" y="2"/>
                    </a:lnTo>
                    <a:lnTo>
                      <a:pt x="201" y="4"/>
                    </a:lnTo>
                    <a:lnTo>
                      <a:pt x="205" y="4"/>
                    </a:lnTo>
                    <a:lnTo>
                      <a:pt x="207" y="4"/>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87" name="Freeform 82"/>
              <p:cNvSpPr>
                <a:spLocks/>
              </p:cNvSpPr>
              <p:nvPr/>
            </p:nvSpPr>
            <p:spPr bwMode="auto">
              <a:xfrm>
                <a:off x="2822576" y="4083051"/>
                <a:ext cx="227013" cy="84138"/>
              </a:xfrm>
              <a:custGeom>
                <a:avLst/>
                <a:gdLst>
                  <a:gd name="T0" fmla="*/ 2147483646 w 285"/>
                  <a:gd name="T1" fmla="*/ 0 h 107"/>
                  <a:gd name="T2" fmla="*/ 2147483646 w 285"/>
                  <a:gd name="T3" fmla="*/ 2147483646 h 107"/>
                  <a:gd name="T4" fmla="*/ 2147483646 w 285"/>
                  <a:gd name="T5" fmla="*/ 2147483646 h 107"/>
                  <a:gd name="T6" fmla="*/ 2147483646 w 285"/>
                  <a:gd name="T7" fmla="*/ 2147483646 h 107"/>
                  <a:gd name="T8" fmla="*/ 2147483646 w 285"/>
                  <a:gd name="T9" fmla="*/ 2147483646 h 107"/>
                  <a:gd name="T10" fmla="*/ 2147483646 w 285"/>
                  <a:gd name="T11" fmla="*/ 2147483646 h 107"/>
                  <a:gd name="T12" fmla="*/ 2147483646 w 285"/>
                  <a:gd name="T13" fmla="*/ 2147483646 h 107"/>
                  <a:gd name="T14" fmla="*/ 2147483646 w 285"/>
                  <a:gd name="T15" fmla="*/ 2147483646 h 107"/>
                  <a:gd name="T16" fmla="*/ 2147483646 w 285"/>
                  <a:gd name="T17" fmla="*/ 2147483646 h 107"/>
                  <a:gd name="T18" fmla="*/ 2147483646 w 285"/>
                  <a:gd name="T19" fmla="*/ 2147483646 h 107"/>
                  <a:gd name="T20" fmla="*/ 2147483646 w 285"/>
                  <a:gd name="T21" fmla="*/ 2147483646 h 107"/>
                  <a:gd name="T22" fmla="*/ 2147483646 w 285"/>
                  <a:gd name="T23" fmla="*/ 2147483646 h 107"/>
                  <a:gd name="T24" fmla="*/ 2147483646 w 285"/>
                  <a:gd name="T25" fmla="*/ 2147483646 h 107"/>
                  <a:gd name="T26" fmla="*/ 2147483646 w 285"/>
                  <a:gd name="T27" fmla="*/ 2147483646 h 107"/>
                  <a:gd name="T28" fmla="*/ 2147483646 w 285"/>
                  <a:gd name="T29" fmla="*/ 2147483646 h 107"/>
                  <a:gd name="T30" fmla="*/ 2147483646 w 285"/>
                  <a:gd name="T31" fmla="*/ 2147483646 h 107"/>
                  <a:gd name="T32" fmla="*/ 2147483646 w 285"/>
                  <a:gd name="T33" fmla="*/ 2147483646 h 107"/>
                  <a:gd name="T34" fmla="*/ 2147483646 w 285"/>
                  <a:gd name="T35" fmla="*/ 2147483646 h 107"/>
                  <a:gd name="T36" fmla="*/ 2147483646 w 285"/>
                  <a:gd name="T37" fmla="*/ 2147483646 h 107"/>
                  <a:gd name="T38" fmla="*/ 2147483646 w 285"/>
                  <a:gd name="T39" fmla="*/ 2147483646 h 107"/>
                  <a:gd name="T40" fmla="*/ 2147483646 w 285"/>
                  <a:gd name="T41" fmla="*/ 2147483646 h 107"/>
                  <a:gd name="T42" fmla="*/ 2147483646 w 285"/>
                  <a:gd name="T43" fmla="*/ 2147483646 h 107"/>
                  <a:gd name="T44" fmla="*/ 2147483646 w 285"/>
                  <a:gd name="T45" fmla="*/ 2147483646 h 107"/>
                  <a:gd name="T46" fmla="*/ 2147483646 w 285"/>
                  <a:gd name="T47" fmla="*/ 2147483646 h 107"/>
                  <a:gd name="T48" fmla="*/ 2147483646 w 285"/>
                  <a:gd name="T49" fmla="*/ 2147483646 h 107"/>
                  <a:gd name="T50" fmla="*/ 2147483646 w 285"/>
                  <a:gd name="T51" fmla="*/ 2147483646 h 107"/>
                  <a:gd name="T52" fmla="*/ 2147483646 w 285"/>
                  <a:gd name="T53" fmla="*/ 2147483646 h 107"/>
                  <a:gd name="T54" fmla="*/ 2147483646 w 285"/>
                  <a:gd name="T55" fmla="*/ 2147483646 h 107"/>
                  <a:gd name="T56" fmla="*/ 2147483646 w 285"/>
                  <a:gd name="T57" fmla="*/ 2147483646 h 107"/>
                  <a:gd name="T58" fmla="*/ 2147483646 w 285"/>
                  <a:gd name="T59" fmla="*/ 2147483646 h 107"/>
                  <a:gd name="T60" fmla="*/ 2147483646 w 285"/>
                  <a:gd name="T61" fmla="*/ 2147483646 h 107"/>
                  <a:gd name="T62" fmla="*/ 2147483646 w 285"/>
                  <a:gd name="T63" fmla="*/ 2147483646 h 107"/>
                  <a:gd name="T64" fmla="*/ 2147483646 w 285"/>
                  <a:gd name="T65" fmla="*/ 2147483646 h 107"/>
                  <a:gd name="T66" fmla="*/ 2147483646 w 285"/>
                  <a:gd name="T67" fmla="*/ 2147483646 h 107"/>
                  <a:gd name="T68" fmla="*/ 2147483646 w 285"/>
                  <a:gd name="T69" fmla="*/ 2147483646 h 107"/>
                  <a:gd name="T70" fmla="*/ 2147483646 w 285"/>
                  <a:gd name="T71" fmla="*/ 2147483646 h 107"/>
                  <a:gd name="T72" fmla="*/ 2147483646 w 285"/>
                  <a:gd name="T73" fmla="*/ 2147483646 h 107"/>
                  <a:gd name="T74" fmla="*/ 2147483646 w 285"/>
                  <a:gd name="T75" fmla="*/ 2147483646 h 107"/>
                  <a:gd name="T76" fmla="*/ 2147483646 w 285"/>
                  <a:gd name="T77" fmla="*/ 2147483646 h 107"/>
                  <a:gd name="T78" fmla="*/ 2147483646 w 285"/>
                  <a:gd name="T79" fmla="*/ 2147483646 h 107"/>
                  <a:gd name="T80" fmla="*/ 2147483646 w 285"/>
                  <a:gd name="T81" fmla="*/ 2147483646 h 107"/>
                  <a:gd name="T82" fmla="*/ 2147483646 w 285"/>
                  <a:gd name="T83" fmla="*/ 2147483646 h 107"/>
                  <a:gd name="T84" fmla="*/ 2147483646 w 285"/>
                  <a:gd name="T85" fmla="*/ 2147483646 h 107"/>
                  <a:gd name="T86" fmla="*/ 2147483646 w 285"/>
                  <a:gd name="T87" fmla="*/ 2147483646 h 107"/>
                  <a:gd name="T88" fmla="*/ 2147483646 w 285"/>
                  <a:gd name="T89" fmla="*/ 2147483646 h 107"/>
                  <a:gd name="T90" fmla="*/ 2147483646 w 285"/>
                  <a:gd name="T91" fmla="*/ 2147483646 h 107"/>
                  <a:gd name="T92" fmla="*/ 2147483646 w 285"/>
                  <a:gd name="T93" fmla="*/ 2147483646 h 107"/>
                  <a:gd name="T94" fmla="*/ 2147483646 w 285"/>
                  <a:gd name="T95" fmla="*/ 2147483646 h 107"/>
                  <a:gd name="T96" fmla="*/ 2147483646 w 285"/>
                  <a:gd name="T97" fmla="*/ 2147483646 h 107"/>
                  <a:gd name="T98" fmla="*/ 2147483646 w 285"/>
                  <a:gd name="T99" fmla="*/ 2147483646 h 107"/>
                  <a:gd name="T100" fmla="*/ 2147483646 w 285"/>
                  <a:gd name="T101" fmla="*/ 2147483646 h 107"/>
                  <a:gd name="T102" fmla="*/ 2147483646 w 285"/>
                  <a:gd name="T103" fmla="*/ 2147483646 h 107"/>
                  <a:gd name="T104" fmla="*/ 2147483646 w 285"/>
                  <a:gd name="T105" fmla="*/ 2147483646 h 107"/>
                  <a:gd name="T106" fmla="*/ 2147483646 w 285"/>
                  <a:gd name="T107" fmla="*/ 2147483646 h 107"/>
                  <a:gd name="T108" fmla="*/ 2147483646 w 285"/>
                  <a:gd name="T109" fmla="*/ 2147483646 h 107"/>
                  <a:gd name="T110" fmla="*/ 2147483646 w 285"/>
                  <a:gd name="T111" fmla="*/ 2147483646 h 107"/>
                  <a:gd name="T112" fmla="*/ 2147483646 w 285"/>
                  <a:gd name="T113" fmla="*/ 2147483646 h 107"/>
                  <a:gd name="T114" fmla="*/ 2147483646 w 285"/>
                  <a:gd name="T115" fmla="*/ 2147483646 h 107"/>
                  <a:gd name="T116" fmla="*/ 2147483646 w 285"/>
                  <a:gd name="T117" fmla="*/ 2147483646 h 107"/>
                  <a:gd name="T118" fmla="*/ 2147483646 w 285"/>
                  <a:gd name="T119" fmla="*/ 2147483646 h 107"/>
                  <a:gd name="T120" fmla="*/ 2147483646 w 285"/>
                  <a:gd name="T121" fmla="*/ 2147483646 h 107"/>
                  <a:gd name="T122" fmla="*/ 2147483646 w 285"/>
                  <a:gd name="T123" fmla="*/ 2147483646 h 107"/>
                  <a:gd name="T124" fmla="*/ 2147483646 w 285"/>
                  <a:gd name="T125" fmla="*/ 0 h 10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5"/>
                  <a:gd name="T190" fmla="*/ 0 h 107"/>
                  <a:gd name="T191" fmla="*/ 285 w 285"/>
                  <a:gd name="T192" fmla="*/ 107 h 10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5" h="107">
                    <a:moveTo>
                      <a:pt x="278" y="0"/>
                    </a:moveTo>
                    <a:lnTo>
                      <a:pt x="278" y="0"/>
                    </a:lnTo>
                    <a:lnTo>
                      <a:pt x="278" y="2"/>
                    </a:lnTo>
                    <a:lnTo>
                      <a:pt x="278" y="4"/>
                    </a:lnTo>
                    <a:lnTo>
                      <a:pt x="278" y="8"/>
                    </a:lnTo>
                    <a:lnTo>
                      <a:pt x="274" y="13"/>
                    </a:lnTo>
                    <a:lnTo>
                      <a:pt x="274" y="17"/>
                    </a:lnTo>
                    <a:lnTo>
                      <a:pt x="270" y="25"/>
                    </a:lnTo>
                    <a:lnTo>
                      <a:pt x="268" y="30"/>
                    </a:lnTo>
                    <a:lnTo>
                      <a:pt x="263" y="36"/>
                    </a:lnTo>
                    <a:lnTo>
                      <a:pt x="257" y="42"/>
                    </a:lnTo>
                    <a:lnTo>
                      <a:pt x="255" y="46"/>
                    </a:lnTo>
                    <a:lnTo>
                      <a:pt x="251" y="48"/>
                    </a:lnTo>
                    <a:lnTo>
                      <a:pt x="247" y="51"/>
                    </a:lnTo>
                    <a:lnTo>
                      <a:pt x="242" y="55"/>
                    </a:lnTo>
                    <a:lnTo>
                      <a:pt x="238" y="57"/>
                    </a:lnTo>
                    <a:lnTo>
                      <a:pt x="232" y="59"/>
                    </a:lnTo>
                    <a:lnTo>
                      <a:pt x="226" y="63"/>
                    </a:lnTo>
                    <a:lnTo>
                      <a:pt x="221" y="65"/>
                    </a:lnTo>
                    <a:lnTo>
                      <a:pt x="215" y="67"/>
                    </a:lnTo>
                    <a:lnTo>
                      <a:pt x="207" y="68"/>
                    </a:lnTo>
                    <a:lnTo>
                      <a:pt x="200" y="70"/>
                    </a:lnTo>
                    <a:lnTo>
                      <a:pt x="194" y="72"/>
                    </a:lnTo>
                    <a:lnTo>
                      <a:pt x="188" y="72"/>
                    </a:lnTo>
                    <a:lnTo>
                      <a:pt x="185" y="72"/>
                    </a:lnTo>
                    <a:lnTo>
                      <a:pt x="181" y="72"/>
                    </a:lnTo>
                    <a:lnTo>
                      <a:pt x="177" y="74"/>
                    </a:lnTo>
                    <a:lnTo>
                      <a:pt x="173" y="74"/>
                    </a:lnTo>
                    <a:lnTo>
                      <a:pt x="169" y="74"/>
                    </a:lnTo>
                    <a:lnTo>
                      <a:pt x="164" y="74"/>
                    </a:lnTo>
                    <a:lnTo>
                      <a:pt x="162" y="76"/>
                    </a:lnTo>
                    <a:lnTo>
                      <a:pt x="156" y="76"/>
                    </a:lnTo>
                    <a:lnTo>
                      <a:pt x="152" y="76"/>
                    </a:lnTo>
                    <a:lnTo>
                      <a:pt x="149" y="76"/>
                    </a:lnTo>
                    <a:lnTo>
                      <a:pt x="147" y="76"/>
                    </a:lnTo>
                    <a:lnTo>
                      <a:pt x="139" y="76"/>
                    </a:lnTo>
                    <a:lnTo>
                      <a:pt x="131" y="76"/>
                    </a:lnTo>
                    <a:lnTo>
                      <a:pt x="124" y="76"/>
                    </a:lnTo>
                    <a:lnTo>
                      <a:pt x="118" y="76"/>
                    </a:lnTo>
                    <a:lnTo>
                      <a:pt x="111" y="76"/>
                    </a:lnTo>
                    <a:lnTo>
                      <a:pt x="103" y="76"/>
                    </a:lnTo>
                    <a:lnTo>
                      <a:pt x="97" y="76"/>
                    </a:lnTo>
                    <a:lnTo>
                      <a:pt x="92" y="76"/>
                    </a:lnTo>
                    <a:lnTo>
                      <a:pt x="84" y="76"/>
                    </a:lnTo>
                    <a:lnTo>
                      <a:pt x="78" y="76"/>
                    </a:lnTo>
                    <a:lnTo>
                      <a:pt x="73" y="76"/>
                    </a:lnTo>
                    <a:lnTo>
                      <a:pt x="67" y="76"/>
                    </a:lnTo>
                    <a:lnTo>
                      <a:pt x="61" y="74"/>
                    </a:lnTo>
                    <a:lnTo>
                      <a:pt x="55" y="74"/>
                    </a:lnTo>
                    <a:lnTo>
                      <a:pt x="50" y="74"/>
                    </a:lnTo>
                    <a:lnTo>
                      <a:pt x="44" y="74"/>
                    </a:lnTo>
                    <a:lnTo>
                      <a:pt x="38" y="74"/>
                    </a:lnTo>
                    <a:lnTo>
                      <a:pt x="35" y="76"/>
                    </a:lnTo>
                    <a:lnTo>
                      <a:pt x="29" y="76"/>
                    </a:lnTo>
                    <a:lnTo>
                      <a:pt x="25" y="76"/>
                    </a:lnTo>
                    <a:lnTo>
                      <a:pt x="21" y="76"/>
                    </a:lnTo>
                    <a:lnTo>
                      <a:pt x="17" y="78"/>
                    </a:lnTo>
                    <a:lnTo>
                      <a:pt x="12" y="78"/>
                    </a:lnTo>
                    <a:lnTo>
                      <a:pt x="8" y="80"/>
                    </a:lnTo>
                    <a:lnTo>
                      <a:pt x="4" y="82"/>
                    </a:lnTo>
                    <a:lnTo>
                      <a:pt x="0" y="84"/>
                    </a:lnTo>
                    <a:lnTo>
                      <a:pt x="2" y="84"/>
                    </a:lnTo>
                    <a:lnTo>
                      <a:pt x="4" y="84"/>
                    </a:lnTo>
                    <a:lnTo>
                      <a:pt x="10" y="84"/>
                    </a:lnTo>
                    <a:lnTo>
                      <a:pt x="14" y="84"/>
                    </a:lnTo>
                    <a:lnTo>
                      <a:pt x="19" y="84"/>
                    </a:lnTo>
                    <a:lnTo>
                      <a:pt x="23" y="84"/>
                    </a:lnTo>
                    <a:lnTo>
                      <a:pt x="27" y="84"/>
                    </a:lnTo>
                    <a:lnTo>
                      <a:pt x="31" y="86"/>
                    </a:lnTo>
                    <a:lnTo>
                      <a:pt x="35" y="86"/>
                    </a:lnTo>
                    <a:lnTo>
                      <a:pt x="38" y="86"/>
                    </a:lnTo>
                    <a:lnTo>
                      <a:pt x="42" y="86"/>
                    </a:lnTo>
                    <a:lnTo>
                      <a:pt x="46" y="88"/>
                    </a:lnTo>
                    <a:lnTo>
                      <a:pt x="52" y="88"/>
                    </a:lnTo>
                    <a:lnTo>
                      <a:pt x="55" y="88"/>
                    </a:lnTo>
                    <a:lnTo>
                      <a:pt x="61" y="89"/>
                    </a:lnTo>
                    <a:lnTo>
                      <a:pt x="67" y="89"/>
                    </a:lnTo>
                    <a:lnTo>
                      <a:pt x="73" y="91"/>
                    </a:lnTo>
                    <a:lnTo>
                      <a:pt x="78" y="91"/>
                    </a:lnTo>
                    <a:lnTo>
                      <a:pt x="84" y="93"/>
                    </a:lnTo>
                    <a:lnTo>
                      <a:pt x="90" y="93"/>
                    </a:lnTo>
                    <a:lnTo>
                      <a:pt x="95" y="95"/>
                    </a:lnTo>
                    <a:lnTo>
                      <a:pt x="103" y="95"/>
                    </a:lnTo>
                    <a:lnTo>
                      <a:pt x="109" y="97"/>
                    </a:lnTo>
                    <a:lnTo>
                      <a:pt x="114" y="97"/>
                    </a:lnTo>
                    <a:lnTo>
                      <a:pt x="122" y="99"/>
                    </a:lnTo>
                    <a:lnTo>
                      <a:pt x="130" y="101"/>
                    </a:lnTo>
                    <a:lnTo>
                      <a:pt x="135" y="101"/>
                    </a:lnTo>
                    <a:lnTo>
                      <a:pt x="143" y="103"/>
                    </a:lnTo>
                    <a:lnTo>
                      <a:pt x="149" y="105"/>
                    </a:lnTo>
                    <a:lnTo>
                      <a:pt x="154" y="105"/>
                    </a:lnTo>
                    <a:lnTo>
                      <a:pt x="160" y="105"/>
                    </a:lnTo>
                    <a:lnTo>
                      <a:pt x="166" y="105"/>
                    </a:lnTo>
                    <a:lnTo>
                      <a:pt x="171" y="107"/>
                    </a:lnTo>
                    <a:lnTo>
                      <a:pt x="177" y="105"/>
                    </a:lnTo>
                    <a:lnTo>
                      <a:pt x="181" y="105"/>
                    </a:lnTo>
                    <a:lnTo>
                      <a:pt x="187" y="105"/>
                    </a:lnTo>
                    <a:lnTo>
                      <a:pt x="192" y="105"/>
                    </a:lnTo>
                    <a:lnTo>
                      <a:pt x="196" y="105"/>
                    </a:lnTo>
                    <a:lnTo>
                      <a:pt x="202" y="105"/>
                    </a:lnTo>
                    <a:lnTo>
                      <a:pt x="206" y="103"/>
                    </a:lnTo>
                    <a:lnTo>
                      <a:pt x="211" y="103"/>
                    </a:lnTo>
                    <a:lnTo>
                      <a:pt x="213" y="101"/>
                    </a:lnTo>
                    <a:lnTo>
                      <a:pt x="217" y="99"/>
                    </a:lnTo>
                    <a:lnTo>
                      <a:pt x="223" y="99"/>
                    </a:lnTo>
                    <a:lnTo>
                      <a:pt x="226" y="97"/>
                    </a:lnTo>
                    <a:lnTo>
                      <a:pt x="232" y="93"/>
                    </a:lnTo>
                    <a:lnTo>
                      <a:pt x="240" y="91"/>
                    </a:lnTo>
                    <a:lnTo>
                      <a:pt x="247" y="86"/>
                    </a:lnTo>
                    <a:lnTo>
                      <a:pt x="255" y="82"/>
                    </a:lnTo>
                    <a:lnTo>
                      <a:pt x="261" y="76"/>
                    </a:lnTo>
                    <a:lnTo>
                      <a:pt x="268" y="72"/>
                    </a:lnTo>
                    <a:lnTo>
                      <a:pt x="272" y="67"/>
                    </a:lnTo>
                    <a:lnTo>
                      <a:pt x="278" y="59"/>
                    </a:lnTo>
                    <a:lnTo>
                      <a:pt x="280" y="53"/>
                    </a:lnTo>
                    <a:lnTo>
                      <a:pt x="282" y="48"/>
                    </a:lnTo>
                    <a:lnTo>
                      <a:pt x="283" y="42"/>
                    </a:lnTo>
                    <a:lnTo>
                      <a:pt x="285" y="36"/>
                    </a:lnTo>
                    <a:lnTo>
                      <a:pt x="285" y="29"/>
                    </a:lnTo>
                    <a:lnTo>
                      <a:pt x="285" y="25"/>
                    </a:lnTo>
                    <a:lnTo>
                      <a:pt x="283" y="17"/>
                    </a:lnTo>
                    <a:lnTo>
                      <a:pt x="283" y="13"/>
                    </a:lnTo>
                    <a:lnTo>
                      <a:pt x="282" y="10"/>
                    </a:lnTo>
                    <a:lnTo>
                      <a:pt x="282" y="6"/>
                    </a:lnTo>
                    <a:lnTo>
                      <a:pt x="280" y="0"/>
                    </a:lnTo>
                    <a:lnTo>
                      <a:pt x="278"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88" name="Freeform 83"/>
              <p:cNvSpPr>
                <a:spLocks/>
              </p:cNvSpPr>
              <p:nvPr/>
            </p:nvSpPr>
            <p:spPr bwMode="auto">
              <a:xfrm>
                <a:off x="2128838" y="3540126"/>
                <a:ext cx="141288" cy="114300"/>
              </a:xfrm>
              <a:custGeom>
                <a:avLst/>
                <a:gdLst>
                  <a:gd name="T0" fmla="*/ 2147483646 w 177"/>
                  <a:gd name="T1" fmla="*/ 2147483646 h 144"/>
                  <a:gd name="T2" fmla="*/ 2147483646 w 177"/>
                  <a:gd name="T3" fmla="*/ 2147483646 h 144"/>
                  <a:gd name="T4" fmla="*/ 2147483646 w 177"/>
                  <a:gd name="T5" fmla="*/ 2147483646 h 144"/>
                  <a:gd name="T6" fmla="*/ 2147483646 w 177"/>
                  <a:gd name="T7" fmla="*/ 2147483646 h 144"/>
                  <a:gd name="T8" fmla="*/ 2147483646 w 177"/>
                  <a:gd name="T9" fmla="*/ 2147483646 h 144"/>
                  <a:gd name="T10" fmla="*/ 2147483646 w 177"/>
                  <a:gd name="T11" fmla="*/ 2147483646 h 144"/>
                  <a:gd name="T12" fmla="*/ 2147483646 w 177"/>
                  <a:gd name="T13" fmla="*/ 2147483646 h 144"/>
                  <a:gd name="T14" fmla="*/ 2147483646 w 177"/>
                  <a:gd name="T15" fmla="*/ 2147483646 h 144"/>
                  <a:gd name="T16" fmla="*/ 2147483646 w 177"/>
                  <a:gd name="T17" fmla="*/ 2147483646 h 144"/>
                  <a:gd name="T18" fmla="*/ 2147483646 w 177"/>
                  <a:gd name="T19" fmla="*/ 2147483646 h 144"/>
                  <a:gd name="T20" fmla="*/ 2147483646 w 177"/>
                  <a:gd name="T21" fmla="*/ 2147483646 h 144"/>
                  <a:gd name="T22" fmla="*/ 2147483646 w 177"/>
                  <a:gd name="T23" fmla="*/ 2147483646 h 144"/>
                  <a:gd name="T24" fmla="*/ 2147483646 w 177"/>
                  <a:gd name="T25" fmla="*/ 2147483646 h 144"/>
                  <a:gd name="T26" fmla="*/ 2147483646 w 177"/>
                  <a:gd name="T27" fmla="*/ 2147483646 h 144"/>
                  <a:gd name="T28" fmla="*/ 2147483646 w 177"/>
                  <a:gd name="T29" fmla="*/ 2147483646 h 144"/>
                  <a:gd name="T30" fmla="*/ 2147483646 w 177"/>
                  <a:gd name="T31" fmla="*/ 2147483646 h 144"/>
                  <a:gd name="T32" fmla="*/ 2147483646 w 177"/>
                  <a:gd name="T33" fmla="*/ 2147483646 h 144"/>
                  <a:gd name="T34" fmla="*/ 2147483646 w 177"/>
                  <a:gd name="T35" fmla="*/ 2147483646 h 144"/>
                  <a:gd name="T36" fmla="*/ 2147483646 w 177"/>
                  <a:gd name="T37" fmla="*/ 2147483646 h 144"/>
                  <a:gd name="T38" fmla="*/ 2147483646 w 177"/>
                  <a:gd name="T39" fmla="*/ 2147483646 h 144"/>
                  <a:gd name="T40" fmla="*/ 2147483646 w 177"/>
                  <a:gd name="T41" fmla="*/ 2147483646 h 144"/>
                  <a:gd name="T42" fmla="*/ 2147483646 w 177"/>
                  <a:gd name="T43" fmla="*/ 2147483646 h 144"/>
                  <a:gd name="T44" fmla="*/ 0 w 177"/>
                  <a:gd name="T45" fmla="*/ 2147483646 h 144"/>
                  <a:gd name="T46" fmla="*/ 2147483646 w 177"/>
                  <a:gd name="T47" fmla="*/ 2147483646 h 144"/>
                  <a:gd name="T48" fmla="*/ 2147483646 w 177"/>
                  <a:gd name="T49" fmla="*/ 2147483646 h 144"/>
                  <a:gd name="T50" fmla="*/ 2147483646 w 177"/>
                  <a:gd name="T51" fmla="*/ 2147483646 h 144"/>
                  <a:gd name="T52" fmla="*/ 2147483646 w 177"/>
                  <a:gd name="T53" fmla="*/ 2147483646 h 144"/>
                  <a:gd name="T54" fmla="*/ 2147483646 w 177"/>
                  <a:gd name="T55" fmla="*/ 2147483646 h 144"/>
                  <a:gd name="T56" fmla="*/ 2147483646 w 177"/>
                  <a:gd name="T57" fmla="*/ 2147483646 h 144"/>
                  <a:gd name="T58" fmla="*/ 2147483646 w 177"/>
                  <a:gd name="T59" fmla="*/ 2147483646 h 144"/>
                  <a:gd name="T60" fmla="*/ 2147483646 w 177"/>
                  <a:gd name="T61" fmla="*/ 2147483646 h 144"/>
                  <a:gd name="T62" fmla="*/ 2147483646 w 177"/>
                  <a:gd name="T63" fmla="*/ 2147483646 h 144"/>
                  <a:gd name="T64" fmla="*/ 2147483646 w 177"/>
                  <a:gd name="T65" fmla="*/ 2147483646 h 144"/>
                  <a:gd name="T66" fmla="*/ 2147483646 w 177"/>
                  <a:gd name="T67" fmla="*/ 2147483646 h 144"/>
                  <a:gd name="T68" fmla="*/ 2147483646 w 177"/>
                  <a:gd name="T69" fmla="*/ 2147483646 h 144"/>
                  <a:gd name="T70" fmla="*/ 2147483646 w 177"/>
                  <a:gd name="T71" fmla="*/ 2147483646 h 144"/>
                  <a:gd name="T72" fmla="*/ 2147483646 w 177"/>
                  <a:gd name="T73" fmla="*/ 2147483646 h 144"/>
                  <a:gd name="T74" fmla="*/ 2147483646 w 177"/>
                  <a:gd name="T75" fmla="*/ 2147483646 h 144"/>
                  <a:gd name="T76" fmla="*/ 2147483646 w 177"/>
                  <a:gd name="T77" fmla="*/ 2147483646 h 144"/>
                  <a:gd name="T78" fmla="*/ 2147483646 w 177"/>
                  <a:gd name="T79" fmla="*/ 0 h 144"/>
                  <a:gd name="T80" fmla="*/ 2147483646 w 177"/>
                  <a:gd name="T81" fmla="*/ 0 h 144"/>
                  <a:gd name="T82" fmla="*/ 2147483646 w 177"/>
                  <a:gd name="T83" fmla="*/ 0 h 144"/>
                  <a:gd name="T84" fmla="*/ 2147483646 w 177"/>
                  <a:gd name="T85" fmla="*/ 0 h 144"/>
                  <a:gd name="T86" fmla="*/ 2147483646 w 177"/>
                  <a:gd name="T87" fmla="*/ 2147483646 h 144"/>
                  <a:gd name="T88" fmla="*/ 2147483646 w 177"/>
                  <a:gd name="T89" fmla="*/ 2147483646 h 144"/>
                  <a:gd name="T90" fmla="*/ 2147483646 w 177"/>
                  <a:gd name="T91" fmla="*/ 2147483646 h 144"/>
                  <a:gd name="T92" fmla="*/ 2147483646 w 177"/>
                  <a:gd name="T93" fmla="*/ 2147483646 h 1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7"/>
                  <a:gd name="T142" fmla="*/ 0 h 144"/>
                  <a:gd name="T143" fmla="*/ 177 w 177"/>
                  <a:gd name="T144" fmla="*/ 144 h 1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7" h="144">
                    <a:moveTo>
                      <a:pt x="177" y="9"/>
                    </a:moveTo>
                    <a:lnTo>
                      <a:pt x="175" y="9"/>
                    </a:lnTo>
                    <a:lnTo>
                      <a:pt x="171" y="9"/>
                    </a:lnTo>
                    <a:lnTo>
                      <a:pt x="169" y="7"/>
                    </a:lnTo>
                    <a:lnTo>
                      <a:pt x="166" y="7"/>
                    </a:lnTo>
                    <a:lnTo>
                      <a:pt x="162" y="7"/>
                    </a:lnTo>
                    <a:lnTo>
                      <a:pt x="158" y="9"/>
                    </a:lnTo>
                    <a:lnTo>
                      <a:pt x="154" y="9"/>
                    </a:lnTo>
                    <a:lnTo>
                      <a:pt x="149" y="9"/>
                    </a:lnTo>
                    <a:lnTo>
                      <a:pt x="143" y="9"/>
                    </a:lnTo>
                    <a:lnTo>
                      <a:pt x="139" y="11"/>
                    </a:lnTo>
                    <a:lnTo>
                      <a:pt x="133" y="11"/>
                    </a:lnTo>
                    <a:lnTo>
                      <a:pt x="126" y="15"/>
                    </a:lnTo>
                    <a:lnTo>
                      <a:pt x="120" y="17"/>
                    </a:lnTo>
                    <a:lnTo>
                      <a:pt x="114" y="19"/>
                    </a:lnTo>
                    <a:lnTo>
                      <a:pt x="107" y="23"/>
                    </a:lnTo>
                    <a:lnTo>
                      <a:pt x="101" y="26"/>
                    </a:lnTo>
                    <a:lnTo>
                      <a:pt x="93" y="30"/>
                    </a:lnTo>
                    <a:lnTo>
                      <a:pt x="88" y="34"/>
                    </a:lnTo>
                    <a:lnTo>
                      <a:pt x="80" y="38"/>
                    </a:lnTo>
                    <a:lnTo>
                      <a:pt x="73" y="43"/>
                    </a:lnTo>
                    <a:lnTo>
                      <a:pt x="65" y="51"/>
                    </a:lnTo>
                    <a:lnTo>
                      <a:pt x="59" y="59"/>
                    </a:lnTo>
                    <a:lnTo>
                      <a:pt x="55" y="62"/>
                    </a:lnTo>
                    <a:lnTo>
                      <a:pt x="52" y="64"/>
                    </a:lnTo>
                    <a:lnTo>
                      <a:pt x="48" y="68"/>
                    </a:lnTo>
                    <a:lnTo>
                      <a:pt x="44" y="74"/>
                    </a:lnTo>
                    <a:lnTo>
                      <a:pt x="40" y="78"/>
                    </a:lnTo>
                    <a:lnTo>
                      <a:pt x="38" y="83"/>
                    </a:lnTo>
                    <a:lnTo>
                      <a:pt x="35" y="87"/>
                    </a:lnTo>
                    <a:lnTo>
                      <a:pt x="31" y="93"/>
                    </a:lnTo>
                    <a:lnTo>
                      <a:pt x="27" y="99"/>
                    </a:lnTo>
                    <a:lnTo>
                      <a:pt x="25" y="104"/>
                    </a:lnTo>
                    <a:lnTo>
                      <a:pt x="21" y="110"/>
                    </a:lnTo>
                    <a:lnTo>
                      <a:pt x="17" y="116"/>
                    </a:lnTo>
                    <a:lnTo>
                      <a:pt x="14" y="123"/>
                    </a:lnTo>
                    <a:lnTo>
                      <a:pt x="12" y="129"/>
                    </a:lnTo>
                    <a:lnTo>
                      <a:pt x="8" y="137"/>
                    </a:lnTo>
                    <a:lnTo>
                      <a:pt x="6" y="144"/>
                    </a:lnTo>
                    <a:lnTo>
                      <a:pt x="4" y="140"/>
                    </a:lnTo>
                    <a:lnTo>
                      <a:pt x="4" y="137"/>
                    </a:lnTo>
                    <a:lnTo>
                      <a:pt x="2" y="133"/>
                    </a:lnTo>
                    <a:lnTo>
                      <a:pt x="2" y="129"/>
                    </a:lnTo>
                    <a:lnTo>
                      <a:pt x="2" y="125"/>
                    </a:lnTo>
                    <a:lnTo>
                      <a:pt x="0" y="119"/>
                    </a:lnTo>
                    <a:lnTo>
                      <a:pt x="0" y="116"/>
                    </a:lnTo>
                    <a:lnTo>
                      <a:pt x="2" y="112"/>
                    </a:lnTo>
                    <a:lnTo>
                      <a:pt x="2" y="108"/>
                    </a:lnTo>
                    <a:lnTo>
                      <a:pt x="2" y="102"/>
                    </a:lnTo>
                    <a:lnTo>
                      <a:pt x="2" y="99"/>
                    </a:lnTo>
                    <a:lnTo>
                      <a:pt x="4" y="95"/>
                    </a:lnTo>
                    <a:lnTo>
                      <a:pt x="4" y="89"/>
                    </a:lnTo>
                    <a:lnTo>
                      <a:pt x="6" y="85"/>
                    </a:lnTo>
                    <a:lnTo>
                      <a:pt x="8" y="81"/>
                    </a:lnTo>
                    <a:lnTo>
                      <a:pt x="12" y="78"/>
                    </a:lnTo>
                    <a:lnTo>
                      <a:pt x="14" y="72"/>
                    </a:lnTo>
                    <a:lnTo>
                      <a:pt x="16" y="68"/>
                    </a:lnTo>
                    <a:lnTo>
                      <a:pt x="17" y="62"/>
                    </a:lnTo>
                    <a:lnTo>
                      <a:pt x="21" y="59"/>
                    </a:lnTo>
                    <a:lnTo>
                      <a:pt x="23" y="55"/>
                    </a:lnTo>
                    <a:lnTo>
                      <a:pt x="27" y="51"/>
                    </a:lnTo>
                    <a:lnTo>
                      <a:pt x="31" y="47"/>
                    </a:lnTo>
                    <a:lnTo>
                      <a:pt x="35" y="42"/>
                    </a:lnTo>
                    <a:lnTo>
                      <a:pt x="38" y="38"/>
                    </a:lnTo>
                    <a:lnTo>
                      <a:pt x="42" y="34"/>
                    </a:lnTo>
                    <a:lnTo>
                      <a:pt x="48" y="30"/>
                    </a:lnTo>
                    <a:lnTo>
                      <a:pt x="54" y="26"/>
                    </a:lnTo>
                    <a:lnTo>
                      <a:pt x="59" y="24"/>
                    </a:lnTo>
                    <a:lnTo>
                      <a:pt x="65" y="21"/>
                    </a:lnTo>
                    <a:lnTo>
                      <a:pt x="71" y="17"/>
                    </a:lnTo>
                    <a:lnTo>
                      <a:pt x="76" y="15"/>
                    </a:lnTo>
                    <a:lnTo>
                      <a:pt x="82" y="11"/>
                    </a:lnTo>
                    <a:lnTo>
                      <a:pt x="90" y="9"/>
                    </a:lnTo>
                    <a:lnTo>
                      <a:pt x="95" y="7"/>
                    </a:lnTo>
                    <a:lnTo>
                      <a:pt x="99" y="7"/>
                    </a:lnTo>
                    <a:lnTo>
                      <a:pt x="105" y="5"/>
                    </a:lnTo>
                    <a:lnTo>
                      <a:pt x="111" y="3"/>
                    </a:lnTo>
                    <a:lnTo>
                      <a:pt x="114" y="2"/>
                    </a:lnTo>
                    <a:lnTo>
                      <a:pt x="120" y="2"/>
                    </a:lnTo>
                    <a:lnTo>
                      <a:pt x="124" y="0"/>
                    </a:lnTo>
                    <a:lnTo>
                      <a:pt x="128" y="0"/>
                    </a:lnTo>
                    <a:lnTo>
                      <a:pt x="133" y="0"/>
                    </a:lnTo>
                    <a:lnTo>
                      <a:pt x="137" y="0"/>
                    </a:lnTo>
                    <a:lnTo>
                      <a:pt x="141" y="0"/>
                    </a:lnTo>
                    <a:lnTo>
                      <a:pt x="145" y="0"/>
                    </a:lnTo>
                    <a:lnTo>
                      <a:pt x="149" y="0"/>
                    </a:lnTo>
                    <a:lnTo>
                      <a:pt x="152" y="2"/>
                    </a:lnTo>
                    <a:lnTo>
                      <a:pt x="158" y="2"/>
                    </a:lnTo>
                    <a:lnTo>
                      <a:pt x="162" y="2"/>
                    </a:lnTo>
                    <a:lnTo>
                      <a:pt x="166" y="3"/>
                    </a:lnTo>
                    <a:lnTo>
                      <a:pt x="171" y="5"/>
                    </a:lnTo>
                    <a:lnTo>
                      <a:pt x="175" y="7"/>
                    </a:lnTo>
                    <a:lnTo>
                      <a:pt x="177" y="9"/>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nvGrpSpPr>
              <p:cNvPr id="489" name="グループ化 141"/>
              <p:cNvGrpSpPr>
                <a:grpSpLocks/>
              </p:cNvGrpSpPr>
              <p:nvPr/>
            </p:nvGrpSpPr>
            <p:grpSpPr bwMode="auto">
              <a:xfrm>
                <a:off x="2214550" y="3143249"/>
                <a:ext cx="714381" cy="939795"/>
                <a:chOff x="5097465" y="2143116"/>
                <a:chExt cx="1406525" cy="1797050"/>
              </a:xfrm>
            </p:grpSpPr>
            <p:sp>
              <p:nvSpPr>
                <p:cNvPr id="490" name="Freeform 91"/>
                <p:cNvSpPr>
                  <a:spLocks/>
                </p:cNvSpPr>
                <p:nvPr/>
              </p:nvSpPr>
              <p:spPr bwMode="auto">
                <a:xfrm>
                  <a:off x="5243515" y="3565516"/>
                  <a:ext cx="488950" cy="374650"/>
                </a:xfrm>
                <a:custGeom>
                  <a:avLst/>
                  <a:gdLst>
                    <a:gd name="T0" fmla="*/ 2147483646 w 308"/>
                    <a:gd name="T1" fmla="*/ 0 h 236"/>
                    <a:gd name="T2" fmla="*/ 2147483646 w 308"/>
                    <a:gd name="T3" fmla="*/ 2147483646 h 236"/>
                    <a:gd name="T4" fmla="*/ 2147483646 w 308"/>
                    <a:gd name="T5" fmla="*/ 2147483646 h 236"/>
                    <a:gd name="T6" fmla="*/ 2147483646 w 308"/>
                    <a:gd name="T7" fmla="*/ 2147483646 h 236"/>
                    <a:gd name="T8" fmla="*/ 2147483646 w 308"/>
                    <a:gd name="T9" fmla="*/ 2147483646 h 236"/>
                    <a:gd name="T10" fmla="*/ 2147483646 w 308"/>
                    <a:gd name="T11" fmla="*/ 2147483646 h 236"/>
                    <a:gd name="T12" fmla="*/ 2147483646 w 308"/>
                    <a:gd name="T13" fmla="*/ 2147483646 h 236"/>
                    <a:gd name="T14" fmla="*/ 2147483646 w 308"/>
                    <a:gd name="T15" fmla="*/ 2147483646 h 236"/>
                    <a:gd name="T16" fmla="*/ 2147483646 w 308"/>
                    <a:gd name="T17" fmla="*/ 2147483646 h 236"/>
                    <a:gd name="T18" fmla="*/ 2147483646 w 308"/>
                    <a:gd name="T19" fmla="*/ 2147483646 h 236"/>
                    <a:gd name="T20" fmla="*/ 2147483646 w 308"/>
                    <a:gd name="T21" fmla="*/ 2147483646 h 236"/>
                    <a:gd name="T22" fmla="*/ 2147483646 w 308"/>
                    <a:gd name="T23" fmla="*/ 2147483646 h 236"/>
                    <a:gd name="T24" fmla="*/ 2147483646 w 308"/>
                    <a:gd name="T25" fmla="*/ 2147483646 h 236"/>
                    <a:gd name="T26" fmla="*/ 2147483646 w 308"/>
                    <a:gd name="T27" fmla="*/ 2147483646 h 236"/>
                    <a:gd name="T28" fmla="*/ 2147483646 w 308"/>
                    <a:gd name="T29" fmla="*/ 2147483646 h 236"/>
                    <a:gd name="T30" fmla="*/ 2147483646 w 308"/>
                    <a:gd name="T31" fmla="*/ 2147483646 h 236"/>
                    <a:gd name="T32" fmla="*/ 2147483646 w 308"/>
                    <a:gd name="T33" fmla="*/ 2147483646 h 236"/>
                    <a:gd name="T34" fmla="*/ 2147483646 w 308"/>
                    <a:gd name="T35" fmla="*/ 2147483646 h 236"/>
                    <a:gd name="T36" fmla="*/ 2147483646 w 308"/>
                    <a:gd name="T37" fmla="*/ 2147483646 h 236"/>
                    <a:gd name="T38" fmla="*/ 2147483646 w 308"/>
                    <a:gd name="T39" fmla="*/ 2147483646 h 236"/>
                    <a:gd name="T40" fmla="*/ 2147483646 w 308"/>
                    <a:gd name="T41" fmla="*/ 2147483646 h 236"/>
                    <a:gd name="T42" fmla="*/ 2147483646 w 308"/>
                    <a:gd name="T43" fmla="*/ 2147483646 h 236"/>
                    <a:gd name="T44" fmla="*/ 2147483646 w 308"/>
                    <a:gd name="T45" fmla="*/ 2147483646 h 236"/>
                    <a:gd name="T46" fmla="*/ 2147483646 w 308"/>
                    <a:gd name="T47" fmla="*/ 2147483646 h 236"/>
                    <a:gd name="T48" fmla="*/ 2147483646 w 308"/>
                    <a:gd name="T49" fmla="*/ 2147483646 h 236"/>
                    <a:gd name="T50" fmla="*/ 2147483646 w 308"/>
                    <a:gd name="T51" fmla="*/ 2147483646 h 236"/>
                    <a:gd name="T52" fmla="*/ 2147483646 w 308"/>
                    <a:gd name="T53" fmla="*/ 2147483646 h 236"/>
                    <a:gd name="T54" fmla="*/ 2147483646 w 308"/>
                    <a:gd name="T55" fmla="*/ 2147483646 h 236"/>
                    <a:gd name="T56" fmla="*/ 2147483646 w 308"/>
                    <a:gd name="T57" fmla="*/ 2147483646 h 236"/>
                    <a:gd name="T58" fmla="*/ 2147483646 w 308"/>
                    <a:gd name="T59" fmla="*/ 2147483646 h 236"/>
                    <a:gd name="T60" fmla="*/ 2147483646 w 308"/>
                    <a:gd name="T61" fmla="*/ 2147483646 h 236"/>
                    <a:gd name="T62" fmla="*/ 2147483646 w 308"/>
                    <a:gd name="T63" fmla="*/ 2147483646 h 236"/>
                    <a:gd name="T64" fmla="*/ 2147483646 w 308"/>
                    <a:gd name="T65" fmla="*/ 2147483646 h 236"/>
                    <a:gd name="T66" fmla="*/ 2147483646 w 308"/>
                    <a:gd name="T67" fmla="*/ 2147483646 h 236"/>
                    <a:gd name="T68" fmla="*/ 2147483646 w 308"/>
                    <a:gd name="T69" fmla="*/ 2147483646 h 236"/>
                    <a:gd name="T70" fmla="*/ 2147483646 w 308"/>
                    <a:gd name="T71" fmla="*/ 2147483646 h 236"/>
                    <a:gd name="T72" fmla="*/ 2147483646 w 308"/>
                    <a:gd name="T73" fmla="*/ 2147483646 h 236"/>
                    <a:gd name="T74" fmla="*/ 2147483646 w 308"/>
                    <a:gd name="T75" fmla="*/ 2147483646 h 236"/>
                    <a:gd name="T76" fmla="*/ 2147483646 w 308"/>
                    <a:gd name="T77" fmla="*/ 2147483646 h 236"/>
                    <a:gd name="T78" fmla="*/ 2147483646 w 308"/>
                    <a:gd name="T79" fmla="*/ 2147483646 h 236"/>
                    <a:gd name="T80" fmla="*/ 2147483646 w 308"/>
                    <a:gd name="T81" fmla="*/ 2147483646 h 236"/>
                    <a:gd name="T82" fmla="*/ 2147483646 w 308"/>
                    <a:gd name="T83" fmla="*/ 2147483646 h 236"/>
                    <a:gd name="T84" fmla="*/ 2147483646 w 308"/>
                    <a:gd name="T85" fmla="*/ 2147483646 h 236"/>
                    <a:gd name="T86" fmla="*/ 2147483646 w 308"/>
                    <a:gd name="T87" fmla="*/ 2147483646 h 236"/>
                    <a:gd name="T88" fmla="*/ 2147483646 w 308"/>
                    <a:gd name="T89" fmla="*/ 2147483646 h 236"/>
                    <a:gd name="T90" fmla="*/ 2147483646 w 308"/>
                    <a:gd name="T91" fmla="*/ 2147483646 h 236"/>
                    <a:gd name="T92" fmla="*/ 2147483646 w 308"/>
                    <a:gd name="T93" fmla="*/ 2147483646 h 236"/>
                    <a:gd name="T94" fmla="*/ 2147483646 w 308"/>
                    <a:gd name="T95" fmla="*/ 2147483646 h 236"/>
                    <a:gd name="T96" fmla="*/ 0 w 308"/>
                    <a:gd name="T97" fmla="*/ 2147483646 h 236"/>
                    <a:gd name="T98" fmla="*/ 2147483646 w 308"/>
                    <a:gd name="T99" fmla="*/ 2147483646 h 236"/>
                    <a:gd name="T100" fmla="*/ 2147483646 w 308"/>
                    <a:gd name="T101" fmla="*/ 2147483646 h 236"/>
                    <a:gd name="T102" fmla="*/ 2147483646 w 308"/>
                    <a:gd name="T103" fmla="*/ 2147483646 h 236"/>
                    <a:gd name="T104" fmla="*/ 2147483646 w 308"/>
                    <a:gd name="T105" fmla="*/ 2147483646 h 236"/>
                    <a:gd name="T106" fmla="*/ 2147483646 w 308"/>
                    <a:gd name="T107" fmla="*/ 2147483646 h 236"/>
                    <a:gd name="T108" fmla="*/ 2147483646 w 308"/>
                    <a:gd name="T109" fmla="*/ 2147483646 h 236"/>
                    <a:gd name="T110" fmla="*/ 2147483646 w 308"/>
                    <a:gd name="T111" fmla="*/ 0 h 2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08"/>
                    <a:gd name="T169" fmla="*/ 0 h 236"/>
                    <a:gd name="T170" fmla="*/ 308 w 308"/>
                    <a:gd name="T171" fmla="*/ 236 h 2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08" h="236">
                      <a:moveTo>
                        <a:pt x="8" y="0"/>
                      </a:moveTo>
                      <a:lnTo>
                        <a:pt x="8" y="0"/>
                      </a:lnTo>
                      <a:lnTo>
                        <a:pt x="78" y="4"/>
                      </a:lnTo>
                      <a:lnTo>
                        <a:pt x="154" y="8"/>
                      </a:lnTo>
                      <a:lnTo>
                        <a:pt x="226" y="12"/>
                      </a:lnTo>
                      <a:lnTo>
                        <a:pt x="294" y="12"/>
                      </a:lnTo>
                      <a:lnTo>
                        <a:pt x="304" y="30"/>
                      </a:lnTo>
                      <a:lnTo>
                        <a:pt x="308" y="44"/>
                      </a:lnTo>
                      <a:lnTo>
                        <a:pt x="308" y="48"/>
                      </a:lnTo>
                      <a:lnTo>
                        <a:pt x="308" y="50"/>
                      </a:lnTo>
                      <a:lnTo>
                        <a:pt x="302" y="52"/>
                      </a:lnTo>
                      <a:lnTo>
                        <a:pt x="292" y="52"/>
                      </a:lnTo>
                      <a:lnTo>
                        <a:pt x="284" y="56"/>
                      </a:lnTo>
                      <a:lnTo>
                        <a:pt x="280" y="58"/>
                      </a:lnTo>
                      <a:lnTo>
                        <a:pt x="280" y="62"/>
                      </a:lnTo>
                      <a:lnTo>
                        <a:pt x="280" y="66"/>
                      </a:lnTo>
                      <a:lnTo>
                        <a:pt x="284" y="70"/>
                      </a:lnTo>
                      <a:lnTo>
                        <a:pt x="294" y="80"/>
                      </a:lnTo>
                      <a:lnTo>
                        <a:pt x="302" y="90"/>
                      </a:lnTo>
                      <a:lnTo>
                        <a:pt x="302" y="92"/>
                      </a:lnTo>
                      <a:lnTo>
                        <a:pt x="300" y="94"/>
                      </a:lnTo>
                      <a:lnTo>
                        <a:pt x="286" y="100"/>
                      </a:lnTo>
                      <a:lnTo>
                        <a:pt x="270" y="110"/>
                      </a:lnTo>
                      <a:lnTo>
                        <a:pt x="264" y="116"/>
                      </a:lnTo>
                      <a:lnTo>
                        <a:pt x="262" y="122"/>
                      </a:lnTo>
                      <a:lnTo>
                        <a:pt x="262" y="128"/>
                      </a:lnTo>
                      <a:lnTo>
                        <a:pt x="266" y="134"/>
                      </a:lnTo>
                      <a:lnTo>
                        <a:pt x="298" y="158"/>
                      </a:lnTo>
                      <a:lnTo>
                        <a:pt x="308" y="168"/>
                      </a:lnTo>
                      <a:lnTo>
                        <a:pt x="308" y="172"/>
                      </a:lnTo>
                      <a:lnTo>
                        <a:pt x="306" y="174"/>
                      </a:lnTo>
                      <a:lnTo>
                        <a:pt x="296" y="180"/>
                      </a:lnTo>
                      <a:lnTo>
                        <a:pt x="284" y="184"/>
                      </a:lnTo>
                      <a:lnTo>
                        <a:pt x="264" y="188"/>
                      </a:lnTo>
                      <a:lnTo>
                        <a:pt x="266" y="192"/>
                      </a:lnTo>
                      <a:lnTo>
                        <a:pt x="270" y="196"/>
                      </a:lnTo>
                      <a:lnTo>
                        <a:pt x="286" y="212"/>
                      </a:lnTo>
                      <a:lnTo>
                        <a:pt x="302" y="226"/>
                      </a:lnTo>
                      <a:lnTo>
                        <a:pt x="306" y="232"/>
                      </a:lnTo>
                      <a:lnTo>
                        <a:pt x="306" y="234"/>
                      </a:lnTo>
                      <a:lnTo>
                        <a:pt x="304" y="234"/>
                      </a:lnTo>
                      <a:lnTo>
                        <a:pt x="292" y="236"/>
                      </a:lnTo>
                      <a:lnTo>
                        <a:pt x="272" y="234"/>
                      </a:lnTo>
                      <a:lnTo>
                        <a:pt x="246" y="232"/>
                      </a:lnTo>
                      <a:lnTo>
                        <a:pt x="220" y="232"/>
                      </a:lnTo>
                      <a:lnTo>
                        <a:pt x="168" y="234"/>
                      </a:lnTo>
                      <a:lnTo>
                        <a:pt x="142" y="234"/>
                      </a:lnTo>
                      <a:lnTo>
                        <a:pt x="118" y="234"/>
                      </a:lnTo>
                      <a:lnTo>
                        <a:pt x="86" y="230"/>
                      </a:lnTo>
                      <a:lnTo>
                        <a:pt x="66" y="226"/>
                      </a:lnTo>
                      <a:lnTo>
                        <a:pt x="54" y="222"/>
                      </a:lnTo>
                      <a:lnTo>
                        <a:pt x="48" y="216"/>
                      </a:lnTo>
                      <a:lnTo>
                        <a:pt x="48" y="210"/>
                      </a:lnTo>
                      <a:lnTo>
                        <a:pt x="50" y="206"/>
                      </a:lnTo>
                      <a:lnTo>
                        <a:pt x="58" y="198"/>
                      </a:lnTo>
                      <a:lnTo>
                        <a:pt x="58" y="196"/>
                      </a:lnTo>
                      <a:lnTo>
                        <a:pt x="56" y="194"/>
                      </a:lnTo>
                      <a:lnTo>
                        <a:pt x="52" y="192"/>
                      </a:lnTo>
                      <a:lnTo>
                        <a:pt x="34" y="186"/>
                      </a:lnTo>
                      <a:lnTo>
                        <a:pt x="24" y="182"/>
                      </a:lnTo>
                      <a:lnTo>
                        <a:pt x="18" y="178"/>
                      </a:lnTo>
                      <a:lnTo>
                        <a:pt x="14" y="172"/>
                      </a:lnTo>
                      <a:lnTo>
                        <a:pt x="14" y="170"/>
                      </a:lnTo>
                      <a:lnTo>
                        <a:pt x="16" y="168"/>
                      </a:lnTo>
                      <a:lnTo>
                        <a:pt x="22" y="162"/>
                      </a:lnTo>
                      <a:lnTo>
                        <a:pt x="32" y="160"/>
                      </a:lnTo>
                      <a:lnTo>
                        <a:pt x="52" y="154"/>
                      </a:lnTo>
                      <a:lnTo>
                        <a:pt x="76" y="152"/>
                      </a:lnTo>
                      <a:lnTo>
                        <a:pt x="38" y="142"/>
                      </a:lnTo>
                      <a:lnTo>
                        <a:pt x="16" y="132"/>
                      </a:lnTo>
                      <a:lnTo>
                        <a:pt x="12" y="128"/>
                      </a:lnTo>
                      <a:lnTo>
                        <a:pt x="12" y="126"/>
                      </a:lnTo>
                      <a:lnTo>
                        <a:pt x="14" y="126"/>
                      </a:lnTo>
                      <a:lnTo>
                        <a:pt x="44" y="116"/>
                      </a:lnTo>
                      <a:lnTo>
                        <a:pt x="54" y="110"/>
                      </a:lnTo>
                      <a:lnTo>
                        <a:pt x="54" y="108"/>
                      </a:lnTo>
                      <a:lnTo>
                        <a:pt x="52" y="104"/>
                      </a:lnTo>
                      <a:lnTo>
                        <a:pt x="40" y="98"/>
                      </a:lnTo>
                      <a:lnTo>
                        <a:pt x="20" y="88"/>
                      </a:lnTo>
                      <a:lnTo>
                        <a:pt x="10" y="84"/>
                      </a:lnTo>
                      <a:lnTo>
                        <a:pt x="4" y="78"/>
                      </a:lnTo>
                      <a:lnTo>
                        <a:pt x="0" y="72"/>
                      </a:lnTo>
                      <a:lnTo>
                        <a:pt x="0" y="68"/>
                      </a:lnTo>
                      <a:lnTo>
                        <a:pt x="2" y="66"/>
                      </a:lnTo>
                      <a:lnTo>
                        <a:pt x="6" y="60"/>
                      </a:lnTo>
                      <a:lnTo>
                        <a:pt x="10" y="58"/>
                      </a:lnTo>
                      <a:lnTo>
                        <a:pt x="22" y="52"/>
                      </a:lnTo>
                      <a:lnTo>
                        <a:pt x="32" y="52"/>
                      </a:lnTo>
                      <a:lnTo>
                        <a:pt x="44" y="50"/>
                      </a:lnTo>
                      <a:lnTo>
                        <a:pt x="46" y="50"/>
                      </a:lnTo>
                      <a:lnTo>
                        <a:pt x="46" y="48"/>
                      </a:lnTo>
                      <a:lnTo>
                        <a:pt x="44" y="42"/>
                      </a:lnTo>
                      <a:lnTo>
                        <a:pt x="32" y="24"/>
                      </a:lnTo>
                      <a:lnTo>
                        <a:pt x="8" y="0"/>
                      </a:lnTo>
                      <a:close/>
                    </a:path>
                  </a:pathLst>
                </a:custGeom>
                <a:solidFill>
                  <a:srgbClr val="FBB26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91" name="Freeform 92"/>
                <p:cNvSpPr>
                  <a:spLocks/>
                </p:cNvSpPr>
                <p:nvPr/>
              </p:nvSpPr>
              <p:spPr bwMode="auto">
                <a:xfrm>
                  <a:off x="5738815" y="3571866"/>
                  <a:ext cx="257175" cy="333375"/>
                </a:xfrm>
                <a:custGeom>
                  <a:avLst/>
                  <a:gdLst>
                    <a:gd name="T0" fmla="*/ 0 w 162"/>
                    <a:gd name="T1" fmla="*/ 2147483646 h 210"/>
                    <a:gd name="T2" fmla="*/ 2147483646 w 162"/>
                    <a:gd name="T3" fmla="*/ 2147483646 h 210"/>
                    <a:gd name="T4" fmla="*/ 2147483646 w 162"/>
                    <a:gd name="T5" fmla="*/ 0 h 210"/>
                    <a:gd name="T6" fmla="*/ 2147483646 w 162"/>
                    <a:gd name="T7" fmla="*/ 2147483646 h 210"/>
                    <a:gd name="T8" fmla="*/ 2147483646 w 162"/>
                    <a:gd name="T9" fmla="*/ 2147483646 h 210"/>
                    <a:gd name="T10" fmla="*/ 2147483646 w 162"/>
                    <a:gd name="T11" fmla="*/ 2147483646 h 210"/>
                    <a:gd name="T12" fmla="*/ 2147483646 w 162"/>
                    <a:gd name="T13" fmla="*/ 2147483646 h 210"/>
                    <a:gd name="T14" fmla="*/ 2147483646 w 162"/>
                    <a:gd name="T15" fmla="*/ 2147483646 h 210"/>
                    <a:gd name="T16" fmla="*/ 2147483646 w 162"/>
                    <a:gd name="T17" fmla="*/ 2147483646 h 210"/>
                    <a:gd name="T18" fmla="*/ 2147483646 w 162"/>
                    <a:gd name="T19" fmla="*/ 2147483646 h 210"/>
                    <a:gd name="T20" fmla="*/ 2147483646 w 162"/>
                    <a:gd name="T21" fmla="*/ 2147483646 h 210"/>
                    <a:gd name="T22" fmla="*/ 2147483646 w 162"/>
                    <a:gd name="T23" fmla="*/ 2147483646 h 210"/>
                    <a:gd name="T24" fmla="*/ 2147483646 w 162"/>
                    <a:gd name="T25" fmla="*/ 2147483646 h 210"/>
                    <a:gd name="T26" fmla="*/ 2147483646 w 162"/>
                    <a:gd name="T27" fmla="*/ 2147483646 h 210"/>
                    <a:gd name="T28" fmla="*/ 2147483646 w 162"/>
                    <a:gd name="T29" fmla="*/ 2147483646 h 210"/>
                    <a:gd name="T30" fmla="*/ 2147483646 w 162"/>
                    <a:gd name="T31" fmla="*/ 2147483646 h 210"/>
                    <a:gd name="T32" fmla="*/ 2147483646 w 162"/>
                    <a:gd name="T33" fmla="*/ 2147483646 h 210"/>
                    <a:gd name="T34" fmla="*/ 2147483646 w 162"/>
                    <a:gd name="T35" fmla="*/ 2147483646 h 210"/>
                    <a:gd name="T36" fmla="*/ 2147483646 w 162"/>
                    <a:gd name="T37" fmla="*/ 2147483646 h 210"/>
                    <a:gd name="T38" fmla="*/ 2147483646 w 162"/>
                    <a:gd name="T39" fmla="*/ 2147483646 h 210"/>
                    <a:gd name="T40" fmla="*/ 2147483646 w 162"/>
                    <a:gd name="T41" fmla="*/ 2147483646 h 210"/>
                    <a:gd name="T42" fmla="*/ 2147483646 w 162"/>
                    <a:gd name="T43" fmla="*/ 2147483646 h 210"/>
                    <a:gd name="T44" fmla="*/ 2147483646 w 162"/>
                    <a:gd name="T45" fmla="*/ 2147483646 h 210"/>
                    <a:gd name="T46" fmla="*/ 2147483646 w 162"/>
                    <a:gd name="T47" fmla="*/ 2147483646 h 210"/>
                    <a:gd name="T48" fmla="*/ 2147483646 w 162"/>
                    <a:gd name="T49" fmla="*/ 2147483646 h 210"/>
                    <a:gd name="T50" fmla="*/ 2147483646 w 162"/>
                    <a:gd name="T51" fmla="*/ 2147483646 h 210"/>
                    <a:gd name="T52" fmla="*/ 2147483646 w 162"/>
                    <a:gd name="T53" fmla="*/ 2147483646 h 210"/>
                    <a:gd name="T54" fmla="*/ 2147483646 w 162"/>
                    <a:gd name="T55" fmla="*/ 2147483646 h 210"/>
                    <a:gd name="T56" fmla="*/ 2147483646 w 162"/>
                    <a:gd name="T57" fmla="*/ 2147483646 h 210"/>
                    <a:gd name="T58" fmla="*/ 2147483646 w 162"/>
                    <a:gd name="T59" fmla="*/ 2147483646 h 210"/>
                    <a:gd name="T60" fmla="*/ 2147483646 w 162"/>
                    <a:gd name="T61" fmla="*/ 2147483646 h 210"/>
                    <a:gd name="T62" fmla="*/ 2147483646 w 162"/>
                    <a:gd name="T63" fmla="*/ 2147483646 h 210"/>
                    <a:gd name="T64" fmla="*/ 2147483646 w 162"/>
                    <a:gd name="T65" fmla="*/ 2147483646 h 210"/>
                    <a:gd name="T66" fmla="*/ 2147483646 w 162"/>
                    <a:gd name="T67" fmla="*/ 2147483646 h 210"/>
                    <a:gd name="T68" fmla="*/ 2147483646 w 162"/>
                    <a:gd name="T69" fmla="*/ 2147483646 h 210"/>
                    <a:gd name="T70" fmla="*/ 2147483646 w 162"/>
                    <a:gd name="T71" fmla="*/ 2147483646 h 210"/>
                    <a:gd name="T72" fmla="*/ 2147483646 w 162"/>
                    <a:gd name="T73" fmla="*/ 2147483646 h 210"/>
                    <a:gd name="T74" fmla="*/ 2147483646 w 162"/>
                    <a:gd name="T75" fmla="*/ 2147483646 h 210"/>
                    <a:gd name="T76" fmla="*/ 2147483646 w 162"/>
                    <a:gd name="T77" fmla="*/ 2147483646 h 210"/>
                    <a:gd name="T78" fmla="*/ 2147483646 w 162"/>
                    <a:gd name="T79" fmla="*/ 2147483646 h 210"/>
                    <a:gd name="T80" fmla="*/ 2147483646 w 162"/>
                    <a:gd name="T81" fmla="*/ 2147483646 h 210"/>
                    <a:gd name="T82" fmla="*/ 2147483646 w 162"/>
                    <a:gd name="T83" fmla="*/ 2147483646 h 210"/>
                    <a:gd name="T84" fmla="*/ 2147483646 w 162"/>
                    <a:gd name="T85" fmla="*/ 2147483646 h 210"/>
                    <a:gd name="T86" fmla="*/ 2147483646 w 162"/>
                    <a:gd name="T87" fmla="*/ 2147483646 h 210"/>
                    <a:gd name="T88" fmla="*/ 2147483646 w 162"/>
                    <a:gd name="T89" fmla="*/ 2147483646 h 210"/>
                    <a:gd name="T90" fmla="*/ 0 w 162"/>
                    <a:gd name="T91" fmla="*/ 2147483646 h 21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2"/>
                    <a:gd name="T139" fmla="*/ 0 h 210"/>
                    <a:gd name="T140" fmla="*/ 162 w 162"/>
                    <a:gd name="T141" fmla="*/ 210 h 21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2" h="210">
                      <a:moveTo>
                        <a:pt x="0" y="8"/>
                      </a:moveTo>
                      <a:lnTo>
                        <a:pt x="0" y="8"/>
                      </a:lnTo>
                      <a:lnTo>
                        <a:pt x="26" y="6"/>
                      </a:lnTo>
                      <a:lnTo>
                        <a:pt x="74" y="4"/>
                      </a:lnTo>
                      <a:lnTo>
                        <a:pt x="142" y="0"/>
                      </a:lnTo>
                      <a:lnTo>
                        <a:pt x="150" y="6"/>
                      </a:lnTo>
                      <a:lnTo>
                        <a:pt x="152" y="12"/>
                      </a:lnTo>
                      <a:lnTo>
                        <a:pt x="152" y="16"/>
                      </a:lnTo>
                      <a:lnTo>
                        <a:pt x="150" y="18"/>
                      </a:lnTo>
                      <a:lnTo>
                        <a:pt x="134" y="30"/>
                      </a:lnTo>
                      <a:lnTo>
                        <a:pt x="126" y="40"/>
                      </a:lnTo>
                      <a:lnTo>
                        <a:pt x="146" y="50"/>
                      </a:lnTo>
                      <a:lnTo>
                        <a:pt x="112" y="84"/>
                      </a:lnTo>
                      <a:lnTo>
                        <a:pt x="114" y="84"/>
                      </a:lnTo>
                      <a:lnTo>
                        <a:pt x="130" y="94"/>
                      </a:lnTo>
                      <a:lnTo>
                        <a:pt x="134" y="100"/>
                      </a:lnTo>
                      <a:lnTo>
                        <a:pt x="136" y="104"/>
                      </a:lnTo>
                      <a:lnTo>
                        <a:pt x="134" y="108"/>
                      </a:lnTo>
                      <a:lnTo>
                        <a:pt x="130" y="112"/>
                      </a:lnTo>
                      <a:lnTo>
                        <a:pt x="120" y="118"/>
                      </a:lnTo>
                      <a:lnTo>
                        <a:pt x="114" y="120"/>
                      </a:lnTo>
                      <a:lnTo>
                        <a:pt x="102" y="128"/>
                      </a:lnTo>
                      <a:lnTo>
                        <a:pt x="96" y="132"/>
                      </a:lnTo>
                      <a:lnTo>
                        <a:pt x="96" y="134"/>
                      </a:lnTo>
                      <a:lnTo>
                        <a:pt x="100" y="134"/>
                      </a:lnTo>
                      <a:lnTo>
                        <a:pt x="132" y="138"/>
                      </a:lnTo>
                      <a:lnTo>
                        <a:pt x="146" y="140"/>
                      </a:lnTo>
                      <a:lnTo>
                        <a:pt x="150" y="142"/>
                      </a:lnTo>
                      <a:lnTo>
                        <a:pt x="150" y="146"/>
                      </a:lnTo>
                      <a:lnTo>
                        <a:pt x="148" y="148"/>
                      </a:lnTo>
                      <a:lnTo>
                        <a:pt x="144" y="152"/>
                      </a:lnTo>
                      <a:lnTo>
                        <a:pt x="128" y="160"/>
                      </a:lnTo>
                      <a:lnTo>
                        <a:pt x="112" y="168"/>
                      </a:lnTo>
                      <a:lnTo>
                        <a:pt x="108" y="170"/>
                      </a:lnTo>
                      <a:lnTo>
                        <a:pt x="110" y="170"/>
                      </a:lnTo>
                      <a:lnTo>
                        <a:pt x="124" y="176"/>
                      </a:lnTo>
                      <a:lnTo>
                        <a:pt x="144" y="184"/>
                      </a:lnTo>
                      <a:lnTo>
                        <a:pt x="152" y="190"/>
                      </a:lnTo>
                      <a:lnTo>
                        <a:pt x="160" y="196"/>
                      </a:lnTo>
                      <a:lnTo>
                        <a:pt x="162" y="200"/>
                      </a:lnTo>
                      <a:lnTo>
                        <a:pt x="162" y="204"/>
                      </a:lnTo>
                      <a:lnTo>
                        <a:pt x="160" y="206"/>
                      </a:lnTo>
                      <a:lnTo>
                        <a:pt x="152" y="208"/>
                      </a:lnTo>
                      <a:lnTo>
                        <a:pt x="138" y="210"/>
                      </a:lnTo>
                      <a:lnTo>
                        <a:pt x="104" y="210"/>
                      </a:lnTo>
                      <a:lnTo>
                        <a:pt x="60" y="206"/>
                      </a:lnTo>
                      <a:lnTo>
                        <a:pt x="58" y="204"/>
                      </a:lnTo>
                      <a:lnTo>
                        <a:pt x="52" y="198"/>
                      </a:lnTo>
                      <a:lnTo>
                        <a:pt x="50" y="192"/>
                      </a:lnTo>
                      <a:lnTo>
                        <a:pt x="50" y="188"/>
                      </a:lnTo>
                      <a:lnTo>
                        <a:pt x="52" y="182"/>
                      </a:lnTo>
                      <a:lnTo>
                        <a:pt x="56" y="176"/>
                      </a:lnTo>
                      <a:lnTo>
                        <a:pt x="60" y="170"/>
                      </a:lnTo>
                      <a:lnTo>
                        <a:pt x="60" y="164"/>
                      </a:lnTo>
                      <a:lnTo>
                        <a:pt x="60" y="160"/>
                      </a:lnTo>
                      <a:lnTo>
                        <a:pt x="56" y="154"/>
                      </a:lnTo>
                      <a:lnTo>
                        <a:pt x="48" y="146"/>
                      </a:lnTo>
                      <a:lnTo>
                        <a:pt x="46" y="142"/>
                      </a:lnTo>
                      <a:lnTo>
                        <a:pt x="46" y="140"/>
                      </a:lnTo>
                      <a:lnTo>
                        <a:pt x="46" y="136"/>
                      </a:lnTo>
                      <a:lnTo>
                        <a:pt x="44" y="134"/>
                      </a:lnTo>
                      <a:lnTo>
                        <a:pt x="38" y="126"/>
                      </a:lnTo>
                      <a:lnTo>
                        <a:pt x="28" y="118"/>
                      </a:lnTo>
                      <a:lnTo>
                        <a:pt x="20" y="110"/>
                      </a:lnTo>
                      <a:lnTo>
                        <a:pt x="16" y="104"/>
                      </a:lnTo>
                      <a:lnTo>
                        <a:pt x="16" y="102"/>
                      </a:lnTo>
                      <a:lnTo>
                        <a:pt x="20" y="100"/>
                      </a:lnTo>
                      <a:lnTo>
                        <a:pt x="40" y="90"/>
                      </a:lnTo>
                      <a:lnTo>
                        <a:pt x="48" y="84"/>
                      </a:lnTo>
                      <a:lnTo>
                        <a:pt x="50" y="80"/>
                      </a:lnTo>
                      <a:lnTo>
                        <a:pt x="50" y="78"/>
                      </a:lnTo>
                      <a:lnTo>
                        <a:pt x="46" y="70"/>
                      </a:lnTo>
                      <a:lnTo>
                        <a:pt x="36" y="58"/>
                      </a:lnTo>
                      <a:lnTo>
                        <a:pt x="20" y="44"/>
                      </a:lnTo>
                      <a:lnTo>
                        <a:pt x="42" y="30"/>
                      </a:lnTo>
                      <a:lnTo>
                        <a:pt x="0" y="8"/>
                      </a:lnTo>
                      <a:close/>
                    </a:path>
                  </a:pathLst>
                </a:custGeom>
                <a:solidFill>
                  <a:srgbClr val="D0A58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92" name="Freeform 93"/>
                <p:cNvSpPr>
                  <a:spLocks/>
                </p:cNvSpPr>
                <p:nvPr/>
              </p:nvSpPr>
              <p:spPr bwMode="auto">
                <a:xfrm>
                  <a:off x="5884865" y="3375016"/>
                  <a:ext cx="536575" cy="330200"/>
                </a:xfrm>
                <a:custGeom>
                  <a:avLst/>
                  <a:gdLst>
                    <a:gd name="T0" fmla="*/ 2147483646 w 338"/>
                    <a:gd name="T1" fmla="*/ 2147483646 h 208"/>
                    <a:gd name="T2" fmla="*/ 0 w 338"/>
                    <a:gd name="T3" fmla="*/ 2147483646 h 208"/>
                    <a:gd name="T4" fmla="*/ 2147483646 w 338"/>
                    <a:gd name="T5" fmla="*/ 2147483646 h 208"/>
                    <a:gd name="T6" fmla="*/ 2147483646 w 338"/>
                    <a:gd name="T7" fmla="*/ 2147483646 h 208"/>
                    <a:gd name="T8" fmla="*/ 2147483646 w 338"/>
                    <a:gd name="T9" fmla="*/ 2147483646 h 208"/>
                    <a:gd name="T10" fmla="*/ 2147483646 w 338"/>
                    <a:gd name="T11" fmla="*/ 2147483646 h 208"/>
                    <a:gd name="T12" fmla="*/ 2147483646 w 338"/>
                    <a:gd name="T13" fmla="*/ 2147483646 h 208"/>
                    <a:gd name="T14" fmla="*/ 2147483646 w 338"/>
                    <a:gd name="T15" fmla="*/ 2147483646 h 208"/>
                    <a:gd name="T16" fmla="*/ 2147483646 w 338"/>
                    <a:gd name="T17" fmla="*/ 2147483646 h 208"/>
                    <a:gd name="T18" fmla="*/ 2147483646 w 338"/>
                    <a:gd name="T19" fmla="*/ 2147483646 h 208"/>
                    <a:gd name="T20" fmla="*/ 2147483646 w 338"/>
                    <a:gd name="T21" fmla="*/ 2147483646 h 208"/>
                    <a:gd name="T22" fmla="*/ 2147483646 w 338"/>
                    <a:gd name="T23" fmla="*/ 2147483646 h 208"/>
                    <a:gd name="T24" fmla="*/ 2147483646 w 338"/>
                    <a:gd name="T25" fmla="*/ 2147483646 h 208"/>
                    <a:gd name="T26" fmla="*/ 2147483646 w 338"/>
                    <a:gd name="T27" fmla="*/ 2147483646 h 208"/>
                    <a:gd name="T28" fmla="*/ 2147483646 w 338"/>
                    <a:gd name="T29" fmla="*/ 2147483646 h 208"/>
                    <a:gd name="T30" fmla="*/ 2147483646 w 338"/>
                    <a:gd name="T31" fmla="*/ 2147483646 h 208"/>
                    <a:gd name="T32" fmla="*/ 2147483646 w 338"/>
                    <a:gd name="T33" fmla="*/ 2147483646 h 208"/>
                    <a:gd name="T34" fmla="*/ 2147483646 w 338"/>
                    <a:gd name="T35" fmla="*/ 2147483646 h 208"/>
                    <a:gd name="T36" fmla="*/ 2147483646 w 338"/>
                    <a:gd name="T37" fmla="*/ 2147483646 h 208"/>
                    <a:gd name="T38" fmla="*/ 2147483646 w 338"/>
                    <a:gd name="T39" fmla="*/ 2147483646 h 208"/>
                    <a:gd name="T40" fmla="*/ 2147483646 w 338"/>
                    <a:gd name="T41" fmla="*/ 2147483646 h 208"/>
                    <a:gd name="T42" fmla="*/ 2147483646 w 338"/>
                    <a:gd name="T43" fmla="*/ 2147483646 h 208"/>
                    <a:gd name="T44" fmla="*/ 2147483646 w 338"/>
                    <a:gd name="T45" fmla="*/ 2147483646 h 208"/>
                    <a:gd name="T46" fmla="*/ 2147483646 w 338"/>
                    <a:gd name="T47" fmla="*/ 2147483646 h 208"/>
                    <a:gd name="T48" fmla="*/ 2147483646 w 338"/>
                    <a:gd name="T49" fmla="*/ 2147483646 h 208"/>
                    <a:gd name="T50" fmla="*/ 2147483646 w 338"/>
                    <a:gd name="T51" fmla="*/ 2147483646 h 208"/>
                    <a:gd name="T52" fmla="*/ 2147483646 w 338"/>
                    <a:gd name="T53" fmla="*/ 2147483646 h 208"/>
                    <a:gd name="T54" fmla="*/ 2147483646 w 338"/>
                    <a:gd name="T55" fmla="*/ 2147483646 h 208"/>
                    <a:gd name="T56" fmla="*/ 2147483646 w 338"/>
                    <a:gd name="T57" fmla="*/ 2147483646 h 208"/>
                    <a:gd name="T58" fmla="*/ 2147483646 w 338"/>
                    <a:gd name="T59" fmla="*/ 2147483646 h 208"/>
                    <a:gd name="T60" fmla="*/ 2147483646 w 338"/>
                    <a:gd name="T61" fmla="*/ 2147483646 h 208"/>
                    <a:gd name="T62" fmla="*/ 2147483646 w 338"/>
                    <a:gd name="T63" fmla="*/ 2147483646 h 208"/>
                    <a:gd name="T64" fmla="*/ 2147483646 w 338"/>
                    <a:gd name="T65" fmla="*/ 2147483646 h 208"/>
                    <a:gd name="T66" fmla="*/ 2147483646 w 338"/>
                    <a:gd name="T67" fmla="*/ 2147483646 h 208"/>
                    <a:gd name="T68" fmla="*/ 2147483646 w 338"/>
                    <a:gd name="T69" fmla="*/ 2147483646 h 208"/>
                    <a:gd name="T70" fmla="*/ 2147483646 w 338"/>
                    <a:gd name="T71" fmla="*/ 2147483646 h 208"/>
                    <a:gd name="T72" fmla="*/ 2147483646 w 338"/>
                    <a:gd name="T73" fmla="*/ 2147483646 h 208"/>
                    <a:gd name="T74" fmla="*/ 2147483646 w 338"/>
                    <a:gd name="T75" fmla="*/ 2147483646 h 208"/>
                    <a:gd name="T76" fmla="*/ 2147483646 w 338"/>
                    <a:gd name="T77" fmla="*/ 2147483646 h 208"/>
                    <a:gd name="T78" fmla="*/ 2147483646 w 338"/>
                    <a:gd name="T79" fmla="*/ 2147483646 h 208"/>
                    <a:gd name="T80" fmla="*/ 2147483646 w 338"/>
                    <a:gd name="T81" fmla="*/ 2147483646 h 208"/>
                    <a:gd name="T82" fmla="*/ 2147483646 w 338"/>
                    <a:gd name="T83" fmla="*/ 2147483646 h 208"/>
                    <a:gd name="T84" fmla="*/ 2147483646 w 338"/>
                    <a:gd name="T85" fmla="*/ 2147483646 h 208"/>
                    <a:gd name="T86" fmla="*/ 2147483646 w 338"/>
                    <a:gd name="T87" fmla="*/ 2147483646 h 208"/>
                    <a:gd name="T88" fmla="*/ 2147483646 w 338"/>
                    <a:gd name="T89" fmla="*/ 2147483646 h 208"/>
                    <a:gd name="T90" fmla="*/ 2147483646 w 338"/>
                    <a:gd name="T91" fmla="*/ 2147483646 h 208"/>
                    <a:gd name="T92" fmla="*/ 2147483646 w 338"/>
                    <a:gd name="T93" fmla="*/ 0 h 2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38"/>
                    <a:gd name="T142" fmla="*/ 0 h 208"/>
                    <a:gd name="T143" fmla="*/ 338 w 338"/>
                    <a:gd name="T144" fmla="*/ 208 h 2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38" h="208">
                      <a:moveTo>
                        <a:pt x="300" y="2"/>
                      </a:moveTo>
                      <a:lnTo>
                        <a:pt x="112" y="10"/>
                      </a:lnTo>
                      <a:lnTo>
                        <a:pt x="0" y="10"/>
                      </a:lnTo>
                      <a:lnTo>
                        <a:pt x="20" y="24"/>
                      </a:lnTo>
                      <a:lnTo>
                        <a:pt x="36" y="34"/>
                      </a:lnTo>
                      <a:lnTo>
                        <a:pt x="48" y="42"/>
                      </a:lnTo>
                      <a:lnTo>
                        <a:pt x="58" y="46"/>
                      </a:lnTo>
                      <a:lnTo>
                        <a:pt x="68" y="52"/>
                      </a:lnTo>
                      <a:lnTo>
                        <a:pt x="74" y="60"/>
                      </a:lnTo>
                      <a:lnTo>
                        <a:pt x="74" y="62"/>
                      </a:lnTo>
                      <a:lnTo>
                        <a:pt x="72" y="66"/>
                      </a:lnTo>
                      <a:lnTo>
                        <a:pt x="66" y="68"/>
                      </a:lnTo>
                      <a:lnTo>
                        <a:pt x="58" y="70"/>
                      </a:lnTo>
                      <a:lnTo>
                        <a:pt x="44" y="72"/>
                      </a:lnTo>
                      <a:lnTo>
                        <a:pt x="38" y="72"/>
                      </a:lnTo>
                      <a:lnTo>
                        <a:pt x="38" y="74"/>
                      </a:lnTo>
                      <a:lnTo>
                        <a:pt x="38" y="76"/>
                      </a:lnTo>
                      <a:lnTo>
                        <a:pt x="42" y="78"/>
                      </a:lnTo>
                      <a:lnTo>
                        <a:pt x="52" y="84"/>
                      </a:lnTo>
                      <a:lnTo>
                        <a:pt x="82" y="96"/>
                      </a:lnTo>
                      <a:lnTo>
                        <a:pt x="108" y="104"/>
                      </a:lnTo>
                      <a:lnTo>
                        <a:pt x="132" y="108"/>
                      </a:lnTo>
                      <a:lnTo>
                        <a:pt x="156" y="108"/>
                      </a:lnTo>
                      <a:lnTo>
                        <a:pt x="164" y="106"/>
                      </a:lnTo>
                      <a:lnTo>
                        <a:pt x="164" y="108"/>
                      </a:lnTo>
                      <a:lnTo>
                        <a:pt x="148" y="114"/>
                      </a:lnTo>
                      <a:lnTo>
                        <a:pt x="102" y="126"/>
                      </a:lnTo>
                      <a:lnTo>
                        <a:pt x="94" y="128"/>
                      </a:lnTo>
                      <a:lnTo>
                        <a:pt x="90" y="132"/>
                      </a:lnTo>
                      <a:lnTo>
                        <a:pt x="86" y="134"/>
                      </a:lnTo>
                      <a:lnTo>
                        <a:pt x="86" y="138"/>
                      </a:lnTo>
                      <a:lnTo>
                        <a:pt x="88" y="144"/>
                      </a:lnTo>
                      <a:lnTo>
                        <a:pt x="96" y="148"/>
                      </a:lnTo>
                      <a:lnTo>
                        <a:pt x="108" y="154"/>
                      </a:lnTo>
                      <a:lnTo>
                        <a:pt x="138" y="164"/>
                      </a:lnTo>
                      <a:lnTo>
                        <a:pt x="158" y="170"/>
                      </a:lnTo>
                      <a:lnTo>
                        <a:pt x="168" y="172"/>
                      </a:lnTo>
                      <a:lnTo>
                        <a:pt x="168" y="174"/>
                      </a:lnTo>
                      <a:lnTo>
                        <a:pt x="164" y="178"/>
                      </a:lnTo>
                      <a:lnTo>
                        <a:pt x="144" y="182"/>
                      </a:lnTo>
                      <a:lnTo>
                        <a:pt x="118" y="190"/>
                      </a:lnTo>
                      <a:lnTo>
                        <a:pt x="106" y="192"/>
                      </a:lnTo>
                      <a:lnTo>
                        <a:pt x="100" y="196"/>
                      </a:lnTo>
                      <a:lnTo>
                        <a:pt x="98" y="198"/>
                      </a:lnTo>
                      <a:lnTo>
                        <a:pt x="106" y="202"/>
                      </a:lnTo>
                      <a:lnTo>
                        <a:pt x="120" y="204"/>
                      </a:lnTo>
                      <a:lnTo>
                        <a:pt x="134" y="206"/>
                      </a:lnTo>
                      <a:lnTo>
                        <a:pt x="166" y="208"/>
                      </a:lnTo>
                      <a:lnTo>
                        <a:pt x="192" y="208"/>
                      </a:lnTo>
                      <a:lnTo>
                        <a:pt x="208" y="208"/>
                      </a:lnTo>
                      <a:lnTo>
                        <a:pt x="230" y="206"/>
                      </a:lnTo>
                      <a:lnTo>
                        <a:pt x="242" y="204"/>
                      </a:lnTo>
                      <a:lnTo>
                        <a:pt x="246" y="202"/>
                      </a:lnTo>
                      <a:lnTo>
                        <a:pt x="248" y="198"/>
                      </a:lnTo>
                      <a:lnTo>
                        <a:pt x="246" y="192"/>
                      </a:lnTo>
                      <a:lnTo>
                        <a:pt x="242" y="184"/>
                      </a:lnTo>
                      <a:lnTo>
                        <a:pt x="232" y="170"/>
                      </a:lnTo>
                      <a:lnTo>
                        <a:pt x="230" y="162"/>
                      </a:lnTo>
                      <a:lnTo>
                        <a:pt x="228" y="154"/>
                      </a:lnTo>
                      <a:lnTo>
                        <a:pt x="228" y="150"/>
                      </a:lnTo>
                      <a:lnTo>
                        <a:pt x="230" y="146"/>
                      </a:lnTo>
                      <a:lnTo>
                        <a:pt x="234" y="142"/>
                      </a:lnTo>
                      <a:lnTo>
                        <a:pt x="238" y="140"/>
                      </a:lnTo>
                      <a:lnTo>
                        <a:pt x="280" y="122"/>
                      </a:lnTo>
                      <a:lnTo>
                        <a:pt x="306" y="110"/>
                      </a:lnTo>
                      <a:lnTo>
                        <a:pt x="308" y="108"/>
                      </a:lnTo>
                      <a:lnTo>
                        <a:pt x="308" y="106"/>
                      </a:lnTo>
                      <a:lnTo>
                        <a:pt x="306" y="102"/>
                      </a:lnTo>
                      <a:lnTo>
                        <a:pt x="290" y="90"/>
                      </a:lnTo>
                      <a:lnTo>
                        <a:pt x="270" y="78"/>
                      </a:lnTo>
                      <a:lnTo>
                        <a:pt x="260" y="72"/>
                      </a:lnTo>
                      <a:lnTo>
                        <a:pt x="262" y="70"/>
                      </a:lnTo>
                      <a:lnTo>
                        <a:pt x="264" y="66"/>
                      </a:lnTo>
                      <a:lnTo>
                        <a:pt x="278" y="60"/>
                      </a:lnTo>
                      <a:lnTo>
                        <a:pt x="300" y="52"/>
                      </a:lnTo>
                      <a:lnTo>
                        <a:pt x="324" y="32"/>
                      </a:lnTo>
                      <a:lnTo>
                        <a:pt x="338" y="0"/>
                      </a:lnTo>
                      <a:lnTo>
                        <a:pt x="300" y="2"/>
                      </a:lnTo>
                      <a:close/>
                    </a:path>
                  </a:pathLst>
                </a:custGeom>
                <a:solidFill>
                  <a:srgbClr val="FDD1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93" name="Freeform 94"/>
                <p:cNvSpPr>
                  <a:spLocks/>
                </p:cNvSpPr>
                <p:nvPr/>
              </p:nvSpPr>
              <p:spPr bwMode="auto">
                <a:xfrm>
                  <a:off x="5097465" y="2143116"/>
                  <a:ext cx="1406525" cy="1447800"/>
                </a:xfrm>
                <a:custGeom>
                  <a:avLst/>
                  <a:gdLst>
                    <a:gd name="T0" fmla="*/ 2147483646 w 886"/>
                    <a:gd name="T1" fmla="*/ 2147483646 h 912"/>
                    <a:gd name="T2" fmla="*/ 2147483646 w 886"/>
                    <a:gd name="T3" fmla="*/ 2147483646 h 912"/>
                    <a:gd name="T4" fmla="*/ 2147483646 w 886"/>
                    <a:gd name="T5" fmla="*/ 2147483646 h 912"/>
                    <a:gd name="T6" fmla="*/ 2147483646 w 886"/>
                    <a:gd name="T7" fmla="*/ 2147483646 h 912"/>
                    <a:gd name="T8" fmla="*/ 2147483646 w 886"/>
                    <a:gd name="T9" fmla="*/ 2147483646 h 912"/>
                    <a:gd name="T10" fmla="*/ 2147483646 w 886"/>
                    <a:gd name="T11" fmla="*/ 2147483646 h 912"/>
                    <a:gd name="T12" fmla="*/ 2147483646 w 886"/>
                    <a:gd name="T13" fmla="*/ 2147483646 h 912"/>
                    <a:gd name="T14" fmla="*/ 2147483646 w 886"/>
                    <a:gd name="T15" fmla="*/ 2147483646 h 912"/>
                    <a:gd name="T16" fmla="*/ 2147483646 w 886"/>
                    <a:gd name="T17" fmla="*/ 2147483646 h 912"/>
                    <a:gd name="T18" fmla="*/ 2147483646 w 886"/>
                    <a:gd name="T19" fmla="*/ 2147483646 h 912"/>
                    <a:gd name="T20" fmla="*/ 2147483646 w 886"/>
                    <a:gd name="T21" fmla="*/ 2147483646 h 912"/>
                    <a:gd name="T22" fmla="*/ 2147483646 w 886"/>
                    <a:gd name="T23" fmla="*/ 2147483646 h 912"/>
                    <a:gd name="T24" fmla="*/ 2147483646 w 886"/>
                    <a:gd name="T25" fmla="*/ 2147483646 h 912"/>
                    <a:gd name="T26" fmla="*/ 2147483646 w 886"/>
                    <a:gd name="T27" fmla="*/ 2147483646 h 912"/>
                    <a:gd name="T28" fmla="*/ 2147483646 w 886"/>
                    <a:gd name="T29" fmla="*/ 2147483646 h 912"/>
                    <a:gd name="T30" fmla="*/ 2147483646 w 886"/>
                    <a:gd name="T31" fmla="*/ 2147483646 h 912"/>
                    <a:gd name="T32" fmla="*/ 2147483646 w 886"/>
                    <a:gd name="T33" fmla="*/ 2147483646 h 912"/>
                    <a:gd name="T34" fmla="*/ 2147483646 w 886"/>
                    <a:gd name="T35" fmla="*/ 2147483646 h 912"/>
                    <a:gd name="T36" fmla="*/ 2147483646 w 886"/>
                    <a:gd name="T37" fmla="*/ 2147483646 h 912"/>
                    <a:gd name="T38" fmla="*/ 2147483646 w 886"/>
                    <a:gd name="T39" fmla="*/ 2147483646 h 912"/>
                    <a:gd name="T40" fmla="*/ 2147483646 w 886"/>
                    <a:gd name="T41" fmla="*/ 2147483646 h 912"/>
                    <a:gd name="T42" fmla="*/ 2147483646 w 886"/>
                    <a:gd name="T43" fmla="*/ 2147483646 h 912"/>
                    <a:gd name="T44" fmla="*/ 2147483646 w 886"/>
                    <a:gd name="T45" fmla="*/ 2147483646 h 912"/>
                    <a:gd name="T46" fmla="*/ 0 w 886"/>
                    <a:gd name="T47" fmla="*/ 2147483646 h 912"/>
                    <a:gd name="T48" fmla="*/ 2147483646 w 886"/>
                    <a:gd name="T49" fmla="*/ 2147483646 h 912"/>
                    <a:gd name="T50" fmla="*/ 2147483646 w 886"/>
                    <a:gd name="T51" fmla="*/ 2147483646 h 912"/>
                    <a:gd name="T52" fmla="*/ 2147483646 w 886"/>
                    <a:gd name="T53" fmla="*/ 2147483646 h 912"/>
                    <a:gd name="T54" fmla="*/ 2147483646 w 886"/>
                    <a:gd name="T55" fmla="*/ 2147483646 h 912"/>
                    <a:gd name="T56" fmla="*/ 2147483646 w 886"/>
                    <a:gd name="T57" fmla="*/ 2147483646 h 912"/>
                    <a:gd name="T58" fmla="*/ 2147483646 w 886"/>
                    <a:gd name="T59" fmla="*/ 2147483646 h 912"/>
                    <a:gd name="T60" fmla="*/ 2147483646 w 886"/>
                    <a:gd name="T61" fmla="*/ 2147483646 h 912"/>
                    <a:gd name="T62" fmla="*/ 2147483646 w 886"/>
                    <a:gd name="T63" fmla="*/ 2147483646 h 912"/>
                    <a:gd name="T64" fmla="*/ 2147483646 w 886"/>
                    <a:gd name="T65" fmla="*/ 2147483646 h 912"/>
                    <a:gd name="T66" fmla="*/ 2147483646 w 886"/>
                    <a:gd name="T67" fmla="*/ 2147483646 h 912"/>
                    <a:gd name="T68" fmla="*/ 2147483646 w 886"/>
                    <a:gd name="T69" fmla="*/ 2147483646 h 912"/>
                    <a:gd name="T70" fmla="*/ 2147483646 w 886"/>
                    <a:gd name="T71" fmla="*/ 2147483646 h 912"/>
                    <a:gd name="T72" fmla="*/ 2147483646 w 886"/>
                    <a:gd name="T73" fmla="*/ 2147483646 h 912"/>
                    <a:gd name="T74" fmla="*/ 2147483646 w 886"/>
                    <a:gd name="T75" fmla="*/ 2147483646 h 912"/>
                    <a:gd name="T76" fmla="*/ 2147483646 w 886"/>
                    <a:gd name="T77" fmla="*/ 2147483646 h 912"/>
                    <a:gd name="T78" fmla="*/ 2147483646 w 886"/>
                    <a:gd name="T79" fmla="*/ 2147483646 h 912"/>
                    <a:gd name="T80" fmla="*/ 2147483646 w 886"/>
                    <a:gd name="T81" fmla="*/ 2147483646 h 912"/>
                    <a:gd name="T82" fmla="*/ 2147483646 w 886"/>
                    <a:gd name="T83" fmla="*/ 2147483646 h 912"/>
                    <a:gd name="T84" fmla="*/ 2147483646 w 886"/>
                    <a:gd name="T85" fmla="*/ 2147483646 h 912"/>
                    <a:gd name="T86" fmla="*/ 2147483646 w 886"/>
                    <a:gd name="T87" fmla="*/ 2147483646 h 912"/>
                    <a:gd name="T88" fmla="*/ 2147483646 w 886"/>
                    <a:gd name="T89" fmla="*/ 2147483646 h 912"/>
                    <a:gd name="T90" fmla="*/ 2147483646 w 886"/>
                    <a:gd name="T91" fmla="*/ 2147483646 h 912"/>
                    <a:gd name="T92" fmla="*/ 2147483646 w 886"/>
                    <a:gd name="T93" fmla="*/ 2147483646 h 912"/>
                    <a:gd name="T94" fmla="*/ 2147483646 w 886"/>
                    <a:gd name="T95" fmla="*/ 2147483646 h 912"/>
                    <a:gd name="T96" fmla="*/ 2147483646 w 886"/>
                    <a:gd name="T97" fmla="*/ 2147483646 h 912"/>
                    <a:gd name="T98" fmla="*/ 2147483646 w 886"/>
                    <a:gd name="T99" fmla="*/ 2147483646 h 912"/>
                    <a:gd name="T100" fmla="*/ 2147483646 w 886"/>
                    <a:gd name="T101" fmla="*/ 2147483646 h 912"/>
                    <a:gd name="T102" fmla="*/ 2147483646 w 886"/>
                    <a:gd name="T103" fmla="*/ 2147483646 h 912"/>
                    <a:gd name="T104" fmla="*/ 2147483646 w 886"/>
                    <a:gd name="T105" fmla="*/ 2147483646 h 912"/>
                    <a:gd name="T106" fmla="*/ 2147483646 w 886"/>
                    <a:gd name="T107" fmla="*/ 2147483646 h 912"/>
                    <a:gd name="T108" fmla="*/ 2147483646 w 886"/>
                    <a:gd name="T109" fmla="*/ 2147483646 h 912"/>
                    <a:gd name="T110" fmla="*/ 2147483646 w 886"/>
                    <a:gd name="T111" fmla="*/ 2147483646 h 9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86"/>
                    <a:gd name="T169" fmla="*/ 0 h 912"/>
                    <a:gd name="T170" fmla="*/ 886 w 886"/>
                    <a:gd name="T171" fmla="*/ 912 h 9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86" h="912">
                      <a:moveTo>
                        <a:pt x="810" y="46"/>
                      </a:moveTo>
                      <a:lnTo>
                        <a:pt x="810" y="46"/>
                      </a:lnTo>
                      <a:lnTo>
                        <a:pt x="810" y="52"/>
                      </a:lnTo>
                      <a:lnTo>
                        <a:pt x="806" y="56"/>
                      </a:lnTo>
                      <a:lnTo>
                        <a:pt x="796" y="64"/>
                      </a:lnTo>
                      <a:lnTo>
                        <a:pt x="794" y="70"/>
                      </a:lnTo>
                      <a:lnTo>
                        <a:pt x="790" y="76"/>
                      </a:lnTo>
                      <a:lnTo>
                        <a:pt x="786" y="80"/>
                      </a:lnTo>
                      <a:lnTo>
                        <a:pt x="778" y="84"/>
                      </a:lnTo>
                      <a:lnTo>
                        <a:pt x="782" y="90"/>
                      </a:lnTo>
                      <a:lnTo>
                        <a:pt x="782" y="98"/>
                      </a:lnTo>
                      <a:lnTo>
                        <a:pt x="754" y="110"/>
                      </a:lnTo>
                      <a:lnTo>
                        <a:pt x="742" y="116"/>
                      </a:lnTo>
                      <a:lnTo>
                        <a:pt x="728" y="126"/>
                      </a:lnTo>
                      <a:lnTo>
                        <a:pt x="702" y="120"/>
                      </a:lnTo>
                      <a:lnTo>
                        <a:pt x="692" y="120"/>
                      </a:lnTo>
                      <a:lnTo>
                        <a:pt x="682" y="120"/>
                      </a:lnTo>
                      <a:lnTo>
                        <a:pt x="660" y="130"/>
                      </a:lnTo>
                      <a:lnTo>
                        <a:pt x="644" y="140"/>
                      </a:lnTo>
                      <a:lnTo>
                        <a:pt x="616" y="180"/>
                      </a:lnTo>
                      <a:lnTo>
                        <a:pt x="590" y="222"/>
                      </a:lnTo>
                      <a:lnTo>
                        <a:pt x="562" y="260"/>
                      </a:lnTo>
                      <a:lnTo>
                        <a:pt x="546" y="280"/>
                      </a:lnTo>
                      <a:lnTo>
                        <a:pt x="530" y="298"/>
                      </a:lnTo>
                      <a:lnTo>
                        <a:pt x="530" y="314"/>
                      </a:lnTo>
                      <a:lnTo>
                        <a:pt x="530" y="322"/>
                      </a:lnTo>
                      <a:lnTo>
                        <a:pt x="532" y="330"/>
                      </a:lnTo>
                      <a:lnTo>
                        <a:pt x="536" y="324"/>
                      </a:lnTo>
                      <a:lnTo>
                        <a:pt x="540" y="316"/>
                      </a:lnTo>
                      <a:lnTo>
                        <a:pt x="558" y="296"/>
                      </a:lnTo>
                      <a:lnTo>
                        <a:pt x="576" y="282"/>
                      </a:lnTo>
                      <a:lnTo>
                        <a:pt x="596" y="270"/>
                      </a:lnTo>
                      <a:lnTo>
                        <a:pt x="618" y="264"/>
                      </a:lnTo>
                      <a:lnTo>
                        <a:pt x="632" y="262"/>
                      </a:lnTo>
                      <a:lnTo>
                        <a:pt x="648" y="264"/>
                      </a:lnTo>
                      <a:lnTo>
                        <a:pt x="662" y="266"/>
                      </a:lnTo>
                      <a:lnTo>
                        <a:pt x="676" y="270"/>
                      </a:lnTo>
                      <a:lnTo>
                        <a:pt x="688" y="278"/>
                      </a:lnTo>
                      <a:lnTo>
                        <a:pt x="702" y="286"/>
                      </a:lnTo>
                      <a:lnTo>
                        <a:pt x="712" y="298"/>
                      </a:lnTo>
                      <a:lnTo>
                        <a:pt x="722" y="312"/>
                      </a:lnTo>
                      <a:lnTo>
                        <a:pt x="728" y="328"/>
                      </a:lnTo>
                      <a:lnTo>
                        <a:pt x="732" y="346"/>
                      </a:lnTo>
                      <a:lnTo>
                        <a:pt x="734" y="368"/>
                      </a:lnTo>
                      <a:lnTo>
                        <a:pt x="734" y="390"/>
                      </a:lnTo>
                      <a:lnTo>
                        <a:pt x="730" y="410"/>
                      </a:lnTo>
                      <a:lnTo>
                        <a:pt x="724" y="430"/>
                      </a:lnTo>
                      <a:lnTo>
                        <a:pt x="716" y="448"/>
                      </a:lnTo>
                      <a:lnTo>
                        <a:pt x="708" y="460"/>
                      </a:lnTo>
                      <a:lnTo>
                        <a:pt x="700" y="498"/>
                      </a:lnTo>
                      <a:lnTo>
                        <a:pt x="696" y="512"/>
                      </a:lnTo>
                      <a:lnTo>
                        <a:pt x="692" y="524"/>
                      </a:lnTo>
                      <a:lnTo>
                        <a:pt x="686" y="534"/>
                      </a:lnTo>
                      <a:lnTo>
                        <a:pt x="678" y="540"/>
                      </a:lnTo>
                      <a:lnTo>
                        <a:pt x="668" y="542"/>
                      </a:lnTo>
                      <a:lnTo>
                        <a:pt x="652" y="544"/>
                      </a:lnTo>
                      <a:lnTo>
                        <a:pt x="650" y="556"/>
                      </a:lnTo>
                      <a:lnTo>
                        <a:pt x="652" y="570"/>
                      </a:lnTo>
                      <a:lnTo>
                        <a:pt x="656" y="582"/>
                      </a:lnTo>
                      <a:lnTo>
                        <a:pt x="664" y="592"/>
                      </a:lnTo>
                      <a:lnTo>
                        <a:pt x="678" y="600"/>
                      </a:lnTo>
                      <a:lnTo>
                        <a:pt x="692" y="604"/>
                      </a:lnTo>
                      <a:lnTo>
                        <a:pt x="722" y="610"/>
                      </a:lnTo>
                      <a:lnTo>
                        <a:pt x="738" y="616"/>
                      </a:lnTo>
                      <a:lnTo>
                        <a:pt x="756" y="622"/>
                      </a:lnTo>
                      <a:lnTo>
                        <a:pt x="764" y="628"/>
                      </a:lnTo>
                      <a:lnTo>
                        <a:pt x="770" y="634"/>
                      </a:lnTo>
                      <a:lnTo>
                        <a:pt x="778" y="640"/>
                      </a:lnTo>
                      <a:lnTo>
                        <a:pt x="782" y="650"/>
                      </a:lnTo>
                      <a:lnTo>
                        <a:pt x="794" y="684"/>
                      </a:lnTo>
                      <a:lnTo>
                        <a:pt x="798" y="702"/>
                      </a:lnTo>
                      <a:lnTo>
                        <a:pt x="802" y="720"/>
                      </a:lnTo>
                      <a:lnTo>
                        <a:pt x="808" y="746"/>
                      </a:lnTo>
                      <a:lnTo>
                        <a:pt x="810" y="758"/>
                      </a:lnTo>
                      <a:lnTo>
                        <a:pt x="810" y="770"/>
                      </a:lnTo>
                      <a:lnTo>
                        <a:pt x="824" y="772"/>
                      </a:lnTo>
                      <a:lnTo>
                        <a:pt x="838" y="770"/>
                      </a:lnTo>
                      <a:lnTo>
                        <a:pt x="868" y="766"/>
                      </a:lnTo>
                      <a:lnTo>
                        <a:pt x="864" y="764"/>
                      </a:lnTo>
                      <a:lnTo>
                        <a:pt x="860" y="762"/>
                      </a:lnTo>
                      <a:lnTo>
                        <a:pt x="848" y="756"/>
                      </a:lnTo>
                      <a:lnTo>
                        <a:pt x="852" y="756"/>
                      </a:lnTo>
                      <a:lnTo>
                        <a:pt x="856" y="756"/>
                      </a:lnTo>
                      <a:lnTo>
                        <a:pt x="870" y="760"/>
                      </a:lnTo>
                      <a:lnTo>
                        <a:pt x="882" y="766"/>
                      </a:lnTo>
                      <a:lnTo>
                        <a:pt x="886" y="768"/>
                      </a:lnTo>
                      <a:lnTo>
                        <a:pt x="886" y="770"/>
                      </a:lnTo>
                      <a:lnTo>
                        <a:pt x="878" y="774"/>
                      </a:lnTo>
                      <a:lnTo>
                        <a:pt x="864" y="776"/>
                      </a:lnTo>
                      <a:lnTo>
                        <a:pt x="820" y="782"/>
                      </a:lnTo>
                      <a:lnTo>
                        <a:pt x="764" y="786"/>
                      </a:lnTo>
                      <a:lnTo>
                        <a:pt x="700" y="790"/>
                      </a:lnTo>
                      <a:lnTo>
                        <a:pt x="576" y="792"/>
                      </a:lnTo>
                      <a:lnTo>
                        <a:pt x="528" y="790"/>
                      </a:lnTo>
                      <a:lnTo>
                        <a:pt x="502" y="790"/>
                      </a:lnTo>
                      <a:lnTo>
                        <a:pt x="522" y="840"/>
                      </a:lnTo>
                      <a:lnTo>
                        <a:pt x="544" y="890"/>
                      </a:lnTo>
                      <a:lnTo>
                        <a:pt x="580" y="884"/>
                      </a:lnTo>
                      <a:lnTo>
                        <a:pt x="580" y="886"/>
                      </a:lnTo>
                      <a:lnTo>
                        <a:pt x="578" y="888"/>
                      </a:lnTo>
                      <a:lnTo>
                        <a:pt x="572" y="892"/>
                      </a:lnTo>
                      <a:lnTo>
                        <a:pt x="562" y="896"/>
                      </a:lnTo>
                      <a:lnTo>
                        <a:pt x="546" y="900"/>
                      </a:lnTo>
                      <a:lnTo>
                        <a:pt x="524" y="904"/>
                      </a:lnTo>
                      <a:lnTo>
                        <a:pt x="492" y="908"/>
                      </a:lnTo>
                      <a:lnTo>
                        <a:pt x="448" y="910"/>
                      </a:lnTo>
                      <a:lnTo>
                        <a:pt x="370" y="912"/>
                      </a:lnTo>
                      <a:lnTo>
                        <a:pt x="268" y="912"/>
                      </a:lnTo>
                      <a:lnTo>
                        <a:pt x="166" y="908"/>
                      </a:lnTo>
                      <a:lnTo>
                        <a:pt x="94" y="902"/>
                      </a:lnTo>
                      <a:lnTo>
                        <a:pt x="68" y="898"/>
                      </a:lnTo>
                      <a:lnTo>
                        <a:pt x="48" y="894"/>
                      </a:lnTo>
                      <a:lnTo>
                        <a:pt x="30" y="890"/>
                      </a:lnTo>
                      <a:lnTo>
                        <a:pt x="18" y="886"/>
                      </a:lnTo>
                      <a:lnTo>
                        <a:pt x="10" y="882"/>
                      </a:lnTo>
                      <a:lnTo>
                        <a:pt x="4" y="878"/>
                      </a:lnTo>
                      <a:lnTo>
                        <a:pt x="0" y="874"/>
                      </a:lnTo>
                      <a:lnTo>
                        <a:pt x="0" y="872"/>
                      </a:lnTo>
                      <a:lnTo>
                        <a:pt x="4" y="864"/>
                      </a:lnTo>
                      <a:lnTo>
                        <a:pt x="10" y="858"/>
                      </a:lnTo>
                      <a:lnTo>
                        <a:pt x="18" y="854"/>
                      </a:lnTo>
                      <a:lnTo>
                        <a:pt x="26" y="852"/>
                      </a:lnTo>
                      <a:lnTo>
                        <a:pt x="42" y="852"/>
                      </a:lnTo>
                      <a:lnTo>
                        <a:pt x="54" y="852"/>
                      </a:lnTo>
                      <a:lnTo>
                        <a:pt x="30" y="858"/>
                      </a:lnTo>
                      <a:lnTo>
                        <a:pt x="24" y="862"/>
                      </a:lnTo>
                      <a:lnTo>
                        <a:pt x="22" y="864"/>
                      </a:lnTo>
                      <a:lnTo>
                        <a:pt x="20" y="868"/>
                      </a:lnTo>
                      <a:lnTo>
                        <a:pt x="28" y="872"/>
                      </a:lnTo>
                      <a:lnTo>
                        <a:pt x="40" y="876"/>
                      </a:lnTo>
                      <a:lnTo>
                        <a:pt x="68" y="882"/>
                      </a:lnTo>
                      <a:lnTo>
                        <a:pt x="104" y="888"/>
                      </a:lnTo>
                      <a:lnTo>
                        <a:pt x="98" y="866"/>
                      </a:lnTo>
                      <a:lnTo>
                        <a:pt x="96" y="856"/>
                      </a:lnTo>
                      <a:lnTo>
                        <a:pt x="94" y="846"/>
                      </a:lnTo>
                      <a:lnTo>
                        <a:pt x="96" y="834"/>
                      </a:lnTo>
                      <a:lnTo>
                        <a:pt x="98" y="820"/>
                      </a:lnTo>
                      <a:lnTo>
                        <a:pt x="102" y="806"/>
                      </a:lnTo>
                      <a:lnTo>
                        <a:pt x="108" y="792"/>
                      </a:lnTo>
                      <a:lnTo>
                        <a:pt x="110" y="784"/>
                      </a:lnTo>
                      <a:lnTo>
                        <a:pt x="110" y="770"/>
                      </a:lnTo>
                      <a:lnTo>
                        <a:pt x="106" y="730"/>
                      </a:lnTo>
                      <a:lnTo>
                        <a:pt x="104" y="680"/>
                      </a:lnTo>
                      <a:lnTo>
                        <a:pt x="102" y="632"/>
                      </a:lnTo>
                      <a:lnTo>
                        <a:pt x="102" y="512"/>
                      </a:lnTo>
                      <a:lnTo>
                        <a:pt x="100" y="450"/>
                      </a:lnTo>
                      <a:lnTo>
                        <a:pt x="98" y="392"/>
                      </a:lnTo>
                      <a:lnTo>
                        <a:pt x="96" y="376"/>
                      </a:lnTo>
                      <a:lnTo>
                        <a:pt x="94" y="354"/>
                      </a:lnTo>
                      <a:lnTo>
                        <a:pt x="96" y="336"/>
                      </a:lnTo>
                      <a:lnTo>
                        <a:pt x="98" y="330"/>
                      </a:lnTo>
                      <a:lnTo>
                        <a:pt x="100" y="326"/>
                      </a:lnTo>
                      <a:lnTo>
                        <a:pt x="228" y="246"/>
                      </a:lnTo>
                      <a:lnTo>
                        <a:pt x="296" y="202"/>
                      </a:lnTo>
                      <a:lnTo>
                        <a:pt x="322" y="184"/>
                      </a:lnTo>
                      <a:lnTo>
                        <a:pt x="336" y="170"/>
                      </a:lnTo>
                      <a:lnTo>
                        <a:pt x="374" y="138"/>
                      </a:lnTo>
                      <a:lnTo>
                        <a:pt x="392" y="122"/>
                      </a:lnTo>
                      <a:lnTo>
                        <a:pt x="400" y="116"/>
                      </a:lnTo>
                      <a:lnTo>
                        <a:pt x="408" y="114"/>
                      </a:lnTo>
                      <a:lnTo>
                        <a:pt x="432" y="116"/>
                      </a:lnTo>
                      <a:lnTo>
                        <a:pt x="464" y="124"/>
                      </a:lnTo>
                      <a:lnTo>
                        <a:pt x="496" y="130"/>
                      </a:lnTo>
                      <a:lnTo>
                        <a:pt x="526" y="134"/>
                      </a:lnTo>
                      <a:lnTo>
                        <a:pt x="526" y="138"/>
                      </a:lnTo>
                      <a:lnTo>
                        <a:pt x="526" y="142"/>
                      </a:lnTo>
                      <a:lnTo>
                        <a:pt x="524" y="146"/>
                      </a:lnTo>
                      <a:lnTo>
                        <a:pt x="520" y="150"/>
                      </a:lnTo>
                      <a:lnTo>
                        <a:pt x="518" y="152"/>
                      </a:lnTo>
                      <a:lnTo>
                        <a:pt x="516" y="156"/>
                      </a:lnTo>
                      <a:lnTo>
                        <a:pt x="512" y="160"/>
                      </a:lnTo>
                      <a:lnTo>
                        <a:pt x="506" y="164"/>
                      </a:lnTo>
                      <a:lnTo>
                        <a:pt x="500" y="166"/>
                      </a:lnTo>
                      <a:lnTo>
                        <a:pt x="496" y="170"/>
                      </a:lnTo>
                      <a:lnTo>
                        <a:pt x="492" y="176"/>
                      </a:lnTo>
                      <a:lnTo>
                        <a:pt x="480" y="182"/>
                      </a:lnTo>
                      <a:lnTo>
                        <a:pt x="470" y="184"/>
                      </a:lnTo>
                      <a:lnTo>
                        <a:pt x="472" y="188"/>
                      </a:lnTo>
                      <a:lnTo>
                        <a:pt x="474" y="190"/>
                      </a:lnTo>
                      <a:lnTo>
                        <a:pt x="474" y="198"/>
                      </a:lnTo>
                      <a:lnTo>
                        <a:pt x="442" y="212"/>
                      </a:lnTo>
                      <a:lnTo>
                        <a:pt x="434" y="218"/>
                      </a:lnTo>
                      <a:lnTo>
                        <a:pt x="428" y="224"/>
                      </a:lnTo>
                      <a:lnTo>
                        <a:pt x="418" y="234"/>
                      </a:lnTo>
                      <a:lnTo>
                        <a:pt x="412" y="238"/>
                      </a:lnTo>
                      <a:lnTo>
                        <a:pt x="406" y="242"/>
                      </a:lnTo>
                      <a:lnTo>
                        <a:pt x="396" y="242"/>
                      </a:lnTo>
                      <a:lnTo>
                        <a:pt x="384" y="242"/>
                      </a:lnTo>
                      <a:lnTo>
                        <a:pt x="374" y="240"/>
                      </a:lnTo>
                      <a:lnTo>
                        <a:pt x="366" y="236"/>
                      </a:lnTo>
                      <a:lnTo>
                        <a:pt x="358" y="234"/>
                      </a:lnTo>
                      <a:lnTo>
                        <a:pt x="354" y="236"/>
                      </a:lnTo>
                      <a:lnTo>
                        <a:pt x="350" y="238"/>
                      </a:lnTo>
                      <a:lnTo>
                        <a:pt x="294" y="290"/>
                      </a:lnTo>
                      <a:lnTo>
                        <a:pt x="244" y="334"/>
                      </a:lnTo>
                      <a:lnTo>
                        <a:pt x="220" y="356"/>
                      </a:lnTo>
                      <a:lnTo>
                        <a:pt x="196" y="374"/>
                      </a:lnTo>
                      <a:lnTo>
                        <a:pt x="202" y="444"/>
                      </a:lnTo>
                      <a:lnTo>
                        <a:pt x="210" y="514"/>
                      </a:lnTo>
                      <a:lnTo>
                        <a:pt x="212" y="512"/>
                      </a:lnTo>
                      <a:lnTo>
                        <a:pt x="214" y="506"/>
                      </a:lnTo>
                      <a:lnTo>
                        <a:pt x="214" y="498"/>
                      </a:lnTo>
                      <a:lnTo>
                        <a:pt x="210" y="484"/>
                      </a:lnTo>
                      <a:lnTo>
                        <a:pt x="208" y="472"/>
                      </a:lnTo>
                      <a:lnTo>
                        <a:pt x="210" y="462"/>
                      </a:lnTo>
                      <a:lnTo>
                        <a:pt x="210" y="456"/>
                      </a:lnTo>
                      <a:lnTo>
                        <a:pt x="214" y="444"/>
                      </a:lnTo>
                      <a:lnTo>
                        <a:pt x="216" y="438"/>
                      </a:lnTo>
                      <a:lnTo>
                        <a:pt x="214" y="430"/>
                      </a:lnTo>
                      <a:lnTo>
                        <a:pt x="214" y="418"/>
                      </a:lnTo>
                      <a:lnTo>
                        <a:pt x="212" y="404"/>
                      </a:lnTo>
                      <a:lnTo>
                        <a:pt x="212" y="398"/>
                      </a:lnTo>
                      <a:lnTo>
                        <a:pt x="214" y="392"/>
                      </a:lnTo>
                      <a:lnTo>
                        <a:pt x="218" y="388"/>
                      </a:lnTo>
                      <a:lnTo>
                        <a:pt x="224" y="382"/>
                      </a:lnTo>
                      <a:lnTo>
                        <a:pt x="230" y="380"/>
                      </a:lnTo>
                      <a:lnTo>
                        <a:pt x="234" y="376"/>
                      </a:lnTo>
                      <a:lnTo>
                        <a:pt x="238" y="372"/>
                      </a:lnTo>
                      <a:lnTo>
                        <a:pt x="238" y="366"/>
                      </a:lnTo>
                      <a:lnTo>
                        <a:pt x="242" y="356"/>
                      </a:lnTo>
                      <a:lnTo>
                        <a:pt x="244" y="350"/>
                      </a:lnTo>
                      <a:lnTo>
                        <a:pt x="248" y="346"/>
                      </a:lnTo>
                      <a:lnTo>
                        <a:pt x="254" y="344"/>
                      </a:lnTo>
                      <a:lnTo>
                        <a:pt x="262" y="344"/>
                      </a:lnTo>
                      <a:lnTo>
                        <a:pt x="268" y="342"/>
                      </a:lnTo>
                      <a:lnTo>
                        <a:pt x="270" y="340"/>
                      </a:lnTo>
                      <a:lnTo>
                        <a:pt x="270" y="336"/>
                      </a:lnTo>
                      <a:lnTo>
                        <a:pt x="272" y="330"/>
                      </a:lnTo>
                      <a:lnTo>
                        <a:pt x="278" y="326"/>
                      </a:lnTo>
                      <a:lnTo>
                        <a:pt x="286" y="322"/>
                      </a:lnTo>
                      <a:lnTo>
                        <a:pt x="294" y="320"/>
                      </a:lnTo>
                      <a:lnTo>
                        <a:pt x="302" y="320"/>
                      </a:lnTo>
                      <a:lnTo>
                        <a:pt x="310" y="324"/>
                      </a:lnTo>
                      <a:lnTo>
                        <a:pt x="320" y="314"/>
                      </a:lnTo>
                      <a:lnTo>
                        <a:pt x="326" y="312"/>
                      </a:lnTo>
                      <a:lnTo>
                        <a:pt x="334" y="310"/>
                      </a:lnTo>
                      <a:lnTo>
                        <a:pt x="340" y="310"/>
                      </a:lnTo>
                      <a:lnTo>
                        <a:pt x="346" y="312"/>
                      </a:lnTo>
                      <a:lnTo>
                        <a:pt x="358" y="320"/>
                      </a:lnTo>
                      <a:lnTo>
                        <a:pt x="374" y="320"/>
                      </a:lnTo>
                      <a:lnTo>
                        <a:pt x="390" y="322"/>
                      </a:lnTo>
                      <a:lnTo>
                        <a:pt x="398" y="326"/>
                      </a:lnTo>
                      <a:lnTo>
                        <a:pt x="406" y="330"/>
                      </a:lnTo>
                      <a:lnTo>
                        <a:pt x="412" y="336"/>
                      </a:lnTo>
                      <a:lnTo>
                        <a:pt x="418" y="342"/>
                      </a:lnTo>
                      <a:lnTo>
                        <a:pt x="418" y="336"/>
                      </a:lnTo>
                      <a:lnTo>
                        <a:pt x="420" y="330"/>
                      </a:lnTo>
                      <a:lnTo>
                        <a:pt x="418" y="316"/>
                      </a:lnTo>
                      <a:lnTo>
                        <a:pt x="418" y="300"/>
                      </a:lnTo>
                      <a:lnTo>
                        <a:pt x="418" y="294"/>
                      </a:lnTo>
                      <a:lnTo>
                        <a:pt x="420" y="288"/>
                      </a:lnTo>
                      <a:lnTo>
                        <a:pt x="462" y="246"/>
                      </a:lnTo>
                      <a:lnTo>
                        <a:pt x="500" y="204"/>
                      </a:lnTo>
                      <a:lnTo>
                        <a:pt x="538" y="158"/>
                      </a:lnTo>
                      <a:lnTo>
                        <a:pt x="574" y="112"/>
                      </a:lnTo>
                      <a:lnTo>
                        <a:pt x="602" y="92"/>
                      </a:lnTo>
                      <a:lnTo>
                        <a:pt x="628" y="74"/>
                      </a:lnTo>
                      <a:lnTo>
                        <a:pt x="652" y="52"/>
                      </a:lnTo>
                      <a:lnTo>
                        <a:pt x="664" y="40"/>
                      </a:lnTo>
                      <a:lnTo>
                        <a:pt x="674" y="26"/>
                      </a:lnTo>
                      <a:lnTo>
                        <a:pt x="682" y="16"/>
                      </a:lnTo>
                      <a:lnTo>
                        <a:pt x="690" y="6"/>
                      </a:lnTo>
                      <a:lnTo>
                        <a:pt x="702" y="2"/>
                      </a:lnTo>
                      <a:lnTo>
                        <a:pt x="708" y="0"/>
                      </a:lnTo>
                      <a:lnTo>
                        <a:pt x="714" y="0"/>
                      </a:lnTo>
                      <a:lnTo>
                        <a:pt x="726" y="6"/>
                      </a:lnTo>
                      <a:lnTo>
                        <a:pt x="740" y="12"/>
                      </a:lnTo>
                      <a:lnTo>
                        <a:pt x="756" y="20"/>
                      </a:lnTo>
                      <a:lnTo>
                        <a:pt x="770" y="24"/>
                      </a:lnTo>
                      <a:lnTo>
                        <a:pt x="782" y="24"/>
                      </a:lnTo>
                      <a:lnTo>
                        <a:pt x="796" y="22"/>
                      </a:lnTo>
                      <a:lnTo>
                        <a:pt x="810" y="20"/>
                      </a:lnTo>
                      <a:lnTo>
                        <a:pt x="816" y="22"/>
                      </a:lnTo>
                      <a:lnTo>
                        <a:pt x="816" y="24"/>
                      </a:lnTo>
                      <a:lnTo>
                        <a:pt x="816" y="32"/>
                      </a:lnTo>
                      <a:lnTo>
                        <a:pt x="812" y="38"/>
                      </a:lnTo>
                      <a:lnTo>
                        <a:pt x="810" y="42"/>
                      </a:lnTo>
                      <a:lnTo>
                        <a:pt x="806" y="42"/>
                      </a:lnTo>
                      <a:lnTo>
                        <a:pt x="810"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94" name="Freeform 95"/>
                <p:cNvSpPr>
                  <a:spLocks/>
                </p:cNvSpPr>
                <p:nvPr/>
              </p:nvSpPr>
              <p:spPr bwMode="auto">
                <a:xfrm>
                  <a:off x="5789615" y="2165341"/>
                  <a:ext cx="568325" cy="1219200"/>
                </a:xfrm>
                <a:custGeom>
                  <a:avLst/>
                  <a:gdLst>
                    <a:gd name="T0" fmla="*/ 2147483646 w 358"/>
                    <a:gd name="T1" fmla="*/ 2147483646 h 768"/>
                    <a:gd name="T2" fmla="*/ 2147483646 w 358"/>
                    <a:gd name="T3" fmla="*/ 2147483646 h 768"/>
                    <a:gd name="T4" fmla="*/ 2147483646 w 358"/>
                    <a:gd name="T5" fmla="*/ 2147483646 h 768"/>
                    <a:gd name="T6" fmla="*/ 2147483646 w 358"/>
                    <a:gd name="T7" fmla="*/ 2147483646 h 768"/>
                    <a:gd name="T8" fmla="*/ 2147483646 w 358"/>
                    <a:gd name="T9" fmla="*/ 2147483646 h 768"/>
                    <a:gd name="T10" fmla="*/ 2147483646 w 358"/>
                    <a:gd name="T11" fmla="*/ 2147483646 h 768"/>
                    <a:gd name="T12" fmla="*/ 2147483646 w 358"/>
                    <a:gd name="T13" fmla="*/ 2147483646 h 768"/>
                    <a:gd name="T14" fmla="*/ 2147483646 w 358"/>
                    <a:gd name="T15" fmla="*/ 2147483646 h 768"/>
                    <a:gd name="T16" fmla="*/ 2147483646 w 358"/>
                    <a:gd name="T17" fmla="*/ 2147483646 h 768"/>
                    <a:gd name="T18" fmla="*/ 2147483646 w 358"/>
                    <a:gd name="T19" fmla="*/ 2147483646 h 768"/>
                    <a:gd name="T20" fmla="*/ 2147483646 w 358"/>
                    <a:gd name="T21" fmla="*/ 2147483646 h 768"/>
                    <a:gd name="T22" fmla="*/ 2147483646 w 358"/>
                    <a:gd name="T23" fmla="*/ 2147483646 h 768"/>
                    <a:gd name="T24" fmla="*/ 2147483646 w 358"/>
                    <a:gd name="T25" fmla="*/ 2147483646 h 768"/>
                    <a:gd name="T26" fmla="*/ 2147483646 w 358"/>
                    <a:gd name="T27" fmla="*/ 2147483646 h 768"/>
                    <a:gd name="T28" fmla="*/ 2147483646 w 358"/>
                    <a:gd name="T29" fmla="*/ 2147483646 h 768"/>
                    <a:gd name="T30" fmla="*/ 2147483646 w 358"/>
                    <a:gd name="T31" fmla="*/ 2147483646 h 768"/>
                    <a:gd name="T32" fmla="*/ 2147483646 w 358"/>
                    <a:gd name="T33" fmla="*/ 2147483646 h 768"/>
                    <a:gd name="T34" fmla="*/ 2147483646 w 358"/>
                    <a:gd name="T35" fmla="*/ 2147483646 h 768"/>
                    <a:gd name="T36" fmla="*/ 2147483646 w 358"/>
                    <a:gd name="T37" fmla="*/ 2147483646 h 768"/>
                    <a:gd name="T38" fmla="*/ 2147483646 w 358"/>
                    <a:gd name="T39" fmla="*/ 2147483646 h 768"/>
                    <a:gd name="T40" fmla="*/ 2147483646 w 358"/>
                    <a:gd name="T41" fmla="*/ 2147483646 h 768"/>
                    <a:gd name="T42" fmla="*/ 2147483646 w 358"/>
                    <a:gd name="T43" fmla="*/ 2147483646 h 768"/>
                    <a:gd name="T44" fmla="*/ 2147483646 w 358"/>
                    <a:gd name="T45" fmla="*/ 2147483646 h 768"/>
                    <a:gd name="T46" fmla="*/ 2147483646 w 358"/>
                    <a:gd name="T47" fmla="*/ 2147483646 h 768"/>
                    <a:gd name="T48" fmla="*/ 2147483646 w 358"/>
                    <a:gd name="T49" fmla="*/ 2147483646 h 768"/>
                    <a:gd name="T50" fmla="*/ 2147483646 w 358"/>
                    <a:gd name="T51" fmla="*/ 2147483646 h 768"/>
                    <a:gd name="T52" fmla="*/ 2147483646 w 358"/>
                    <a:gd name="T53" fmla="*/ 2147483646 h 768"/>
                    <a:gd name="T54" fmla="*/ 2147483646 w 358"/>
                    <a:gd name="T55" fmla="*/ 2147483646 h 768"/>
                    <a:gd name="T56" fmla="*/ 2147483646 w 358"/>
                    <a:gd name="T57" fmla="*/ 2147483646 h 768"/>
                    <a:gd name="T58" fmla="*/ 2147483646 w 358"/>
                    <a:gd name="T59" fmla="*/ 2147483646 h 768"/>
                    <a:gd name="T60" fmla="*/ 2147483646 w 358"/>
                    <a:gd name="T61" fmla="*/ 2147483646 h 768"/>
                    <a:gd name="T62" fmla="*/ 2147483646 w 358"/>
                    <a:gd name="T63" fmla="*/ 2147483646 h 768"/>
                    <a:gd name="T64" fmla="*/ 2147483646 w 358"/>
                    <a:gd name="T65" fmla="*/ 2147483646 h 768"/>
                    <a:gd name="T66" fmla="*/ 2147483646 w 358"/>
                    <a:gd name="T67" fmla="*/ 2147483646 h 768"/>
                    <a:gd name="T68" fmla="*/ 2147483646 w 358"/>
                    <a:gd name="T69" fmla="*/ 2147483646 h 768"/>
                    <a:gd name="T70" fmla="*/ 2147483646 w 358"/>
                    <a:gd name="T71" fmla="*/ 2147483646 h 768"/>
                    <a:gd name="T72" fmla="*/ 2147483646 w 358"/>
                    <a:gd name="T73" fmla="*/ 2147483646 h 768"/>
                    <a:gd name="T74" fmla="*/ 2147483646 w 358"/>
                    <a:gd name="T75" fmla="*/ 2147483646 h 768"/>
                    <a:gd name="T76" fmla="*/ 2147483646 w 358"/>
                    <a:gd name="T77" fmla="*/ 2147483646 h 768"/>
                    <a:gd name="T78" fmla="*/ 2147483646 w 358"/>
                    <a:gd name="T79" fmla="*/ 2147483646 h 768"/>
                    <a:gd name="T80" fmla="*/ 2147483646 w 358"/>
                    <a:gd name="T81" fmla="*/ 2147483646 h 768"/>
                    <a:gd name="T82" fmla="*/ 2147483646 w 358"/>
                    <a:gd name="T83" fmla="*/ 2147483646 h 768"/>
                    <a:gd name="T84" fmla="*/ 2147483646 w 358"/>
                    <a:gd name="T85" fmla="*/ 2147483646 h 768"/>
                    <a:gd name="T86" fmla="*/ 2147483646 w 358"/>
                    <a:gd name="T87" fmla="*/ 2147483646 h 768"/>
                    <a:gd name="T88" fmla="*/ 2147483646 w 358"/>
                    <a:gd name="T89" fmla="*/ 2147483646 h 768"/>
                    <a:gd name="T90" fmla="*/ 2147483646 w 358"/>
                    <a:gd name="T91" fmla="*/ 2147483646 h 768"/>
                    <a:gd name="T92" fmla="*/ 2147483646 w 358"/>
                    <a:gd name="T93" fmla="*/ 2147483646 h 768"/>
                    <a:gd name="T94" fmla="*/ 2147483646 w 358"/>
                    <a:gd name="T95" fmla="*/ 2147483646 h 768"/>
                    <a:gd name="T96" fmla="*/ 2147483646 w 358"/>
                    <a:gd name="T97" fmla="*/ 2147483646 h 768"/>
                    <a:gd name="T98" fmla="*/ 2147483646 w 358"/>
                    <a:gd name="T99" fmla="*/ 2147483646 h 768"/>
                    <a:gd name="T100" fmla="*/ 2147483646 w 358"/>
                    <a:gd name="T101" fmla="*/ 2147483646 h 768"/>
                    <a:gd name="T102" fmla="*/ 2147483646 w 358"/>
                    <a:gd name="T103" fmla="*/ 2147483646 h 768"/>
                    <a:gd name="T104" fmla="*/ 2147483646 w 358"/>
                    <a:gd name="T105" fmla="*/ 2147483646 h 768"/>
                    <a:gd name="T106" fmla="*/ 2147483646 w 358"/>
                    <a:gd name="T107" fmla="*/ 2147483646 h 768"/>
                    <a:gd name="T108" fmla="*/ 2147483646 w 358"/>
                    <a:gd name="T109" fmla="*/ 2147483646 h 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58"/>
                    <a:gd name="T166" fmla="*/ 0 h 768"/>
                    <a:gd name="T167" fmla="*/ 358 w 358"/>
                    <a:gd name="T168" fmla="*/ 768 h 76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58" h="768">
                      <a:moveTo>
                        <a:pt x="324" y="20"/>
                      </a:moveTo>
                      <a:lnTo>
                        <a:pt x="324" y="20"/>
                      </a:lnTo>
                      <a:lnTo>
                        <a:pt x="358" y="36"/>
                      </a:lnTo>
                      <a:lnTo>
                        <a:pt x="352" y="40"/>
                      </a:lnTo>
                      <a:lnTo>
                        <a:pt x="348" y="44"/>
                      </a:lnTo>
                      <a:lnTo>
                        <a:pt x="340" y="44"/>
                      </a:lnTo>
                      <a:lnTo>
                        <a:pt x="328" y="40"/>
                      </a:lnTo>
                      <a:lnTo>
                        <a:pt x="318" y="34"/>
                      </a:lnTo>
                      <a:lnTo>
                        <a:pt x="308" y="30"/>
                      </a:lnTo>
                      <a:lnTo>
                        <a:pt x="304" y="28"/>
                      </a:lnTo>
                      <a:lnTo>
                        <a:pt x="298" y="30"/>
                      </a:lnTo>
                      <a:lnTo>
                        <a:pt x="292" y="30"/>
                      </a:lnTo>
                      <a:lnTo>
                        <a:pt x="286" y="34"/>
                      </a:lnTo>
                      <a:lnTo>
                        <a:pt x="280" y="38"/>
                      </a:lnTo>
                      <a:lnTo>
                        <a:pt x="274" y="44"/>
                      </a:lnTo>
                      <a:lnTo>
                        <a:pt x="270" y="50"/>
                      </a:lnTo>
                      <a:lnTo>
                        <a:pt x="268" y="56"/>
                      </a:lnTo>
                      <a:lnTo>
                        <a:pt x="262" y="70"/>
                      </a:lnTo>
                      <a:lnTo>
                        <a:pt x="258" y="76"/>
                      </a:lnTo>
                      <a:lnTo>
                        <a:pt x="252" y="82"/>
                      </a:lnTo>
                      <a:lnTo>
                        <a:pt x="234" y="92"/>
                      </a:lnTo>
                      <a:lnTo>
                        <a:pt x="218" y="100"/>
                      </a:lnTo>
                      <a:lnTo>
                        <a:pt x="210" y="104"/>
                      </a:lnTo>
                      <a:lnTo>
                        <a:pt x="204" y="110"/>
                      </a:lnTo>
                      <a:lnTo>
                        <a:pt x="196" y="116"/>
                      </a:lnTo>
                      <a:lnTo>
                        <a:pt x="190" y="126"/>
                      </a:lnTo>
                      <a:lnTo>
                        <a:pt x="162" y="168"/>
                      </a:lnTo>
                      <a:lnTo>
                        <a:pt x="132" y="210"/>
                      </a:lnTo>
                      <a:lnTo>
                        <a:pt x="102" y="248"/>
                      </a:lnTo>
                      <a:lnTo>
                        <a:pt x="86" y="266"/>
                      </a:lnTo>
                      <a:lnTo>
                        <a:pt x="70" y="282"/>
                      </a:lnTo>
                      <a:lnTo>
                        <a:pt x="74" y="308"/>
                      </a:lnTo>
                      <a:lnTo>
                        <a:pt x="80" y="338"/>
                      </a:lnTo>
                      <a:lnTo>
                        <a:pt x="84" y="368"/>
                      </a:lnTo>
                      <a:lnTo>
                        <a:pt x="90" y="394"/>
                      </a:lnTo>
                      <a:lnTo>
                        <a:pt x="84" y="428"/>
                      </a:lnTo>
                      <a:lnTo>
                        <a:pt x="84" y="442"/>
                      </a:lnTo>
                      <a:lnTo>
                        <a:pt x="84" y="458"/>
                      </a:lnTo>
                      <a:lnTo>
                        <a:pt x="88" y="480"/>
                      </a:lnTo>
                      <a:lnTo>
                        <a:pt x="94" y="498"/>
                      </a:lnTo>
                      <a:lnTo>
                        <a:pt x="94" y="506"/>
                      </a:lnTo>
                      <a:lnTo>
                        <a:pt x="90" y="518"/>
                      </a:lnTo>
                      <a:lnTo>
                        <a:pt x="82" y="532"/>
                      </a:lnTo>
                      <a:lnTo>
                        <a:pt x="72" y="548"/>
                      </a:lnTo>
                      <a:lnTo>
                        <a:pt x="76" y="548"/>
                      </a:lnTo>
                      <a:lnTo>
                        <a:pt x="80" y="544"/>
                      </a:lnTo>
                      <a:lnTo>
                        <a:pt x="90" y="538"/>
                      </a:lnTo>
                      <a:lnTo>
                        <a:pt x="92" y="560"/>
                      </a:lnTo>
                      <a:lnTo>
                        <a:pt x="92" y="572"/>
                      </a:lnTo>
                      <a:lnTo>
                        <a:pt x="92" y="584"/>
                      </a:lnTo>
                      <a:lnTo>
                        <a:pt x="90" y="590"/>
                      </a:lnTo>
                      <a:lnTo>
                        <a:pt x="88" y="598"/>
                      </a:lnTo>
                      <a:lnTo>
                        <a:pt x="84" y="604"/>
                      </a:lnTo>
                      <a:lnTo>
                        <a:pt x="78" y="608"/>
                      </a:lnTo>
                      <a:lnTo>
                        <a:pt x="82" y="608"/>
                      </a:lnTo>
                      <a:lnTo>
                        <a:pt x="90" y="606"/>
                      </a:lnTo>
                      <a:lnTo>
                        <a:pt x="100" y="602"/>
                      </a:lnTo>
                      <a:lnTo>
                        <a:pt x="104" y="598"/>
                      </a:lnTo>
                      <a:lnTo>
                        <a:pt x="106" y="596"/>
                      </a:lnTo>
                      <a:lnTo>
                        <a:pt x="120" y="612"/>
                      </a:lnTo>
                      <a:lnTo>
                        <a:pt x="134" y="634"/>
                      </a:lnTo>
                      <a:lnTo>
                        <a:pt x="144" y="652"/>
                      </a:lnTo>
                      <a:lnTo>
                        <a:pt x="148" y="658"/>
                      </a:lnTo>
                      <a:lnTo>
                        <a:pt x="148" y="650"/>
                      </a:lnTo>
                      <a:lnTo>
                        <a:pt x="146" y="642"/>
                      </a:lnTo>
                      <a:lnTo>
                        <a:pt x="138" y="622"/>
                      </a:lnTo>
                      <a:lnTo>
                        <a:pt x="116" y="584"/>
                      </a:lnTo>
                      <a:lnTo>
                        <a:pt x="110" y="564"/>
                      </a:lnTo>
                      <a:lnTo>
                        <a:pt x="110" y="544"/>
                      </a:lnTo>
                      <a:lnTo>
                        <a:pt x="112" y="528"/>
                      </a:lnTo>
                      <a:lnTo>
                        <a:pt x="118" y="514"/>
                      </a:lnTo>
                      <a:lnTo>
                        <a:pt x="124" y="518"/>
                      </a:lnTo>
                      <a:lnTo>
                        <a:pt x="126" y="524"/>
                      </a:lnTo>
                      <a:lnTo>
                        <a:pt x="132" y="536"/>
                      </a:lnTo>
                      <a:lnTo>
                        <a:pt x="136" y="542"/>
                      </a:lnTo>
                      <a:lnTo>
                        <a:pt x="142" y="546"/>
                      </a:lnTo>
                      <a:lnTo>
                        <a:pt x="156" y="548"/>
                      </a:lnTo>
                      <a:lnTo>
                        <a:pt x="168" y="548"/>
                      </a:lnTo>
                      <a:lnTo>
                        <a:pt x="180" y="544"/>
                      </a:lnTo>
                      <a:lnTo>
                        <a:pt x="192" y="538"/>
                      </a:lnTo>
                      <a:lnTo>
                        <a:pt x="198" y="528"/>
                      </a:lnTo>
                      <a:lnTo>
                        <a:pt x="200" y="570"/>
                      </a:lnTo>
                      <a:lnTo>
                        <a:pt x="202" y="590"/>
                      </a:lnTo>
                      <a:lnTo>
                        <a:pt x="206" y="598"/>
                      </a:lnTo>
                      <a:lnTo>
                        <a:pt x="210" y="606"/>
                      </a:lnTo>
                      <a:lnTo>
                        <a:pt x="212" y="606"/>
                      </a:lnTo>
                      <a:lnTo>
                        <a:pt x="212" y="600"/>
                      </a:lnTo>
                      <a:lnTo>
                        <a:pt x="214" y="586"/>
                      </a:lnTo>
                      <a:lnTo>
                        <a:pt x="228" y="596"/>
                      </a:lnTo>
                      <a:lnTo>
                        <a:pt x="244" y="602"/>
                      </a:lnTo>
                      <a:lnTo>
                        <a:pt x="280" y="612"/>
                      </a:lnTo>
                      <a:lnTo>
                        <a:pt x="298" y="616"/>
                      </a:lnTo>
                      <a:lnTo>
                        <a:pt x="312" y="622"/>
                      </a:lnTo>
                      <a:lnTo>
                        <a:pt x="318" y="626"/>
                      </a:lnTo>
                      <a:lnTo>
                        <a:pt x="322" y="632"/>
                      </a:lnTo>
                      <a:lnTo>
                        <a:pt x="326" y="636"/>
                      </a:lnTo>
                      <a:lnTo>
                        <a:pt x="328" y="642"/>
                      </a:lnTo>
                      <a:lnTo>
                        <a:pt x="338" y="672"/>
                      </a:lnTo>
                      <a:lnTo>
                        <a:pt x="348" y="698"/>
                      </a:lnTo>
                      <a:lnTo>
                        <a:pt x="352" y="712"/>
                      </a:lnTo>
                      <a:lnTo>
                        <a:pt x="354" y="726"/>
                      </a:lnTo>
                      <a:lnTo>
                        <a:pt x="356" y="742"/>
                      </a:lnTo>
                      <a:lnTo>
                        <a:pt x="356" y="758"/>
                      </a:lnTo>
                      <a:lnTo>
                        <a:pt x="348" y="760"/>
                      </a:lnTo>
                      <a:lnTo>
                        <a:pt x="338" y="762"/>
                      </a:lnTo>
                      <a:lnTo>
                        <a:pt x="312" y="762"/>
                      </a:lnTo>
                      <a:lnTo>
                        <a:pt x="272" y="764"/>
                      </a:lnTo>
                      <a:lnTo>
                        <a:pt x="270" y="760"/>
                      </a:lnTo>
                      <a:lnTo>
                        <a:pt x="268" y="754"/>
                      </a:lnTo>
                      <a:lnTo>
                        <a:pt x="266" y="742"/>
                      </a:lnTo>
                      <a:lnTo>
                        <a:pt x="264" y="732"/>
                      </a:lnTo>
                      <a:lnTo>
                        <a:pt x="262" y="728"/>
                      </a:lnTo>
                      <a:lnTo>
                        <a:pt x="258" y="724"/>
                      </a:lnTo>
                      <a:lnTo>
                        <a:pt x="256" y="734"/>
                      </a:lnTo>
                      <a:lnTo>
                        <a:pt x="256" y="746"/>
                      </a:lnTo>
                      <a:lnTo>
                        <a:pt x="256" y="758"/>
                      </a:lnTo>
                      <a:lnTo>
                        <a:pt x="254" y="766"/>
                      </a:lnTo>
                      <a:lnTo>
                        <a:pt x="172" y="768"/>
                      </a:lnTo>
                      <a:lnTo>
                        <a:pt x="108" y="766"/>
                      </a:lnTo>
                      <a:lnTo>
                        <a:pt x="52" y="764"/>
                      </a:lnTo>
                      <a:lnTo>
                        <a:pt x="44" y="754"/>
                      </a:lnTo>
                      <a:lnTo>
                        <a:pt x="36" y="744"/>
                      </a:lnTo>
                      <a:lnTo>
                        <a:pt x="24" y="736"/>
                      </a:lnTo>
                      <a:lnTo>
                        <a:pt x="14" y="730"/>
                      </a:lnTo>
                      <a:lnTo>
                        <a:pt x="12" y="720"/>
                      </a:lnTo>
                      <a:lnTo>
                        <a:pt x="10" y="712"/>
                      </a:lnTo>
                      <a:lnTo>
                        <a:pt x="12" y="694"/>
                      </a:lnTo>
                      <a:lnTo>
                        <a:pt x="18" y="658"/>
                      </a:lnTo>
                      <a:lnTo>
                        <a:pt x="22" y="640"/>
                      </a:lnTo>
                      <a:lnTo>
                        <a:pt x="24" y="622"/>
                      </a:lnTo>
                      <a:lnTo>
                        <a:pt x="22" y="604"/>
                      </a:lnTo>
                      <a:lnTo>
                        <a:pt x="18" y="586"/>
                      </a:lnTo>
                      <a:lnTo>
                        <a:pt x="10" y="548"/>
                      </a:lnTo>
                      <a:lnTo>
                        <a:pt x="6" y="530"/>
                      </a:lnTo>
                      <a:lnTo>
                        <a:pt x="6" y="512"/>
                      </a:lnTo>
                      <a:lnTo>
                        <a:pt x="12" y="504"/>
                      </a:lnTo>
                      <a:lnTo>
                        <a:pt x="16" y="494"/>
                      </a:lnTo>
                      <a:lnTo>
                        <a:pt x="16" y="490"/>
                      </a:lnTo>
                      <a:lnTo>
                        <a:pt x="16" y="486"/>
                      </a:lnTo>
                      <a:lnTo>
                        <a:pt x="22" y="478"/>
                      </a:lnTo>
                      <a:lnTo>
                        <a:pt x="26" y="466"/>
                      </a:lnTo>
                      <a:lnTo>
                        <a:pt x="26" y="456"/>
                      </a:lnTo>
                      <a:lnTo>
                        <a:pt x="24" y="444"/>
                      </a:lnTo>
                      <a:lnTo>
                        <a:pt x="22" y="440"/>
                      </a:lnTo>
                      <a:lnTo>
                        <a:pt x="24" y="436"/>
                      </a:lnTo>
                      <a:lnTo>
                        <a:pt x="30" y="424"/>
                      </a:lnTo>
                      <a:lnTo>
                        <a:pt x="34" y="416"/>
                      </a:lnTo>
                      <a:lnTo>
                        <a:pt x="32" y="406"/>
                      </a:lnTo>
                      <a:lnTo>
                        <a:pt x="30" y="398"/>
                      </a:lnTo>
                      <a:lnTo>
                        <a:pt x="24" y="390"/>
                      </a:lnTo>
                      <a:lnTo>
                        <a:pt x="18" y="378"/>
                      </a:lnTo>
                      <a:lnTo>
                        <a:pt x="12" y="360"/>
                      </a:lnTo>
                      <a:lnTo>
                        <a:pt x="6" y="342"/>
                      </a:lnTo>
                      <a:lnTo>
                        <a:pt x="0" y="332"/>
                      </a:lnTo>
                      <a:lnTo>
                        <a:pt x="2" y="310"/>
                      </a:lnTo>
                      <a:lnTo>
                        <a:pt x="2" y="294"/>
                      </a:lnTo>
                      <a:lnTo>
                        <a:pt x="4" y="286"/>
                      </a:lnTo>
                      <a:lnTo>
                        <a:pt x="6" y="280"/>
                      </a:lnTo>
                      <a:lnTo>
                        <a:pt x="10" y="274"/>
                      </a:lnTo>
                      <a:lnTo>
                        <a:pt x="16" y="268"/>
                      </a:lnTo>
                      <a:lnTo>
                        <a:pt x="34" y="252"/>
                      </a:lnTo>
                      <a:lnTo>
                        <a:pt x="52" y="230"/>
                      </a:lnTo>
                      <a:lnTo>
                        <a:pt x="94" y="178"/>
                      </a:lnTo>
                      <a:lnTo>
                        <a:pt x="132" y="128"/>
                      </a:lnTo>
                      <a:lnTo>
                        <a:pt x="150" y="110"/>
                      </a:lnTo>
                      <a:lnTo>
                        <a:pt x="162" y="98"/>
                      </a:lnTo>
                      <a:lnTo>
                        <a:pt x="172" y="92"/>
                      </a:lnTo>
                      <a:lnTo>
                        <a:pt x="182" y="82"/>
                      </a:lnTo>
                      <a:lnTo>
                        <a:pt x="192" y="76"/>
                      </a:lnTo>
                      <a:lnTo>
                        <a:pt x="202" y="70"/>
                      </a:lnTo>
                      <a:lnTo>
                        <a:pt x="220" y="52"/>
                      </a:lnTo>
                      <a:lnTo>
                        <a:pt x="236" y="34"/>
                      </a:lnTo>
                      <a:lnTo>
                        <a:pt x="252" y="16"/>
                      </a:lnTo>
                      <a:lnTo>
                        <a:pt x="270" y="0"/>
                      </a:lnTo>
                      <a:lnTo>
                        <a:pt x="278" y="0"/>
                      </a:lnTo>
                      <a:lnTo>
                        <a:pt x="284" y="2"/>
                      </a:lnTo>
                      <a:lnTo>
                        <a:pt x="296" y="6"/>
                      </a:lnTo>
                      <a:lnTo>
                        <a:pt x="308" y="12"/>
                      </a:lnTo>
                      <a:lnTo>
                        <a:pt x="324" y="20"/>
                      </a:lnTo>
                      <a:close/>
                    </a:path>
                  </a:pathLst>
                </a:custGeom>
                <a:solidFill>
                  <a:srgbClr val="E3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95" name="Freeform 96"/>
                <p:cNvSpPr>
                  <a:spLocks/>
                </p:cNvSpPr>
                <p:nvPr/>
              </p:nvSpPr>
              <p:spPr bwMode="auto">
                <a:xfrm>
                  <a:off x="6329365" y="2187566"/>
                  <a:ext cx="53975" cy="15875"/>
                </a:xfrm>
                <a:custGeom>
                  <a:avLst/>
                  <a:gdLst>
                    <a:gd name="T0" fmla="*/ 2147483646 w 34"/>
                    <a:gd name="T1" fmla="*/ 0 h 10"/>
                    <a:gd name="T2" fmla="*/ 2147483646 w 34"/>
                    <a:gd name="T3" fmla="*/ 0 h 10"/>
                    <a:gd name="T4" fmla="*/ 2147483646 w 34"/>
                    <a:gd name="T5" fmla="*/ 2147483646 h 10"/>
                    <a:gd name="T6" fmla="*/ 2147483646 w 34"/>
                    <a:gd name="T7" fmla="*/ 2147483646 h 10"/>
                    <a:gd name="T8" fmla="*/ 2147483646 w 34"/>
                    <a:gd name="T9" fmla="*/ 2147483646 h 10"/>
                    <a:gd name="T10" fmla="*/ 2147483646 w 34"/>
                    <a:gd name="T11" fmla="*/ 2147483646 h 10"/>
                    <a:gd name="T12" fmla="*/ 0 w 34"/>
                    <a:gd name="T13" fmla="*/ 2147483646 h 10"/>
                    <a:gd name="T14" fmla="*/ 0 w 34"/>
                    <a:gd name="T15" fmla="*/ 2147483646 h 10"/>
                    <a:gd name="T16" fmla="*/ 2147483646 w 34"/>
                    <a:gd name="T17" fmla="*/ 2147483646 h 10"/>
                    <a:gd name="T18" fmla="*/ 2147483646 w 34"/>
                    <a:gd name="T19" fmla="*/ 2147483646 h 10"/>
                    <a:gd name="T20" fmla="*/ 2147483646 w 34"/>
                    <a:gd name="T21" fmla="*/ 0 h 10"/>
                    <a:gd name="T22" fmla="*/ 2147483646 w 34"/>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10"/>
                    <a:gd name="T38" fmla="*/ 34 w 34"/>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10">
                      <a:moveTo>
                        <a:pt x="34" y="0"/>
                      </a:moveTo>
                      <a:lnTo>
                        <a:pt x="34" y="0"/>
                      </a:lnTo>
                      <a:lnTo>
                        <a:pt x="32" y="4"/>
                      </a:lnTo>
                      <a:lnTo>
                        <a:pt x="30" y="8"/>
                      </a:lnTo>
                      <a:lnTo>
                        <a:pt x="28" y="10"/>
                      </a:lnTo>
                      <a:lnTo>
                        <a:pt x="24" y="10"/>
                      </a:lnTo>
                      <a:lnTo>
                        <a:pt x="0" y="2"/>
                      </a:lnTo>
                      <a:lnTo>
                        <a:pt x="10" y="4"/>
                      </a:lnTo>
                      <a:lnTo>
                        <a:pt x="18" y="2"/>
                      </a:lnTo>
                      <a:lnTo>
                        <a:pt x="34" y="0"/>
                      </a:lnTo>
                      <a:close/>
                    </a:path>
                  </a:pathLst>
                </a:custGeom>
                <a:solidFill>
                  <a:srgbClr val="E3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96" name="Freeform 97"/>
                <p:cNvSpPr>
                  <a:spLocks/>
                </p:cNvSpPr>
                <p:nvPr/>
              </p:nvSpPr>
              <p:spPr bwMode="auto">
                <a:xfrm>
                  <a:off x="6243640" y="2228841"/>
                  <a:ext cx="101600" cy="34925"/>
                </a:xfrm>
                <a:custGeom>
                  <a:avLst/>
                  <a:gdLst>
                    <a:gd name="T0" fmla="*/ 2147483646 w 64"/>
                    <a:gd name="T1" fmla="*/ 2147483646 h 22"/>
                    <a:gd name="T2" fmla="*/ 2147483646 w 64"/>
                    <a:gd name="T3" fmla="*/ 2147483646 h 22"/>
                    <a:gd name="T4" fmla="*/ 2147483646 w 64"/>
                    <a:gd name="T5" fmla="*/ 2147483646 h 22"/>
                    <a:gd name="T6" fmla="*/ 2147483646 w 64"/>
                    <a:gd name="T7" fmla="*/ 2147483646 h 22"/>
                    <a:gd name="T8" fmla="*/ 2147483646 w 64"/>
                    <a:gd name="T9" fmla="*/ 2147483646 h 22"/>
                    <a:gd name="T10" fmla="*/ 2147483646 w 64"/>
                    <a:gd name="T11" fmla="*/ 2147483646 h 22"/>
                    <a:gd name="T12" fmla="*/ 2147483646 w 64"/>
                    <a:gd name="T13" fmla="*/ 2147483646 h 22"/>
                    <a:gd name="T14" fmla="*/ 2147483646 w 64"/>
                    <a:gd name="T15" fmla="*/ 2147483646 h 22"/>
                    <a:gd name="T16" fmla="*/ 2147483646 w 64"/>
                    <a:gd name="T17" fmla="*/ 2147483646 h 22"/>
                    <a:gd name="T18" fmla="*/ 2147483646 w 64"/>
                    <a:gd name="T19" fmla="*/ 2147483646 h 22"/>
                    <a:gd name="T20" fmla="*/ 2147483646 w 64"/>
                    <a:gd name="T21" fmla="*/ 2147483646 h 22"/>
                    <a:gd name="T22" fmla="*/ 2147483646 w 64"/>
                    <a:gd name="T23" fmla="*/ 2147483646 h 22"/>
                    <a:gd name="T24" fmla="*/ 2147483646 w 64"/>
                    <a:gd name="T25" fmla="*/ 2147483646 h 22"/>
                    <a:gd name="T26" fmla="*/ 2147483646 w 64"/>
                    <a:gd name="T27" fmla="*/ 2147483646 h 22"/>
                    <a:gd name="T28" fmla="*/ 2147483646 w 64"/>
                    <a:gd name="T29" fmla="*/ 2147483646 h 22"/>
                    <a:gd name="T30" fmla="*/ 2147483646 w 64"/>
                    <a:gd name="T31" fmla="*/ 2147483646 h 22"/>
                    <a:gd name="T32" fmla="*/ 2147483646 w 64"/>
                    <a:gd name="T33" fmla="*/ 2147483646 h 22"/>
                    <a:gd name="T34" fmla="*/ 2147483646 w 64"/>
                    <a:gd name="T35" fmla="*/ 2147483646 h 22"/>
                    <a:gd name="T36" fmla="*/ 2147483646 w 64"/>
                    <a:gd name="T37" fmla="*/ 2147483646 h 22"/>
                    <a:gd name="T38" fmla="*/ 0 w 64"/>
                    <a:gd name="T39" fmla="*/ 2147483646 h 22"/>
                    <a:gd name="T40" fmla="*/ 0 w 64"/>
                    <a:gd name="T41" fmla="*/ 2147483646 h 22"/>
                    <a:gd name="T42" fmla="*/ 2147483646 w 64"/>
                    <a:gd name="T43" fmla="*/ 2147483646 h 22"/>
                    <a:gd name="T44" fmla="*/ 2147483646 w 64"/>
                    <a:gd name="T45" fmla="*/ 2147483646 h 22"/>
                    <a:gd name="T46" fmla="*/ 2147483646 w 64"/>
                    <a:gd name="T47" fmla="*/ 0 h 22"/>
                    <a:gd name="T48" fmla="*/ 2147483646 w 64"/>
                    <a:gd name="T49" fmla="*/ 0 h 22"/>
                    <a:gd name="T50" fmla="*/ 2147483646 w 64"/>
                    <a:gd name="T51" fmla="*/ 2147483646 h 22"/>
                    <a:gd name="T52" fmla="*/ 2147483646 w 64"/>
                    <a:gd name="T53" fmla="*/ 2147483646 h 22"/>
                    <a:gd name="T54" fmla="*/ 2147483646 w 64"/>
                    <a:gd name="T55" fmla="*/ 2147483646 h 22"/>
                    <a:gd name="T56" fmla="*/ 2147483646 w 64"/>
                    <a:gd name="T57" fmla="*/ 2147483646 h 22"/>
                    <a:gd name="T58" fmla="*/ 2147483646 w 64"/>
                    <a:gd name="T59" fmla="*/ 2147483646 h 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4"/>
                    <a:gd name="T91" fmla="*/ 0 h 22"/>
                    <a:gd name="T92" fmla="*/ 64 w 64"/>
                    <a:gd name="T93" fmla="*/ 22 h 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4" h="22">
                      <a:moveTo>
                        <a:pt x="64" y="16"/>
                      </a:moveTo>
                      <a:lnTo>
                        <a:pt x="64" y="16"/>
                      </a:lnTo>
                      <a:lnTo>
                        <a:pt x="60" y="20"/>
                      </a:lnTo>
                      <a:lnTo>
                        <a:pt x="56" y="22"/>
                      </a:lnTo>
                      <a:lnTo>
                        <a:pt x="50" y="22"/>
                      </a:lnTo>
                      <a:lnTo>
                        <a:pt x="46" y="22"/>
                      </a:lnTo>
                      <a:lnTo>
                        <a:pt x="40" y="20"/>
                      </a:lnTo>
                      <a:lnTo>
                        <a:pt x="34" y="20"/>
                      </a:lnTo>
                      <a:lnTo>
                        <a:pt x="30" y="20"/>
                      </a:lnTo>
                      <a:lnTo>
                        <a:pt x="26" y="16"/>
                      </a:lnTo>
                      <a:lnTo>
                        <a:pt x="24" y="20"/>
                      </a:lnTo>
                      <a:lnTo>
                        <a:pt x="22" y="20"/>
                      </a:lnTo>
                      <a:lnTo>
                        <a:pt x="14" y="22"/>
                      </a:lnTo>
                      <a:lnTo>
                        <a:pt x="8" y="16"/>
                      </a:lnTo>
                      <a:lnTo>
                        <a:pt x="0" y="14"/>
                      </a:lnTo>
                      <a:lnTo>
                        <a:pt x="6" y="6"/>
                      </a:lnTo>
                      <a:lnTo>
                        <a:pt x="12" y="2"/>
                      </a:lnTo>
                      <a:lnTo>
                        <a:pt x="18" y="0"/>
                      </a:lnTo>
                      <a:lnTo>
                        <a:pt x="26" y="2"/>
                      </a:lnTo>
                      <a:lnTo>
                        <a:pt x="36" y="8"/>
                      </a:lnTo>
                      <a:lnTo>
                        <a:pt x="48" y="14"/>
                      </a:lnTo>
                      <a:lnTo>
                        <a:pt x="64" y="16"/>
                      </a:lnTo>
                      <a:close/>
                    </a:path>
                  </a:pathLst>
                </a:custGeom>
                <a:solidFill>
                  <a:srgbClr val="E3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97" name="Freeform 98"/>
                <p:cNvSpPr>
                  <a:spLocks/>
                </p:cNvSpPr>
                <p:nvPr/>
              </p:nvSpPr>
              <p:spPr bwMode="auto">
                <a:xfrm>
                  <a:off x="6199190" y="2270116"/>
                  <a:ext cx="120650" cy="57150"/>
                </a:xfrm>
                <a:custGeom>
                  <a:avLst/>
                  <a:gdLst>
                    <a:gd name="T0" fmla="*/ 2147483646 w 76"/>
                    <a:gd name="T1" fmla="*/ 2147483646 h 36"/>
                    <a:gd name="T2" fmla="*/ 2147483646 w 76"/>
                    <a:gd name="T3" fmla="*/ 2147483646 h 36"/>
                    <a:gd name="T4" fmla="*/ 2147483646 w 76"/>
                    <a:gd name="T5" fmla="*/ 2147483646 h 36"/>
                    <a:gd name="T6" fmla="*/ 2147483646 w 76"/>
                    <a:gd name="T7" fmla="*/ 2147483646 h 36"/>
                    <a:gd name="T8" fmla="*/ 2147483646 w 76"/>
                    <a:gd name="T9" fmla="*/ 2147483646 h 36"/>
                    <a:gd name="T10" fmla="*/ 2147483646 w 76"/>
                    <a:gd name="T11" fmla="*/ 2147483646 h 36"/>
                    <a:gd name="T12" fmla="*/ 2147483646 w 76"/>
                    <a:gd name="T13" fmla="*/ 2147483646 h 36"/>
                    <a:gd name="T14" fmla="*/ 2147483646 w 76"/>
                    <a:gd name="T15" fmla="*/ 2147483646 h 36"/>
                    <a:gd name="T16" fmla="*/ 2147483646 w 76"/>
                    <a:gd name="T17" fmla="*/ 2147483646 h 36"/>
                    <a:gd name="T18" fmla="*/ 2147483646 w 76"/>
                    <a:gd name="T19" fmla="*/ 2147483646 h 36"/>
                    <a:gd name="T20" fmla="*/ 2147483646 w 76"/>
                    <a:gd name="T21" fmla="*/ 2147483646 h 36"/>
                    <a:gd name="T22" fmla="*/ 2147483646 w 76"/>
                    <a:gd name="T23" fmla="*/ 2147483646 h 36"/>
                    <a:gd name="T24" fmla="*/ 2147483646 w 76"/>
                    <a:gd name="T25" fmla="*/ 2147483646 h 36"/>
                    <a:gd name="T26" fmla="*/ 2147483646 w 76"/>
                    <a:gd name="T27" fmla="*/ 2147483646 h 36"/>
                    <a:gd name="T28" fmla="*/ 2147483646 w 76"/>
                    <a:gd name="T29" fmla="*/ 2147483646 h 36"/>
                    <a:gd name="T30" fmla="*/ 2147483646 w 76"/>
                    <a:gd name="T31" fmla="*/ 2147483646 h 36"/>
                    <a:gd name="T32" fmla="*/ 2147483646 w 76"/>
                    <a:gd name="T33" fmla="*/ 2147483646 h 36"/>
                    <a:gd name="T34" fmla="*/ 2147483646 w 76"/>
                    <a:gd name="T35" fmla="*/ 2147483646 h 36"/>
                    <a:gd name="T36" fmla="*/ 2147483646 w 76"/>
                    <a:gd name="T37" fmla="*/ 2147483646 h 36"/>
                    <a:gd name="T38" fmla="*/ 2147483646 w 76"/>
                    <a:gd name="T39" fmla="*/ 2147483646 h 36"/>
                    <a:gd name="T40" fmla="*/ 2147483646 w 76"/>
                    <a:gd name="T41" fmla="*/ 2147483646 h 36"/>
                    <a:gd name="T42" fmla="*/ 0 w 76"/>
                    <a:gd name="T43" fmla="*/ 2147483646 h 36"/>
                    <a:gd name="T44" fmla="*/ 0 w 76"/>
                    <a:gd name="T45" fmla="*/ 2147483646 h 36"/>
                    <a:gd name="T46" fmla="*/ 2147483646 w 76"/>
                    <a:gd name="T47" fmla="*/ 2147483646 h 36"/>
                    <a:gd name="T48" fmla="*/ 2147483646 w 76"/>
                    <a:gd name="T49" fmla="*/ 2147483646 h 36"/>
                    <a:gd name="T50" fmla="*/ 2147483646 w 76"/>
                    <a:gd name="T51" fmla="*/ 0 h 36"/>
                    <a:gd name="T52" fmla="*/ 2147483646 w 76"/>
                    <a:gd name="T53" fmla="*/ 0 h 36"/>
                    <a:gd name="T54" fmla="*/ 2147483646 w 76"/>
                    <a:gd name="T55" fmla="*/ 0 h 36"/>
                    <a:gd name="T56" fmla="*/ 2147483646 w 76"/>
                    <a:gd name="T57" fmla="*/ 2147483646 h 36"/>
                    <a:gd name="T58" fmla="*/ 2147483646 w 76"/>
                    <a:gd name="T59" fmla="*/ 2147483646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6"/>
                    <a:gd name="T91" fmla="*/ 0 h 36"/>
                    <a:gd name="T92" fmla="*/ 76 w 76"/>
                    <a:gd name="T93" fmla="*/ 36 h 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6" h="36">
                      <a:moveTo>
                        <a:pt x="32" y="4"/>
                      </a:moveTo>
                      <a:lnTo>
                        <a:pt x="32" y="4"/>
                      </a:lnTo>
                      <a:lnTo>
                        <a:pt x="34" y="8"/>
                      </a:lnTo>
                      <a:lnTo>
                        <a:pt x="34" y="12"/>
                      </a:lnTo>
                      <a:lnTo>
                        <a:pt x="32" y="20"/>
                      </a:lnTo>
                      <a:lnTo>
                        <a:pt x="36" y="18"/>
                      </a:lnTo>
                      <a:lnTo>
                        <a:pt x="38" y="16"/>
                      </a:lnTo>
                      <a:lnTo>
                        <a:pt x="40" y="12"/>
                      </a:lnTo>
                      <a:lnTo>
                        <a:pt x="42" y="8"/>
                      </a:lnTo>
                      <a:lnTo>
                        <a:pt x="50" y="4"/>
                      </a:lnTo>
                      <a:lnTo>
                        <a:pt x="60" y="2"/>
                      </a:lnTo>
                      <a:lnTo>
                        <a:pt x="64" y="2"/>
                      </a:lnTo>
                      <a:lnTo>
                        <a:pt x="68" y="4"/>
                      </a:lnTo>
                      <a:lnTo>
                        <a:pt x="72" y="6"/>
                      </a:lnTo>
                      <a:lnTo>
                        <a:pt x="76" y="12"/>
                      </a:lnTo>
                      <a:lnTo>
                        <a:pt x="56" y="22"/>
                      </a:lnTo>
                      <a:lnTo>
                        <a:pt x="42" y="28"/>
                      </a:lnTo>
                      <a:lnTo>
                        <a:pt x="32" y="36"/>
                      </a:lnTo>
                      <a:lnTo>
                        <a:pt x="0" y="30"/>
                      </a:lnTo>
                      <a:lnTo>
                        <a:pt x="12" y="16"/>
                      </a:lnTo>
                      <a:lnTo>
                        <a:pt x="16" y="8"/>
                      </a:lnTo>
                      <a:lnTo>
                        <a:pt x="18" y="0"/>
                      </a:lnTo>
                      <a:lnTo>
                        <a:pt x="26" y="0"/>
                      </a:lnTo>
                      <a:lnTo>
                        <a:pt x="32" y="4"/>
                      </a:lnTo>
                      <a:close/>
                    </a:path>
                  </a:pathLst>
                </a:custGeom>
                <a:solidFill>
                  <a:srgbClr val="E3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98" name="Freeform 99"/>
                <p:cNvSpPr>
                  <a:spLocks/>
                </p:cNvSpPr>
                <p:nvPr/>
              </p:nvSpPr>
              <p:spPr bwMode="auto">
                <a:xfrm>
                  <a:off x="5276096" y="2421465"/>
                  <a:ext cx="624328" cy="944414"/>
                </a:xfrm>
                <a:custGeom>
                  <a:avLst/>
                  <a:gdLst/>
                  <a:ahLst/>
                  <a:cxnLst>
                    <a:cxn ang="0">
                      <a:pos x="394" y="16"/>
                    </a:cxn>
                    <a:cxn ang="0">
                      <a:pos x="390" y="22"/>
                    </a:cxn>
                    <a:cxn ang="0">
                      <a:pos x="370" y="18"/>
                    </a:cxn>
                    <a:cxn ang="0">
                      <a:pos x="356" y="18"/>
                    </a:cxn>
                    <a:cxn ang="0">
                      <a:pos x="350" y="22"/>
                    </a:cxn>
                    <a:cxn ang="0">
                      <a:pos x="336" y="24"/>
                    </a:cxn>
                    <a:cxn ang="0">
                      <a:pos x="316" y="24"/>
                    </a:cxn>
                    <a:cxn ang="0">
                      <a:pos x="310" y="30"/>
                    </a:cxn>
                    <a:cxn ang="0">
                      <a:pos x="300" y="36"/>
                    </a:cxn>
                    <a:cxn ang="0">
                      <a:pos x="294" y="40"/>
                    </a:cxn>
                    <a:cxn ang="0">
                      <a:pos x="288" y="42"/>
                    </a:cxn>
                    <a:cxn ang="0">
                      <a:pos x="288" y="52"/>
                    </a:cxn>
                    <a:cxn ang="0">
                      <a:pos x="286" y="58"/>
                    </a:cxn>
                    <a:cxn ang="0">
                      <a:pos x="278" y="78"/>
                    </a:cxn>
                    <a:cxn ang="0">
                      <a:pos x="266" y="88"/>
                    </a:cxn>
                    <a:cxn ang="0">
                      <a:pos x="248" y="96"/>
                    </a:cxn>
                    <a:cxn ang="0">
                      <a:pos x="230" y="100"/>
                    </a:cxn>
                    <a:cxn ang="0">
                      <a:pos x="190" y="140"/>
                    </a:cxn>
                    <a:cxn ang="0">
                      <a:pos x="106" y="210"/>
                    </a:cxn>
                    <a:cxn ang="0">
                      <a:pos x="64" y="236"/>
                    </a:cxn>
                    <a:cxn ang="0">
                      <a:pos x="78" y="338"/>
                    </a:cxn>
                    <a:cxn ang="0">
                      <a:pos x="86" y="420"/>
                    </a:cxn>
                    <a:cxn ang="0">
                      <a:pos x="94" y="510"/>
                    </a:cxn>
                    <a:cxn ang="0">
                      <a:pos x="84" y="530"/>
                    </a:cxn>
                    <a:cxn ang="0">
                      <a:pos x="58" y="562"/>
                    </a:cxn>
                    <a:cxn ang="0">
                      <a:pos x="50" y="580"/>
                    </a:cxn>
                    <a:cxn ang="0">
                      <a:pos x="52" y="588"/>
                    </a:cxn>
                    <a:cxn ang="0">
                      <a:pos x="56" y="578"/>
                    </a:cxn>
                    <a:cxn ang="0">
                      <a:pos x="70" y="562"/>
                    </a:cxn>
                    <a:cxn ang="0">
                      <a:pos x="80" y="558"/>
                    </a:cxn>
                    <a:cxn ang="0">
                      <a:pos x="94" y="548"/>
                    </a:cxn>
                    <a:cxn ang="0">
                      <a:pos x="90" y="556"/>
                    </a:cxn>
                    <a:cxn ang="0">
                      <a:pos x="82" y="580"/>
                    </a:cxn>
                    <a:cxn ang="0">
                      <a:pos x="70" y="606"/>
                    </a:cxn>
                    <a:cxn ang="0">
                      <a:pos x="64" y="612"/>
                    </a:cxn>
                    <a:cxn ang="0">
                      <a:pos x="30" y="636"/>
                    </a:cxn>
                    <a:cxn ang="0">
                      <a:pos x="22" y="646"/>
                    </a:cxn>
                    <a:cxn ang="0">
                      <a:pos x="16" y="620"/>
                    </a:cxn>
                    <a:cxn ang="0">
                      <a:pos x="8" y="526"/>
                    </a:cxn>
                    <a:cxn ang="0">
                      <a:pos x="6" y="360"/>
                    </a:cxn>
                    <a:cxn ang="0">
                      <a:pos x="4" y="288"/>
                    </a:cxn>
                    <a:cxn ang="0">
                      <a:pos x="0" y="240"/>
                    </a:cxn>
                    <a:cxn ang="0">
                      <a:pos x="2" y="218"/>
                    </a:cxn>
                    <a:cxn ang="0">
                      <a:pos x="10" y="206"/>
                    </a:cxn>
                    <a:cxn ang="0">
                      <a:pos x="14" y="202"/>
                    </a:cxn>
                    <a:cxn ang="0">
                      <a:pos x="58" y="176"/>
                    </a:cxn>
                    <a:cxn ang="0">
                      <a:pos x="220" y="62"/>
                    </a:cxn>
                    <a:cxn ang="0">
                      <a:pos x="258" y="28"/>
                    </a:cxn>
                    <a:cxn ang="0">
                      <a:pos x="298" y="0"/>
                    </a:cxn>
                    <a:cxn ang="0">
                      <a:pos x="348" y="6"/>
                    </a:cxn>
                    <a:cxn ang="0">
                      <a:pos x="394" y="16"/>
                    </a:cxn>
                  </a:cxnLst>
                  <a:rect l="0" t="0" r="r" b="b"/>
                  <a:pathLst>
                    <a:path w="394" h="646">
                      <a:moveTo>
                        <a:pt x="394" y="16"/>
                      </a:moveTo>
                      <a:lnTo>
                        <a:pt x="394" y="16"/>
                      </a:lnTo>
                      <a:lnTo>
                        <a:pt x="394" y="20"/>
                      </a:lnTo>
                      <a:lnTo>
                        <a:pt x="390" y="22"/>
                      </a:lnTo>
                      <a:lnTo>
                        <a:pt x="378" y="20"/>
                      </a:lnTo>
                      <a:lnTo>
                        <a:pt x="370" y="18"/>
                      </a:lnTo>
                      <a:lnTo>
                        <a:pt x="362" y="18"/>
                      </a:lnTo>
                      <a:lnTo>
                        <a:pt x="356" y="18"/>
                      </a:lnTo>
                      <a:lnTo>
                        <a:pt x="350" y="22"/>
                      </a:lnTo>
                      <a:lnTo>
                        <a:pt x="350" y="22"/>
                      </a:lnTo>
                      <a:lnTo>
                        <a:pt x="342" y="24"/>
                      </a:lnTo>
                      <a:lnTo>
                        <a:pt x="336" y="24"/>
                      </a:lnTo>
                      <a:lnTo>
                        <a:pt x="326" y="22"/>
                      </a:lnTo>
                      <a:lnTo>
                        <a:pt x="316" y="24"/>
                      </a:lnTo>
                      <a:lnTo>
                        <a:pt x="314" y="26"/>
                      </a:lnTo>
                      <a:lnTo>
                        <a:pt x="310" y="30"/>
                      </a:lnTo>
                      <a:lnTo>
                        <a:pt x="310" y="30"/>
                      </a:lnTo>
                      <a:lnTo>
                        <a:pt x="300" y="36"/>
                      </a:lnTo>
                      <a:lnTo>
                        <a:pt x="294" y="40"/>
                      </a:lnTo>
                      <a:lnTo>
                        <a:pt x="294" y="40"/>
                      </a:lnTo>
                      <a:lnTo>
                        <a:pt x="290" y="40"/>
                      </a:lnTo>
                      <a:lnTo>
                        <a:pt x="288" y="42"/>
                      </a:lnTo>
                      <a:lnTo>
                        <a:pt x="288" y="46"/>
                      </a:lnTo>
                      <a:lnTo>
                        <a:pt x="288" y="52"/>
                      </a:lnTo>
                      <a:lnTo>
                        <a:pt x="286" y="58"/>
                      </a:lnTo>
                      <a:lnTo>
                        <a:pt x="286" y="58"/>
                      </a:lnTo>
                      <a:lnTo>
                        <a:pt x="284" y="68"/>
                      </a:lnTo>
                      <a:lnTo>
                        <a:pt x="278" y="78"/>
                      </a:lnTo>
                      <a:lnTo>
                        <a:pt x="272" y="84"/>
                      </a:lnTo>
                      <a:lnTo>
                        <a:pt x="266" y="88"/>
                      </a:lnTo>
                      <a:lnTo>
                        <a:pt x="258" y="92"/>
                      </a:lnTo>
                      <a:lnTo>
                        <a:pt x="248" y="96"/>
                      </a:lnTo>
                      <a:lnTo>
                        <a:pt x="232" y="100"/>
                      </a:lnTo>
                      <a:lnTo>
                        <a:pt x="230" y="100"/>
                      </a:lnTo>
                      <a:lnTo>
                        <a:pt x="230" y="100"/>
                      </a:lnTo>
                      <a:lnTo>
                        <a:pt x="190" y="140"/>
                      </a:lnTo>
                      <a:lnTo>
                        <a:pt x="148" y="178"/>
                      </a:lnTo>
                      <a:lnTo>
                        <a:pt x="106" y="210"/>
                      </a:lnTo>
                      <a:lnTo>
                        <a:pt x="64" y="236"/>
                      </a:lnTo>
                      <a:lnTo>
                        <a:pt x="64" y="236"/>
                      </a:lnTo>
                      <a:lnTo>
                        <a:pt x="72" y="284"/>
                      </a:lnTo>
                      <a:lnTo>
                        <a:pt x="78" y="338"/>
                      </a:lnTo>
                      <a:lnTo>
                        <a:pt x="78" y="338"/>
                      </a:lnTo>
                      <a:lnTo>
                        <a:pt x="86" y="420"/>
                      </a:lnTo>
                      <a:lnTo>
                        <a:pt x="94" y="510"/>
                      </a:lnTo>
                      <a:lnTo>
                        <a:pt x="94" y="510"/>
                      </a:lnTo>
                      <a:lnTo>
                        <a:pt x="90" y="520"/>
                      </a:lnTo>
                      <a:lnTo>
                        <a:pt x="84" y="530"/>
                      </a:lnTo>
                      <a:lnTo>
                        <a:pt x="68" y="552"/>
                      </a:lnTo>
                      <a:lnTo>
                        <a:pt x="58" y="562"/>
                      </a:lnTo>
                      <a:lnTo>
                        <a:pt x="52" y="572"/>
                      </a:lnTo>
                      <a:lnTo>
                        <a:pt x="50" y="580"/>
                      </a:lnTo>
                      <a:lnTo>
                        <a:pt x="50" y="584"/>
                      </a:lnTo>
                      <a:lnTo>
                        <a:pt x="52" y="588"/>
                      </a:lnTo>
                      <a:lnTo>
                        <a:pt x="52" y="588"/>
                      </a:lnTo>
                      <a:lnTo>
                        <a:pt x="56" y="578"/>
                      </a:lnTo>
                      <a:lnTo>
                        <a:pt x="62" y="568"/>
                      </a:lnTo>
                      <a:lnTo>
                        <a:pt x="70" y="562"/>
                      </a:lnTo>
                      <a:lnTo>
                        <a:pt x="80" y="558"/>
                      </a:lnTo>
                      <a:lnTo>
                        <a:pt x="80" y="558"/>
                      </a:lnTo>
                      <a:lnTo>
                        <a:pt x="88" y="554"/>
                      </a:lnTo>
                      <a:lnTo>
                        <a:pt x="94" y="548"/>
                      </a:lnTo>
                      <a:lnTo>
                        <a:pt x="94" y="548"/>
                      </a:lnTo>
                      <a:lnTo>
                        <a:pt x="90" y="556"/>
                      </a:lnTo>
                      <a:lnTo>
                        <a:pt x="86" y="564"/>
                      </a:lnTo>
                      <a:lnTo>
                        <a:pt x="82" y="580"/>
                      </a:lnTo>
                      <a:lnTo>
                        <a:pt x="76" y="598"/>
                      </a:lnTo>
                      <a:lnTo>
                        <a:pt x="70" y="606"/>
                      </a:lnTo>
                      <a:lnTo>
                        <a:pt x="64" y="612"/>
                      </a:lnTo>
                      <a:lnTo>
                        <a:pt x="64" y="612"/>
                      </a:lnTo>
                      <a:lnTo>
                        <a:pt x="42" y="628"/>
                      </a:lnTo>
                      <a:lnTo>
                        <a:pt x="30" y="636"/>
                      </a:lnTo>
                      <a:lnTo>
                        <a:pt x="22" y="646"/>
                      </a:lnTo>
                      <a:lnTo>
                        <a:pt x="22" y="646"/>
                      </a:lnTo>
                      <a:lnTo>
                        <a:pt x="18" y="634"/>
                      </a:lnTo>
                      <a:lnTo>
                        <a:pt x="16" y="620"/>
                      </a:lnTo>
                      <a:lnTo>
                        <a:pt x="12" y="578"/>
                      </a:lnTo>
                      <a:lnTo>
                        <a:pt x="8" y="526"/>
                      </a:lnTo>
                      <a:lnTo>
                        <a:pt x="8" y="470"/>
                      </a:lnTo>
                      <a:lnTo>
                        <a:pt x="6" y="360"/>
                      </a:lnTo>
                      <a:lnTo>
                        <a:pt x="4" y="288"/>
                      </a:lnTo>
                      <a:lnTo>
                        <a:pt x="4" y="288"/>
                      </a:lnTo>
                      <a:lnTo>
                        <a:pt x="4" y="266"/>
                      </a:lnTo>
                      <a:lnTo>
                        <a:pt x="0" y="240"/>
                      </a:lnTo>
                      <a:lnTo>
                        <a:pt x="0" y="228"/>
                      </a:lnTo>
                      <a:lnTo>
                        <a:pt x="2" y="218"/>
                      </a:lnTo>
                      <a:lnTo>
                        <a:pt x="6" y="208"/>
                      </a:lnTo>
                      <a:lnTo>
                        <a:pt x="10" y="206"/>
                      </a:lnTo>
                      <a:lnTo>
                        <a:pt x="14" y="202"/>
                      </a:lnTo>
                      <a:lnTo>
                        <a:pt x="14" y="202"/>
                      </a:lnTo>
                      <a:lnTo>
                        <a:pt x="32" y="192"/>
                      </a:lnTo>
                      <a:lnTo>
                        <a:pt x="58" y="176"/>
                      </a:lnTo>
                      <a:lnTo>
                        <a:pt x="122" y="130"/>
                      </a:lnTo>
                      <a:lnTo>
                        <a:pt x="220" y="62"/>
                      </a:lnTo>
                      <a:lnTo>
                        <a:pt x="220" y="62"/>
                      </a:lnTo>
                      <a:lnTo>
                        <a:pt x="258" y="28"/>
                      </a:lnTo>
                      <a:lnTo>
                        <a:pt x="278" y="12"/>
                      </a:lnTo>
                      <a:lnTo>
                        <a:pt x="298" y="0"/>
                      </a:lnTo>
                      <a:lnTo>
                        <a:pt x="298" y="0"/>
                      </a:lnTo>
                      <a:lnTo>
                        <a:pt x="348" y="6"/>
                      </a:lnTo>
                      <a:lnTo>
                        <a:pt x="394" y="16"/>
                      </a:lnTo>
                      <a:lnTo>
                        <a:pt x="394" y="16"/>
                      </a:lnTo>
                      <a:close/>
                    </a:path>
                  </a:pathLst>
                </a:custGeom>
                <a:solidFill>
                  <a:schemeClr val="accent6">
                    <a:lumMod val="40000"/>
                    <a:lumOff val="60000"/>
                  </a:schemeClr>
                </a:solidFill>
                <a:ln w="9525">
                  <a:noFill/>
                  <a:round/>
                  <a:headEnd/>
                  <a:tailEnd/>
                </a:ln>
              </p:spPr>
              <p:txBody>
                <a:bodyPr/>
                <a:lstStyle/>
                <a:p>
                  <a:pPr eaLnBrk="1" fontAlgn="auto" hangingPunct="1">
                    <a:spcBef>
                      <a:spcPts val="0"/>
                    </a:spcBef>
                    <a:spcAft>
                      <a:spcPts val="0"/>
                    </a:spcAft>
                    <a:defRPr/>
                  </a:pPr>
                  <a:endParaRPr lang="ja-JP" altLang="en-US">
                    <a:latin typeface="+mn-lt"/>
                    <a:ea typeface="+mn-ea"/>
                    <a:cs typeface="メイリオ" pitchFamily="50" charset="-128"/>
                  </a:endParaRPr>
                </a:p>
              </p:txBody>
            </p:sp>
            <p:sp>
              <p:nvSpPr>
                <p:cNvPr id="499" name="Freeform 100"/>
                <p:cNvSpPr>
                  <a:spLocks/>
                </p:cNvSpPr>
                <p:nvPr/>
              </p:nvSpPr>
              <p:spPr bwMode="auto">
                <a:xfrm>
                  <a:off x="5700715" y="2387591"/>
                  <a:ext cx="184150" cy="120650"/>
                </a:xfrm>
                <a:custGeom>
                  <a:avLst/>
                  <a:gdLst>
                    <a:gd name="T0" fmla="*/ 2147483646 w 116"/>
                    <a:gd name="T1" fmla="*/ 2147483646 h 76"/>
                    <a:gd name="T2" fmla="*/ 2147483646 w 116"/>
                    <a:gd name="T3" fmla="*/ 2147483646 h 76"/>
                    <a:gd name="T4" fmla="*/ 2147483646 w 116"/>
                    <a:gd name="T5" fmla="*/ 2147483646 h 76"/>
                    <a:gd name="T6" fmla="*/ 2147483646 w 116"/>
                    <a:gd name="T7" fmla="*/ 2147483646 h 76"/>
                    <a:gd name="T8" fmla="*/ 2147483646 w 116"/>
                    <a:gd name="T9" fmla="*/ 2147483646 h 76"/>
                    <a:gd name="T10" fmla="*/ 2147483646 w 116"/>
                    <a:gd name="T11" fmla="*/ 2147483646 h 76"/>
                    <a:gd name="T12" fmla="*/ 2147483646 w 116"/>
                    <a:gd name="T13" fmla="*/ 2147483646 h 76"/>
                    <a:gd name="T14" fmla="*/ 2147483646 w 116"/>
                    <a:gd name="T15" fmla="*/ 2147483646 h 76"/>
                    <a:gd name="T16" fmla="*/ 2147483646 w 116"/>
                    <a:gd name="T17" fmla="*/ 2147483646 h 76"/>
                    <a:gd name="T18" fmla="*/ 2147483646 w 116"/>
                    <a:gd name="T19" fmla="*/ 2147483646 h 76"/>
                    <a:gd name="T20" fmla="*/ 0 w 116"/>
                    <a:gd name="T21" fmla="*/ 2147483646 h 76"/>
                    <a:gd name="T22" fmla="*/ 0 w 116"/>
                    <a:gd name="T23" fmla="*/ 2147483646 h 76"/>
                    <a:gd name="T24" fmla="*/ 2147483646 w 116"/>
                    <a:gd name="T25" fmla="*/ 2147483646 h 76"/>
                    <a:gd name="T26" fmla="*/ 2147483646 w 116"/>
                    <a:gd name="T27" fmla="*/ 2147483646 h 76"/>
                    <a:gd name="T28" fmla="*/ 2147483646 w 116"/>
                    <a:gd name="T29" fmla="*/ 2147483646 h 76"/>
                    <a:gd name="T30" fmla="*/ 2147483646 w 116"/>
                    <a:gd name="T31" fmla="*/ 2147483646 h 76"/>
                    <a:gd name="T32" fmla="*/ 2147483646 w 116"/>
                    <a:gd name="T33" fmla="*/ 2147483646 h 76"/>
                    <a:gd name="T34" fmla="*/ 2147483646 w 116"/>
                    <a:gd name="T35" fmla="*/ 2147483646 h 76"/>
                    <a:gd name="T36" fmla="*/ 2147483646 w 116"/>
                    <a:gd name="T37" fmla="*/ 2147483646 h 76"/>
                    <a:gd name="T38" fmla="*/ 2147483646 w 116"/>
                    <a:gd name="T39" fmla="*/ 2147483646 h 76"/>
                    <a:gd name="T40" fmla="*/ 2147483646 w 116"/>
                    <a:gd name="T41" fmla="*/ 2147483646 h 76"/>
                    <a:gd name="T42" fmla="*/ 2147483646 w 116"/>
                    <a:gd name="T43" fmla="*/ 2147483646 h 76"/>
                    <a:gd name="T44" fmla="*/ 2147483646 w 116"/>
                    <a:gd name="T45" fmla="*/ 2147483646 h 76"/>
                    <a:gd name="T46" fmla="*/ 2147483646 w 116"/>
                    <a:gd name="T47" fmla="*/ 2147483646 h 76"/>
                    <a:gd name="T48" fmla="*/ 2147483646 w 116"/>
                    <a:gd name="T49" fmla="*/ 0 h 76"/>
                    <a:gd name="T50" fmla="*/ 2147483646 w 116"/>
                    <a:gd name="T51" fmla="*/ 0 h 76"/>
                    <a:gd name="T52" fmla="*/ 2147483646 w 116"/>
                    <a:gd name="T53" fmla="*/ 2147483646 h 76"/>
                    <a:gd name="T54" fmla="*/ 2147483646 w 116"/>
                    <a:gd name="T55" fmla="*/ 2147483646 h 76"/>
                    <a:gd name="T56" fmla="*/ 2147483646 w 116"/>
                    <a:gd name="T57" fmla="*/ 2147483646 h 76"/>
                    <a:gd name="T58" fmla="*/ 2147483646 w 116"/>
                    <a:gd name="T59" fmla="*/ 2147483646 h 76"/>
                    <a:gd name="T60" fmla="*/ 2147483646 w 116"/>
                    <a:gd name="T61" fmla="*/ 2147483646 h 76"/>
                    <a:gd name="T62" fmla="*/ 2147483646 w 116"/>
                    <a:gd name="T63" fmla="*/ 2147483646 h 76"/>
                    <a:gd name="T64" fmla="*/ 2147483646 w 116"/>
                    <a:gd name="T65" fmla="*/ 2147483646 h 76"/>
                    <a:gd name="T66" fmla="*/ 2147483646 w 116"/>
                    <a:gd name="T67" fmla="*/ 2147483646 h 76"/>
                    <a:gd name="T68" fmla="*/ 2147483646 w 116"/>
                    <a:gd name="T69" fmla="*/ 2147483646 h 76"/>
                    <a:gd name="T70" fmla="*/ 2147483646 w 116"/>
                    <a:gd name="T71" fmla="*/ 2147483646 h 76"/>
                    <a:gd name="T72" fmla="*/ 2147483646 w 116"/>
                    <a:gd name="T73" fmla="*/ 2147483646 h 76"/>
                    <a:gd name="T74" fmla="*/ 2147483646 w 116"/>
                    <a:gd name="T75" fmla="*/ 2147483646 h 76"/>
                    <a:gd name="T76" fmla="*/ 2147483646 w 116"/>
                    <a:gd name="T77" fmla="*/ 2147483646 h 76"/>
                    <a:gd name="T78" fmla="*/ 2147483646 w 116"/>
                    <a:gd name="T79" fmla="*/ 2147483646 h 76"/>
                    <a:gd name="T80" fmla="*/ 2147483646 w 116"/>
                    <a:gd name="T81" fmla="*/ 2147483646 h 76"/>
                    <a:gd name="T82" fmla="*/ 2147483646 w 116"/>
                    <a:gd name="T83" fmla="*/ 2147483646 h 76"/>
                    <a:gd name="T84" fmla="*/ 2147483646 w 116"/>
                    <a:gd name="T85" fmla="*/ 2147483646 h 76"/>
                    <a:gd name="T86" fmla="*/ 2147483646 w 116"/>
                    <a:gd name="T87" fmla="*/ 2147483646 h 76"/>
                    <a:gd name="T88" fmla="*/ 2147483646 w 116"/>
                    <a:gd name="T89" fmla="*/ 2147483646 h 76"/>
                    <a:gd name="T90" fmla="*/ 2147483646 w 116"/>
                    <a:gd name="T91" fmla="*/ 2147483646 h 76"/>
                    <a:gd name="T92" fmla="*/ 2147483646 w 116"/>
                    <a:gd name="T93" fmla="*/ 2147483646 h 76"/>
                    <a:gd name="T94" fmla="*/ 2147483646 w 116"/>
                    <a:gd name="T95" fmla="*/ 2147483646 h 76"/>
                    <a:gd name="T96" fmla="*/ 2147483646 w 116"/>
                    <a:gd name="T97" fmla="*/ 2147483646 h 76"/>
                    <a:gd name="T98" fmla="*/ 2147483646 w 116"/>
                    <a:gd name="T99" fmla="*/ 2147483646 h 76"/>
                    <a:gd name="T100" fmla="*/ 2147483646 w 116"/>
                    <a:gd name="T101" fmla="*/ 2147483646 h 76"/>
                    <a:gd name="T102" fmla="*/ 2147483646 w 116"/>
                    <a:gd name="T103" fmla="*/ 2147483646 h 76"/>
                    <a:gd name="T104" fmla="*/ 2147483646 w 116"/>
                    <a:gd name="T105" fmla="*/ 2147483646 h 76"/>
                    <a:gd name="T106" fmla="*/ 2147483646 w 116"/>
                    <a:gd name="T107" fmla="*/ 2147483646 h 76"/>
                    <a:gd name="T108" fmla="*/ 2147483646 w 116"/>
                    <a:gd name="T109" fmla="*/ 2147483646 h 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6"/>
                    <a:gd name="T166" fmla="*/ 0 h 76"/>
                    <a:gd name="T167" fmla="*/ 116 w 116"/>
                    <a:gd name="T168" fmla="*/ 76 h 7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6" h="76">
                      <a:moveTo>
                        <a:pt x="60" y="50"/>
                      </a:moveTo>
                      <a:lnTo>
                        <a:pt x="60" y="50"/>
                      </a:lnTo>
                      <a:lnTo>
                        <a:pt x="52" y="54"/>
                      </a:lnTo>
                      <a:lnTo>
                        <a:pt x="46" y="60"/>
                      </a:lnTo>
                      <a:lnTo>
                        <a:pt x="42" y="66"/>
                      </a:lnTo>
                      <a:lnTo>
                        <a:pt x="34" y="72"/>
                      </a:lnTo>
                      <a:lnTo>
                        <a:pt x="26" y="74"/>
                      </a:lnTo>
                      <a:lnTo>
                        <a:pt x="16" y="76"/>
                      </a:lnTo>
                      <a:lnTo>
                        <a:pt x="8" y="76"/>
                      </a:lnTo>
                      <a:lnTo>
                        <a:pt x="0" y="74"/>
                      </a:lnTo>
                      <a:lnTo>
                        <a:pt x="12" y="62"/>
                      </a:lnTo>
                      <a:lnTo>
                        <a:pt x="22" y="48"/>
                      </a:lnTo>
                      <a:lnTo>
                        <a:pt x="32" y="34"/>
                      </a:lnTo>
                      <a:lnTo>
                        <a:pt x="36" y="18"/>
                      </a:lnTo>
                      <a:lnTo>
                        <a:pt x="44" y="14"/>
                      </a:lnTo>
                      <a:lnTo>
                        <a:pt x="52" y="10"/>
                      </a:lnTo>
                      <a:lnTo>
                        <a:pt x="64" y="8"/>
                      </a:lnTo>
                      <a:lnTo>
                        <a:pt x="76" y="8"/>
                      </a:lnTo>
                      <a:lnTo>
                        <a:pt x="82" y="6"/>
                      </a:lnTo>
                      <a:lnTo>
                        <a:pt x="88" y="2"/>
                      </a:lnTo>
                      <a:lnTo>
                        <a:pt x="94" y="0"/>
                      </a:lnTo>
                      <a:lnTo>
                        <a:pt x="102" y="0"/>
                      </a:lnTo>
                      <a:lnTo>
                        <a:pt x="108" y="2"/>
                      </a:lnTo>
                      <a:lnTo>
                        <a:pt x="116" y="2"/>
                      </a:lnTo>
                      <a:lnTo>
                        <a:pt x="110" y="6"/>
                      </a:lnTo>
                      <a:lnTo>
                        <a:pt x="104" y="8"/>
                      </a:lnTo>
                      <a:lnTo>
                        <a:pt x="98" y="10"/>
                      </a:lnTo>
                      <a:lnTo>
                        <a:pt x="90" y="10"/>
                      </a:lnTo>
                      <a:lnTo>
                        <a:pt x="100" y="14"/>
                      </a:lnTo>
                      <a:lnTo>
                        <a:pt x="102" y="16"/>
                      </a:lnTo>
                      <a:lnTo>
                        <a:pt x="102" y="18"/>
                      </a:lnTo>
                      <a:lnTo>
                        <a:pt x="98" y="18"/>
                      </a:lnTo>
                      <a:lnTo>
                        <a:pt x="96" y="20"/>
                      </a:lnTo>
                      <a:lnTo>
                        <a:pt x="78" y="20"/>
                      </a:lnTo>
                      <a:lnTo>
                        <a:pt x="58" y="24"/>
                      </a:lnTo>
                      <a:lnTo>
                        <a:pt x="50" y="28"/>
                      </a:lnTo>
                      <a:lnTo>
                        <a:pt x="42" y="34"/>
                      </a:lnTo>
                      <a:lnTo>
                        <a:pt x="36" y="40"/>
                      </a:lnTo>
                      <a:lnTo>
                        <a:pt x="30" y="46"/>
                      </a:lnTo>
                      <a:lnTo>
                        <a:pt x="32" y="48"/>
                      </a:lnTo>
                      <a:lnTo>
                        <a:pt x="36" y="46"/>
                      </a:lnTo>
                      <a:lnTo>
                        <a:pt x="52" y="40"/>
                      </a:lnTo>
                      <a:lnTo>
                        <a:pt x="60" y="38"/>
                      </a:lnTo>
                      <a:lnTo>
                        <a:pt x="70" y="36"/>
                      </a:lnTo>
                      <a:lnTo>
                        <a:pt x="76" y="36"/>
                      </a:lnTo>
                      <a:lnTo>
                        <a:pt x="82" y="40"/>
                      </a:lnTo>
                      <a:lnTo>
                        <a:pt x="60" y="50"/>
                      </a:lnTo>
                      <a:close/>
                    </a:path>
                  </a:pathLst>
                </a:custGeom>
                <a:solidFill>
                  <a:srgbClr val="9274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00" name="Freeform 101"/>
                <p:cNvSpPr>
                  <a:spLocks/>
                </p:cNvSpPr>
                <p:nvPr/>
              </p:nvSpPr>
              <p:spPr bwMode="auto">
                <a:xfrm>
                  <a:off x="6100765" y="2584441"/>
                  <a:ext cx="98425" cy="85725"/>
                </a:xfrm>
                <a:custGeom>
                  <a:avLst/>
                  <a:gdLst>
                    <a:gd name="T0" fmla="*/ 2147483646 w 62"/>
                    <a:gd name="T1" fmla="*/ 2147483646 h 54"/>
                    <a:gd name="T2" fmla="*/ 2147483646 w 62"/>
                    <a:gd name="T3" fmla="*/ 2147483646 h 54"/>
                    <a:gd name="T4" fmla="*/ 2147483646 w 62"/>
                    <a:gd name="T5" fmla="*/ 2147483646 h 54"/>
                    <a:gd name="T6" fmla="*/ 2147483646 w 62"/>
                    <a:gd name="T7" fmla="*/ 2147483646 h 54"/>
                    <a:gd name="T8" fmla="*/ 2147483646 w 62"/>
                    <a:gd name="T9" fmla="*/ 2147483646 h 54"/>
                    <a:gd name="T10" fmla="*/ 2147483646 w 62"/>
                    <a:gd name="T11" fmla="*/ 2147483646 h 54"/>
                    <a:gd name="T12" fmla="*/ 2147483646 w 62"/>
                    <a:gd name="T13" fmla="*/ 2147483646 h 54"/>
                    <a:gd name="T14" fmla="*/ 2147483646 w 62"/>
                    <a:gd name="T15" fmla="*/ 2147483646 h 54"/>
                    <a:gd name="T16" fmla="*/ 2147483646 w 62"/>
                    <a:gd name="T17" fmla="*/ 2147483646 h 54"/>
                    <a:gd name="T18" fmla="*/ 2147483646 w 62"/>
                    <a:gd name="T19" fmla="*/ 2147483646 h 54"/>
                    <a:gd name="T20" fmla="*/ 2147483646 w 62"/>
                    <a:gd name="T21" fmla="*/ 2147483646 h 54"/>
                    <a:gd name="T22" fmla="*/ 0 w 62"/>
                    <a:gd name="T23" fmla="*/ 2147483646 h 54"/>
                    <a:gd name="T24" fmla="*/ 0 w 62"/>
                    <a:gd name="T25" fmla="*/ 2147483646 h 54"/>
                    <a:gd name="T26" fmla="*/ 2147483646 w 62"/>
                    <a:gd name="T27" fmla="*/ 0 h 54"/>
                    <a:gd name="T28" fmla="*/ 2147483646 w 62"/>
                    <a:gd name="T29" fmla="*/ 0 h 54"/>
                    <a:gd name="T30" fmla="*/ 2147483646 w 62"/>
                    <a:gd name="T31" fmla="*/ 0 h 54"/>
                    <a:gd name="T32" fmla="*/ 2147483646 w 62"/>
                    <a:gd name="T33" fmla="*/ 0 h 54"/>
                    <a:gd name="T34" fmla="*/ 2147483646 w 62"/>
                    <a:gd name="T35" fmla="*/ 2147483646 h 54"/>
                    <a:gd name="T36" fmla="*/ 2147483646 w 62"/>
                    <a:gd name="T37" fmla="*/ 2147483646 h 54"/>
                    <a:gd name="T38" fmla="*/ 2147483646 w 62"/>
                    <a:gd name="T39" fmla="*/ 2147483646 h 54"/>
                    <a:gd name="T40" fmla="*/ 2147483646 w 62"/>
                    <a:gd name="T41" fmla="*/ 2147483646 h 54"/>
                    <a:gd name="T42" fmla="*/ 2147483646 w 62"/>
                    <a:gd name="T43" fmla="*/ 2147483646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2"/>
                    <a:gd name="T67" fmla="*/ 0 h 54"/>
                    <a:gd name="T68" fmla="*/ 62 w 62"/>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2" h="54">
                      <a:moveTo>
                        <a:pt x="62" y="20"/>
                      </a:moveTo>
                      <a:lnTo>
                        <a:pt x="62" y="20"/>
                      </a:lnTo>
                      <a:lnTo>
                        <a:pt x="52" y="26"/>
                      </a:lnTo>
                      <a:lnTo>
                        <a:pt x="42" y="34"/>
                      </a:lnTo>
                      <a:lnTo>
                        <a:pt x="34" y="42"/>
                      </a:lnTo>
                      <a:lnTo>
                        <a:pt x="28" y="54"/>
                      </a:lnTo>
                      <a:lnTo>
                        <a:pt x="16" y="48"/>
                      </a:lnTo>
                      <a:lnTo>
                        <a:pt x="2" y="46"/>
                      </a:lnTo>
                      <a:lnTo>
                        <a:pt x="2" y="26"/>
                      </a:lnTo>
                      <a:lnTo>
                        <a:pt x="0" y="2"/>
                      </a:lnTo>
                      <a:lnTo>
                        <a:pt x="4" y="0"/>
                      </a:lnTo>
                      <a:lnTo>
                        <a:pt x="10" y="0"/>
                      </a:lnTo>
                      <a:lnTo>
                        <a:pt x="20" y="0"/>
                      </a:lnTo>
                      <a:lnTo>
                        <a:pt x="32" y="4"/>
                      </a:lnTo>
                      <a:lnTo>
                        <a:pt x="42" y="8"/>
                      </a:lnTo>
                      <a:lnTo>
                        <a:pt x="52" y="14"/>
                      </a:lnTo>
                      <a:lnTo>
                        <a:pt x="62"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01" name="Freeform 102"/>
                <p:cNvSpPr>
                  <a:spLocks/>
                </p:cNvSpPr>
                <p:nvPr/>
              </p:nvSpPr>
              <p:spPr bwMode="auto">
                <a:xfrm>
                  <a:off x="5957890" y="2590791"/>
                  <a:ext cx="130175" cy="123825"/>
                </a:xfrm>
                <a:custGeom>
                  <a:avLst/>
                  <a:gdLst>
                    <a:gd name="T0" fmla="*/ 2147483646 w 82"/>
                    <a:gd name="T1" fmla="*/ 2147483646 h 78"/>
                    <a:gd name="T2" fmla="*/ 2147483646 w 82"/>
                    <a:gd name="T3" fmla="*/ 2147483646 h 78"/>
                    <a:gd name="T4" fmla="*/ 2147483646 w 82"/>
                    <a:gd name="T5" fmla="*/ 2147483646 h 78"/>
                    <a:gd name="T6" fmla="*/ 2147483646 w 82"/>
                    <a:gd name="T7" fmla="*/ 2147483646 h 78"/>
                    <a:gd name="T8" fmla="*/ 2147483646 w 82"/>
                    <a:gd name="T9" fmla="*/ 2147483646 h 78"/>
                    <a:gd name="T10" fmla="*/ 2147483646 w 82"/>
                    <a:gd name="T11" fmla="*/ 2147483646 h 78"/>
                    <a:gd name="T12" fmla="*/ 2147483646 w 82"/>
                    <a:gd name="T13" fmla="*/ 2147483646 h 78"/>
                    <a:gd name="T14" fmla="*/ 0 w 82"/>
                    <a:gd name="T15" fmla="*/ 2147483646 h 78"/>
                    <a:gd name="T16" fmla="*/ 0 w 82"/>
                    <a:gd name="T17" fmla="*/ 2147483646 h 78"/>
                    <a:gd name="T18" fmla="*/ 0 w 82"/>
                    <a:gd name="T19" fmla="*/ 2147483646 h 78"/>
                    <a:gd name="T20" fmla="*/ 0 w 82"/>
                    <a:gd name="T21" fmla="*/ 2147483646 h 78"/>
                    <a:gd name="T22" fmla="*/ 2147483646 w 82"/>
                    <a:gd name="T23" fmla="*/ 2147483646 h 78"/>
                    <a:gd name="T24" fmla="*/ 2147483646 w 82"/>
                    <a:gd name="T25" fmla="*/ 2147483646 h 78"/>
                    <a:gd name="T26" fmla="*/ 2147483646 w 82"/>
                    <a:gd name="T27" fmla="*/ 2147483646 h 78"/>
                    <a:gd name="T28" fmla="*/ 2147483646 w 82"/>
                    <a:gd name="T29" fmla="*/ 2147483646 h 78"/>
                    <a:gd name="T30" fmla="*/ 2147483646 w 82"/>
                    <a:gd name="T31" fmla="*/ 2147483646 h 78"/>
                    <a:gd name="T32" fmla="*/ 2147483646 w 82"/>
                    <a:gd name="T33" fmla="*/ 0 h 78"/>
                    <a:gd name="T34" fmla="*/ 2147483646 w 82"/>
                    <a:gd name="T35" fmla="*/ 0 h 78"/>
                    <a:gd name="T36" fmla="*/ 2147483646 w 82"/>
                    <a:gd name="T37" fmla="*/ 0 h 78"/>
                    <a:gd name="T38" fmla="*/ 2147483646 w 82"/>
                    <a:gd name="T39" fmla="*/ 2147483646 h 78"/>
                    <a:gd name="T40" fmla="*/ 2147483646 w 82"/>
                    <a:gd name="T41" fmla="*/ 2147483646 h 78"/>
                    <a:gd name="T42" fmla="*/ 2147483646 w 82"/>
                    <a:gd name="T43" fmla="*/ 2147483646 h 78"/>
                    <a:gd name="T44" fmla="*/ 2147483646 w 82"/>
                    <a:gd name="T45" fmla="*/ 2147483646 h 78"/>
                    <a:gd name="T46" fmla="*/ 2147483646 w 82"/>
                    <a:gd name="T47" fmla="*/ 2147483646 h 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2"/>
                    <a:gd name="T73" fmla="*/ 0 h 78"/>
                    <a:gd name="T74" fmla="*/ 82 w 82"/>
                    <a:gd name="T75" fmla="*/ 78 h 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2" h="78">
                      <a:moveTo>
                        <a:pt x="80" y="40"/>
                      </a:moveTo>
                      <a:lnTo>
                        <a:pt x="80" y="40"/>
                      </a:lnTo>
                      <a:lnTo>
                        <a:pt x="58" y="46"/>
                      </a:lnTo>
                      <a:lnTo>
                        <a:pt x="38" y="54"/>
                      </a:lnTo>
                      <a:lnTo>
                        <a:pt x="18" y="64"/>
                      </a:lnTo>
                      <a:lnTo>
                        <a:pt x="2" y="78"/>
                      </a:lnTo>
                      <a:lnTo>
                        <a:pt x="0" y="76"/>
                      </a:lnTo>
                      <a:lnTo>
                        <a:pt x="0" y="72"/>
                      </a:lnTo>
                      <a:lnTo>
                        <a:pt x="0" y="66"/>
                      </a:lnTo>
                      <a:lnTo>
                        <a:pt x="4" y="54"/>
                      </a:lnTo>
                      <a:lnTo>
                        <a:pt x="12" y="44"/>
                      </a:lnTo>
                      <a:lnTo>
                        <a:pt x="20" y="34"/>
                      </a:lnTo>
                      <a:lnTo>
                        <a:pt x="30" y="26"/>
                      </a:lnTo>
                      <a:lnTo>
                        <a:pt x="50" y="10"/>
                      </a:lnTo>
                      <a:lnTo>
                        <a:pt x="72" y="0"/>
                      </a:lnTo>
                      <a:lnTo>
                        <a:pt x="76" y="0"/>
                      </a:lnTo>
                      <a:lnTo>
                        <a:pt x="78" y="4"/>
                      </a:lnTo>
                      <a:lnTo>
                        <a:pt x="80" y="16"/>
                      </a:lnTo>
                      <a:lnTo>
                        <a:pt x="82" y="30"/>
                      </a:lnTo>
                      <a:lnTo>
                        <a:pt x="80" y="4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02" name="Freeform 103"/>
                <p:cNvSpPr>
                  <a:spLocks/>
                </p:cNvSpPr>
                <p:nvPr/>
              </p:nvSpPr>
              <p:spPr bwMode="auto">
                <a:xfrm>
                  <a:off x="6157915" y="2635241"/>
                  <a:ext cx="82550" cy="187325"/>
                </a:xfrm>
                <a:custGeom>
                  <a:avLst/>
                  <a:gdLst>
                    <a:gd name="T0" fmla="*/ 2147483646 w 52"/>
                    <a:gd name="T1" fmla="*/ 2147483646 h 118"/>
                    <a:gd name="T2" fmla="*/ 2147483646 w 52"/>
                    <a:gd name="T3" fmla="*/ 2147483646 h 118"/>
                    <a:gd name="T4" fmla="*/ 2147483646 w 52"/>
                    <a:gd name="T5" fmla="*/ 2147483646 h 118"/>
                    <a:gd name="T6" fmla="*/ 2147483646 w 52"/>
                    <a:gd name="T7" fmla="*/ 2147483646 h 118"/>
                    <a:gd name="T8" fmla="*/ 2147483646 w 52"/>
                    <a:gd name="T9" fmla="*/ 2147483646 h 118"/>
                    <a:gd name="T10" fmla="*/ 2147483646 w 52"/>
                    <a:gd name="T11" fmla="*/ 2147483646 h 118"/>
                    <a:gd name="T12" fmla="*/ 2147483646 w 52"/>
                    <a:gd name="T13" fmla="*/ 2147483646 h 118"/>
                    <a:gd name="T14" fmla="*/ 2147483646 w 52"/>
                    <a:gd name="T15" fmla="*/ 2147483646 h 118"/>
                    <a:gd name="T16" fmla="*/ 2147483646 w 52"/>
                    <a:gd name="T17" fmla="*/ 2147483646 h 118"/>
                    <a:gd name="T18" fmla="*/ 2147483646 w 52"/>
                    <a:gd name="T19" fmla="*/ 2147483646 h 118"/>
                    <a:gd name="T20" fmla="*/ 2147483646 w 52"/>
                    <a:gd name="T21" fmla="*/ 2147483646 h 118"/>
                    <a:gd name="T22" fmla="*/ 2147483646 w 52"/>
                    <a:gd name="T23" fmla="*/ 2147483646 h 118"/>
                    <a:gd name="T24" fmla="*/ 2147483646 w 52"/>
                    <a:gd name="T25" fmla="*/ 2147483646 h 118"/>
                    <a:gd name="T26" fmla="*/ 2147483646 w 52"/>
                    <a:gd name="T27" fmla="*/ 2147483646 h 118"/>
                    <a:gd name="T28" fmla="*/ 2147483646 w 52"/>
                    <a:gd name="T29" fmla="*/ 2147483646 h 118"/>
                    <a:gd name="T30" fmla="*/ 2147483646 w 52"/>
                    <a:gd name="T31" fmla="*/ 2147483646 h 118"/>
                    <a:gd name="T32" fmla="*/ 0 w 52"/>
                    <a:gd name="T33" fmla="*/ 2147483646 h 118"/>
                    <a:gd name="T34" fmla="*/ 0 w 52"/>
                    <a:gd name="T35" fmla="*/ 2147483646 h 118"/>
                    <a:gd name="T36" fmla="*/ 2147483646 w 52"/>
                    <a:gd name="T37" fmla="*/ 2147483646 h 118"/>
                    <a:gd name="T38" fmla="*/ 2147483646 w 52"/>
                    <a:gd name="T39" fmla="*/ 2147483646 h 118"/>
                    <a:gd name="T40" fmla="*/ 2147483646 w 52"/>
                    <a:gd name="T41" fmla="*/ 0 h 118"/>
                    <a:gd name="T42" fmla="*/ 2147483646 w 52"/>
                    <a:gd name="T43" fmla="*/ 0 h 118"/>
                    <a:gd name="T44" fmla="*/ 2147483646 w 52"/>
                    <a:gd name="T45" fmla="*/ 2147483646 h 118"/>
                    <a:gd name="T46" fmla="*/ 2147483646 w 52"/>
                    <a:gd name="T47" fmla="*/ 2147483646 h 1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
                    <a:gd name="T73" fmla="*/ 0 h 118"/>
                    <a:gd name="T74" fmla="*/ 52 w 52"/>
                    <a:gd name="T75" fmla="*/ 118 h 1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 h="118">
                      <a:moveTo>
                        <a:pt x="40" y="2"/>
                      </a:moveTo>
                      <a:lnTo>
                        <a:pt x="40" y="2"/>
                      </a:lnTo>
                      <a:lnTo>
                        <a:pt x="46" y="14"/>
                      </a:lnTo>
                      <a:lnTo>
                        <a:pt x="50" y="28"/>
                      </a:lnTo>
                      <a:lnTo>
                        <a:pt x="52" y="44"/>
                      </a:lnTo>
                      <a:lnTo>
                        <a:pt x="52" y="62"/>
                      </a:lnTo>
                      <a:lnTo>
                        <a:pt x="52" y="78"/>
                      </a:lnTo>
                      <a:lnTo>
                        <a:pt x="48" y="94"/>
                      </a:lnTo>
                      <a:lnTo>
                        <a:pt x="44" y="106"/>
                      </a:lnTo>
                      <a:lnTo>
                        <a:pt x="40" y="118"/>
                      </a:lnTo>
                      <a:lnTo>
                        <a:pt x="36" y="92"/>
                      </a:lnTo>
                      <a:lnTo>
                        <a:pt x="28" y="66"/>
                      </a:lnTo>
                      <a:lnTo>
                        <a:pt x="24" y="54"/>
                      </a:lnTo>
                      <a:lnTo>
                        <a:pt x="18" y="42"/>
                      </a:lnTo>
                      <a:lnTo>
                        <a:pt x="10" y="32"/>
                      </a:lnTo>
                      <a:lnTo>
                        <a:pt x="0" y="24"/>
                      </a:lnTo>
                      <a:lnTo>
                        <a:pt x="6" y="14"/>
                      </a:lnTo>
                      <a:lnTo>
                        <a:pt x="18" y="6"/>
                      </a:lnTo>
                      <a:lnTo>
                        <a:pt x="30" y="0"/>
                      </a:lnTo>
                      <a:lnTo>
                        <a:pt x="36" y="0"/>
                      </a:lnTo>
                      <a:lnTo>
                        <a:pt x="40" y="2"/>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03" name="Freeform 104"/>
                <p:cNvSpPr>
                  <a:spLocks/>
                </p:cNvSpPr>
                <p:nvPr/>
              </p:nvSpPr>
              <p:spPr bwMode="auto">
                <a:xfrm>
                  <a:off x="5462590" y="2666991"/>
                  <a:ext cx="352425" cy="304800"/>
                </a:xfrm>
                <a:custGeom>
                  <a:avLst/>
                  <a:gdLst>
                    <a:gd name="T0" fmla="*/ 2147483646 w 222"/>
                    <a:gd name="T1" fmla="*/ 2147483646 h 192"/>
                    <a:gd name="T2" fmla="*/ 2147483646 w 222"/>
                    <a:gd name="T3" fmla="*/ 0 h 192"/>
                    <a:gd name="T4" fmla="*/ 2147483646 w 222"/>
                    <a:gd name="T5" fmla="*/ 2147483646 h 192"/>
                    <a:gd name="T6" fmla="*/ 2147483646 w 222"/>
                    <a:gd name="T7" fmla="*/ 2147483646 h 192"/>
                    <a:gd name="T8" fmla="*/ 2147483646 w 222"/>
                    <a:gd name="T9" fmla="*/ 2147483646 h 192"/>
                    <a:gd name="T10" fmla="*/ 2147483646 w 222"/>
                    <a:gd name="T11" fmla="*/ 2147483646 h 192"/>
                    <a:gd name="T12" fmla="*/ 2147483646 w 222"/>
                    <a:gd name="T13" fmla="*/ 2147483646 h 192"/>
                    <a:gd name="T14" fmla="*/ 2147483646 w 222"/>
                    <a:gd name="T15" fmla="*/ 2147483646 h 192"/>
                    <a:gd name="T16" fmla="*/ 2147483646 w 222"/>
                    <a:gd name="T17" fmla="*/ 2147483646 h 192"/>
                    <a:gd name="T18" fmla="*/ 2147483646 w 222"/>
                    <a:gd name="T19" fmla="*/ 2147483646 h 192"/>
                    <a:gd name="T20" fmla="*/ 2147483646 w 222"/>
                    <a:gd name="T21" fmla="*/ 2147483646 h 192"/>
                    <a:gd name="T22" fmla="*/ 2147483646 w 222"/>
                    <a:gd name="T23" fmla="*/ 2147483646 h 192"/>
                    <a:gd name="T24" fmla="*/ 2147483646 w 222"/>
                    <a:gd name="T25" fmla="*/ 2147483646 h 192"/>
                    <a:gd name="T26" fmla="*/ 2147483646 w 222"/>
                    <a:gd name="T27" fmla="*/ 2147483646 h 192"/>
                    <a:gd name="T28" fmla="*/ 2147483646 w 222"/>
                    <a:gd name="T29" fmla="*/ 2147483646 h 192"/>
                    <a:gd name="T30" fmla="*/ 2147483646 w 222"/>
                    <a:gd name="T31" fmla="*/ 2147483646 h 192"/>
                    <a:gd name="T32" fmla="*/ 2147483646 w 222"/>
                    <a:gd name="T33" fmla="*/ 2147483646 h 192"/>
                    <a:gd name="T34" fmla="*/ 2147483646 w 222"/>
                    <a:gd name="T35" fmla="*/ 2147483646 h 192"/>
                    <a:gd name="T36" fmla="*/ 2147483646 w 222"/>
                    <a:gd name="T37" fmla="*/ 2147483646 h 192"/>
                    <a:gd name="T38" fmla="*/ 2147483646 w 222"/>
                    <a:gd name="T39" fmla="*/ 2147483646 h 192"/>
                    <a:gd name="T40" fmla="*/ 2147483646 w 222"/>
                    <a:gd name="T41" fmla="*/ 2147483646 h 192"/>
                    <a:gd name="T42" fmla="*/ 2147483646 w 222"/>
                    <a:gd name="T43" fmla="*/ 2147483646 h 192"/>
                    <a:gd name="T44" fmla="*/ 2147483646 w 222"/>
                    <a:gd name="T45" fmla="*/ 2147483646 h 192"/>
                    <a:gd name="T46" fmla="*/ 2147483646 w 222"/>
                    <a:gd name="T47" fmla="*/ 2147483646 h 192"/>
                    <a:gd name="T48" fmla="*/ 2147483646 w 222"/>
                    <a:gd name="T49" fmla="*/ 2147483646 h 192"/>
                    <a:gd name="T50" fmla="*/ 2147483646 w 222"/>
                    <a:gd name="T51" fmla="*/ 2147483646 h 192"/>
                    <a:gd name="T52" fmla="*/ 2147483646 w 222"/>
                    <a:gd name="T53" fmla="*/ 2147483646 h 192"/>
                    <a:gd name="T54" fmla="*/ 2147483646 w 222"/>
                    <a:gd name="T55" fmla="*/ 2147483646 h 192"/>
                    <a:gd name="T56" fmla="*/ 2147483646 w 222"/>
                    <a:gd name="T57" fmla="*/ 2147483646 h 192"/>
                    <a:gd name="T58" fmla="*/ 2147483646 w 222"/>
                    <a:gd name="T59" fmla="*/ 2147483646 h 192"/>
                    <a:gd name="T60" fmla="*/ 2147483646 w 222"/>
                    <a:gd name="T61" fmla="*/ 2147483646 h 192"/>
                    <a:gd name="T62" fmla="*/ 2147483646 w 222"/>
                    <a:gd name="T63" fmla="*/ 2147483646 h 192"/>
                    <a:gd name="T64" fmla="*/ 2147483646 w 222"/>
                    <a:gd name="T65" fmla="*/ 2147483646 h 192"/>
                    <a:gd name="T66" fmla="*/ 2147483646 w 222"/>
                    <a:gd name="T67" fmla="*/ 2147483646 h 192"/>
                    <a:gd name="T68" fmla="*/ 2147483646 w 222"/>
                    <a:gd name="T69" fmla="*/ 2147483646 h 192"/>
                    <a:gd name="T70" fmla="*/ 2147483646 w 222"/>
                    <a:gd name="T71" fmla="*/ 2147483646 h 192"/>
                    <a:gd name="T72" fmla="*/ 0 w 222"/>
                    <a:gd name="T73" fmla="*/ 2147483646 h 192"/>
                    <a:gd name="T74" fmla="*/ 2147483646 w 222"/>
                    <a:gd name="T75" fmla="*/ 2147483646 h 192"/>
                    <a:gd name="T76" fmla="*/ 2147483646 w 222"/>
                    <a:gd name="T77" fmla="*/ 2147483646 h 192"/>
                    <a:gd name="T78" fmla="*/ 2147483646 w 222"/>
                    <a:gd name="T79" fmla="*/ 2147483646 h 192"/>
                    <a:gd name="T80" fmla="*/ 2147483646 w 222"/>
                    <a:gd name="T81" fmla="*/ 2147483646 h 192"/>
                    <a:gd name="T82" fmla="*/ 2147483646 w 222"/>
                    <a:gd name="T83" fmla="*/ 2147483646 h 192"/>
                    <a:gd name="T84" fmla="*/ 2147483646 w 222"/>
                    <a:gd name="T85" fmla="*/ 2147483646 h 192"/>
                    <a:gd name="T86" fmla="*/ 2147483646 w 222"/>
                    <a:gd name="T87" fmla="*/ 2147483646 h 192"/>
                    <a:gd name="T88" fmla="*/ 2147483646 w 222"/>
                    <a:gd name="T89" fmla="*/ 2147483646 h 192"/>
                    <a:gd name="T90" fmla="*/ 2147483646 w 222"/>
                    <a:gd name="T91" fmla="*/ 2147483646 h 192"/>
                    <a:gd name="T92" fmla="*/ 2147483646 w 222"/>
                    <a:gd name="T93" fmla="*/ 2147483646 h 192"/>
                    <a:gd name="T94" fmla="*/ 2147483646 w 222"/>
                    <a:gd name="T95" fmla="*/ 2147483646 h 1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2"/>
                    <a:gd name="T145" fmla="*/ 0 h 192"/>
                    <a:gd name="T146" fmla="*/ 222 w 222"/>
                    <a:gd name="T147" fmla="*/ 192 h 1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2" h="192">
                      <a:moveTo>
                        <a:pt x="118" y="0"/>
                      </a:moveTo>
                      <a:lnTo>
                        <a:pt x="118" y="0"/>
                      </a:lnTo>
                      <a:lnTo>
                        <a:pt x="120" y="2"/>
                      </a:lnTo>
                      <a:lnTo>
                        <a:pt x="122" y="4"/>
                      </a:lnTo>
                      <a:lnTo>
                        <a:pt x="128" y="4"/>
                      </a:lnTo>
                      <a:lnTo>
                        <a:pt x="130" y="2"/>
                      </a:lnTo>
                      <a:lnTo>
                        <a:pt x="132" y="0"/>
                      </a:lnTo>
                      <a:lnTo>
                        <a:pt x="154" y="6"/>
                      </a:lnTo>
                      <a:lnTo>
                        <a:pt x="172" y="16"/>
                      </a:lnTo>
                      <a:lnTo>
                        <a:pt x="178" y="24"/>
                      </a:lnTo>
                      <a:lnTo>
                        <a:pt x="182" y="32"/>
                      </a:lnTo>
                      <a:lnTo>
                        <a:pt x="188" y="38"/>
                      </a:lnTo>
                      <a:lnTo>
                        <a:pt x="190" y="42"/>
                      </a:lnTo>
                      <a:lnTo>
                        <a:pt x="194" y="44"/>
                      </a:lnTo>
                      <a:lnTo>
                        <a:pt x="200" y="44"/>
                      </a:lnTo>
                      <a:lnTo>
                        <a:pt x="204" y="48"/>
                      </a:lnTo>
                      <a:lnTo>
                        <a:pt x="210" y="56"/>
                      </a:lnTo>
                      <a:lnTo>
                        <a:pt x="210" y="64"/>
                      </a:lnTo>
                      <a:lnTo>
                        <a:pt x="210" y="66"/>
                      </a:lnTo>
                      <a:lnTo>
                        <a:pt x="208" y="70"/>
                      </a:lnTo>
                      <a:lnTo>
                        <a:pt x="208" y="74"/>
                      </a:lnTo>
                      <a:lnTo>
                        <a:pt x="208" y="76"/>
                      </a:lnTo>
                      <a:lnTo>
                        <a:pt x="212" y="80"/>
                      </a:lnTo>
                      <a:lnTo>
                        <a:pt x="218" y="86"/>
                      </a:lnTo>
                      <a:lnTo>
                        <a:pt x="220" y="88"/>
                      </a:lnTo>
                      <a:lnTo>
                        <a:pt x="222" y="92"/>
                      </a:lnTo>
                      <a:lnTo>
                        <a:pt x="222" y="108"/>
                      </a:lnTo>
                      <a:lnTo>
                        <a:pt x="220" y="114"/>
                      </a:lnTo>
                      <a:lnTo>
                        <a:pt x="218" y="118"/>
                      </a:lnTo>
                      <a:lnTo>
                        <a:pt x="216" y="120"/>
                      </a:lnTo>
                      <a:lnTo>
                        <a:pt x="214" y="126"/>
                      </a:lnTo>
                      <a:lnTo>
                        <a:pt x="212" y="134"/>
                      </a:lnTo>
                      <a:lnTo>
                        <a:pt x="212" y="142"/>
                      </a:lnTo>
                      <a:lnTo>
                        <a:pt x="214" y="148"/>
                      </a:lnTo>
                      <a:lnTo>
                        <a:pt x="212" y="156"/>
                      </a:lnTo>
                      <a:lnTo>
                        <a:pt x="210" y="160"/>
                      </a:lnTo>
                      <a:lnTo>
                        <a:pt x="206" y="164"/>
                      </a:lnTo>
                      <a:lnTo>
                        <a:pt x="206" y="174"/>
                      </a:lnTo>
                      <a:lnTo>
                        <a:pt x="204" y="182"/>
                      </a:lnTo>
                      <a:lnTo>
                        <a:pt x="194" y="190"/>
                      </a:lnTo>
                      <a:lnTo>
                        <a:pt x="188" y="192"/>
                      </a:lnTo>
                      <a:lnTo>
                        <a:pt x="184" y="190"/>
                      </a:lnTo>
                      <a:lnTo>
                        <a:pt x="182" y="188"/>
                      </a:lnTo>
                      <a:lnTo>
                        <a:pt x="182" y="182"/>
                      </a:lnTo>
                      <a:lnTo>
                        <a:pt x="184" y="174"/>
                      </a:lnTo>
                      <a:lnTo>
                        <a:pt x="186" y="166"/>
                      </a:lnTo>
                      <a:lnTo>
                        <a:pt x="184" y="164"/>
                      </a:lnTo>
                      <a:lnTo>
                        <a:pt x="184" y="162"/>
                      </a:lnTo>
                      <a:lnTo>
                        <a:pt x="180" y="162"/>
                      </a:lnTo>
                      <a:lnTo>
                        <a:pt x="178" y="164"/>
                      </a:lnTo>
                      <a:lnTo>
                        <a:pt x="178" y="160"/>
                      </a:lnTo>
                      <a:lnTo>
                        <a:pt x="178" y="158"/>
                      </a:lnTo>
                      <a:lnTo>
                        <a:pt x="178" y="152"/>
                      </a:lnTo>
                      <a:lnTo>
                        <a:pt x="178" y="148"/>
                      </a:lnTo>
                      <a:lnTo>
                        <a:pt x="176" y="146"/>
                      </a:lnTo>
                      <a:lnTo>
                        <a:pt x="172" y="144"/>
                      </a:lnTo>
                      <a:lnTo>
                        <a:pt x="174" y="140"/>
                      </a:lnTo>
                      <a:lnTo>
                        <a:pt x="176" y="138"/>
                      </a:lnTo>
                      <a:lnTo>
                        <a:pt x="176" y="134"/>
                      </a:lnTo>
                      <a:lnTo>
                        <a:pt x="172" y="130"/>
                      </a:lnTo>
                      <a:lnTo>
                        <a:pt x="170" y="128"/>
                      </a:lnTo>
                      <a:lnTo>
                        <a:pt x="168" y="126"/>
                      </a:lnTo>
                      <a:lnTo>
                        <a:pt x="172" y="122"/>
                      </a:lnTo>
                      <a:lnTo>
                        <a:pt x="174" y="116"/>
                      </a:lnTo>
                      <a:lnTo>
                        <a:pt x="174" y="108"/>
                      </a:lnTo>
                      <a:lnTo>
                        <a:pt x="172" y="106"/>
                      </a:lnTo>
                      <a:lnTo>
                        <a:pt x="170" y="104"/>
                      </a:lnTo>
                      <a:lnTo>
                        <a:pt x="164" y="108"/>
                      </a:lnTo>
                      <a:lnTo>
                        <a:pt x="158" y="110"/>
                      </a:lnTo>
                      <a:lnTo>
                        <a:pt x="154" y="108"/>
                      </a:lnTo>
                      <a:lnTo>
                        <a:pt x="150" y="106"/>
                      </a:lnTo>
                      <a:lnTo>
                        <a:pt x="148" y="104"/>
                      </a:lnTo>
                      <a:lnTo>
                        <a:pt x="148" y="96"/>
                      </a:lnTo>
                      <a:lnTo>
                        <a:pt x="146" y="88"/>
                      </a:lnTo>
                      <a:lnTo>
                        <a:pt x="144" y="86"/>
                      </a:lnTo>
                      <a:lnTo>
                        <a:pt x="142" y="86"/>
                      </a:lnTo>
                      <a:lnTo>
                        <a:pt x="142" y="92"/>
                      </a:lnTo>
                      <a:lnTo>
                        <a:pt x="140" y="96"/>
                      </a:lnTo>
                      <a:lnTo>
                        <a:pt x="138" y="100"/>
                      </a:lnTo>
                      <a:lnTo>
                        <a:pt x="134" y="100"/>
                      </a:lnTo>
                      <a:lnTo>
                        <a:pt x="126" y="98"/>
                      </a:lnTo>
                      <a:lnTo>
                        <a:pt x="118" y="92"/>
                      </a:lnTo>
                      <a:lnTo>
                        <a:pt x="120" y="90"/>
                      </a:lnTo>
                      <a:lnTo>
                        <a:pt x="122" y="86"/>
                      </a:lnTo>
                      <a:lnTo>
                        <a:pt x="122" y="82"/>
                      </a:lnTo>
                      <a:lnTo>
                        <a:pt x="120" y="80"/>
                      </a:lnTo>
                      <a:lnTo>
                        <a:pt x="112" y="82"/>
                      </a:lnTo>
                      <a:lnTo>
                        <a:pt x="104" y="86"/>
                      </a:lnTo>
                      <a:lnTo>
                        <a:pt x="102" y="82"/>
                      </a:lnTo>
                      <a:lnTo>
                        <a:pt x="102" y="76"/>
                      </a:lnTo>
                      <a:lnTo>
                        <a:pt x="102" y="72"/>
                      </a:lnTo>
                      <a:lnTo>
                        <a:pt x="100" y="70"/>
                      </a:lnTo>
                      <a:lnTo>
                        <a:pt x="96" y="70"/>
                      </a:lnTo>
                      <a:lnTo>
                        <a:pt x="92" y="76"/>
                      </a:lnTo>
                      <a:lnTo>
                        <a:pt x="88" y="80"/>
                      </a:lnTo>
                      <a:lnTo>
                        <a:pt x="82" y="84"/>
                      </a:lnTo>
                      <a:lnTo>
                        <a:pt x="78" y="84"/>
                      </a:lnTo>
                      <a:lnTo>
                        <a:pt x="74" y="80"/>
                      </a:lnTo>
                      <a:lnTo>
                        <a:pt x="74" y="76"/>
                      </a:lnTo>
                      <a:lnTo>
                        <a:pt x="74" y="70"/>
                      </a:lnTo>
                      <a:lnTo>
                        <a:pt x="72" y="66"/>
                      </a:lnTo>
                      <a:lnTo>
                        <a:pt x="62" y="74"/>
                      </a:lnTo>
                      <a:lnTo>
                        <a:pt x="56" y="76"/>
                      </a:lnTo>
                      <a:lnTo>
                        <a:pt x="50" y="76"/>
                      </a:lnTo>
                      <a:lnTo>
                        <a:pt x="46" y="70"/>
                      </a:lnTo>
                      <a:lnTo>
                        <a:pt x="42" y="68"/>
                      </a:lnTo>
                      <a:lnTo>
                        <a:pt x="38" y="68"/>
                      </a:lnTo>
                      <a:lnTo>
                        <a:pt x="30" y="80"/>
                      </a:lnTo>
                      <a:lnTo>
                        <a:pt x="20" y="92"/>
                      </a:lnTo>
                      <a:lnTo>
                        <a:pt x="8" y="102"/>
                      </a:lnTo>
                      <a:lnTo>
                        <a:pt x="4" y="108"/>
                      </a:lnTo>
                      <a:lnTo>
                        <a:pt x="2" y="116"/>
                      </a:lnTo>
                      <a:lnTo>
                        <a:pt x="2" y="108"/>
                      </a:lnTo>
                      <a:lnTo>
                        <a:pt x="0" y="102"/>
                      </a:lnTo>
                      <a:lnTo>
                        <a:pt x="0" y="94"/>
                      </a:lnTo>
                      <a:lnTo>
                        <a:pt x="0" y="86"/>
                      </a:lnTo>
                      <a:lnTo>
                        <a:pt x="2" y="82"/>
                      </a:lnTo>
                      <a:lnTo>
                        <a:pt x="2" y="78"/>
                      </a:lnTo>
                      <a:lnTo>
                        <a:pt x="2" y="74"/>
                      </a:lnTo>
                      <a:lnTo>
                        <a:pt x="2" y="68"/>
                      </a:lnTo>
                      <a:lnTo>
                        <a:pt x="8" y="62"/>
                      </a:lnTo>
                      <a:lnTo>
                        <a:pt x="12" y="56"/>
                      </a:lnTo>
                      <a:lnTo>
                        <a:pt x="14" y="52"/>
                      </a:lnTo>
                      <a:lnTo>
                        <a:pt x="16" y="50"/>
                      </a:lnTo>
                      <a:lnTo>
                        <a:pt x="20" y="50"/>
                      </a:lnTo>
                      <a:lnTo>
                        <a:pt x="24" y="52"/>
                      </a:lnTo>
                      <a:lnTo>
                        <a:pt x="26" y="50"/>
                      </a:lnTo>
                      <a:lnTo>
                        <a:pt x="26" y="48"/>
                      </a:lnTo>
                      <a:lnTo>
                        <a:pt x="26" y="44"/>
                      </a:lnTo>
                      <a:lnTo>
                        <a:pt x="24" y="38"/>
                      </a:lnTo>
                      <a:lnTo>
                        <a:pt x="26" y="34"/>
                      </a:lnTo>
                      <a:lnTo>
                        <a:pt x="32" y="28"/>
                      </a:lnTo>
                      <a:lnTo>
                        <a:pt x="40" y="24"/>
                      </a:lnTo>
                      <a:lnTo>
                        <a:pt x="44" y="24"/>
                      </a:lnTo>
                      <a:lnTo>
                        <a:pt x="50" y="26"/>
                      </a:lnTo>
                      <a:lnTo>
                        <a:pt x="52" y="26"/>
                      </a:lnTo>
                      <a:lnTo>
                        <a:pt x="54" y="26"/>
                      </a:lnTo>
                      <a:lnTo>
                        <a:pt x="56" y="24"/>
                      </a:lnTo>
                      <a:lnTo>
                        <a:pt x="56" y="18"/>
                      </a:lnTo>
                      <a:lnTo>
                        <a:pt x="52" y="14"/>
                      </a:lnTo>
                      <a:lnTo>
                        <a:pt x="56" y="10"/>
                      </a:lnTo>
                      <a:lnTo>
                        <a:pt x="62" y="6"/>
                      </a:lnTo>
                      <a:lnTo>
                        <a:pt x="70" y="4"/>
                      </a:lnTo>
                      <a:lnTo>
                        <a:pt x="76" y="6"/>
                      </a:lnTo>
                      <a:lnTo>
                        <a:pt x="78" y="8"/>
                      </a:lnTo>
                      <a:lnTo>
                        <a:pt x="82" y="10"/>
                      </a:lnTo>
                      <a:lnTo>
                        <a:pt x="88" y="12"/>
                      </a:lnTo>
                      <a:lnTo>
                        <a:pt x="90" y="8"/>
                      </a:lnTo>
                      <a:lnTo>
                        <a:pt x="92" y="6"/>
                      </a:lnTo>
                      <a:lnTo>
                        <a:pt x="90" y="4"/>
                      </a:lnTo>
                      <a:lnTo>
                        <a:pt x="108" y="2"/>
                      </a:lnTo>
                      <a:lnTo>
                        <a:pt x="118" y="0"/>
                      </a:lnTo>
                      <a:close/>
                    </a:path>
                  </a:pathLst>
                </a:custGeom>
                <a:solidFill>
                  <a:srgbClr val="EC3E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04" name="Freeform 105"/>
                <p:cNvSpPr>
                  <a:spLocks/>
                </p:cNvSpPr>
                <p:nvPr/>
              </p:nvSpPr>
              <p:spPr bwMode="auto">
                <a:xfrm>
                  <a:off x="5713415" y="2771766"/>
                  <a:ext cx="60325" cy="38100"/>
                </a:xfrm>
                <a:custGeom>
                  <a:avLst/>
                  <a:gdLst>
                    <a:gd name="T0" fmla="*/ 2147483646 w 38"/>
                    <a:gd name="T1" fmla="*/ 2147483646 h 24"/>
                    <a:gd name="T2" fmla="*/ 2147483646 w 38"/>
                    <a:gd name="T3" fmla="*/ 2147483646 h 24"/>
                    <a:gd name="T4" fmla="*/ 2147483646 w 38"/>
                    <a:gd name="T5" fmla="*/ 2147483646 h 24"/>
                    <a:gd name="T6" fmla="*/ 2147483646 w 38"/>
                    <a:gd name="T7" fmla="*/ 2147483646 h 24"/>
                    <a:gd name="T8" fmla="*/ 2147483646 w 38"/>
                    <a:gd name="T9" fmla="*/ 2147483646 h 24"/>
                    <a:gd name="T10" fmla="*/ 2147483646 w 38"/>
                    <a:gd name="T11" fmla="*/ 2147483646 h 24"/>
                    <a:gd name="T12" fmla="*/ 2147483646 w 38"/>
                    <a:gd name="T13" fmla="*/ 2147483646 h 24"/>
                    <a:gd name="T14" fmla="*/ 2147483646 w 38"/>
                    <a:gd name="T15" fmla="*/ 2147483646 h 24"/>
                    <a:gd name="T16" fmla="*/ 2147483646 w 38"/>
                    <a:gd name="T17" fmla="*/ 2147483646 h 24"/>
                    <a:gd name="T18" fmla="*/ 2147483646 w 38"/>
                    <a:gd name="T19" fmla="*/ 2147483646 h 24"/>
                    <a:gd name="T20" fmla="*/ 2147483646 w 38"/>
                    <a:gd name="T21" fmla="*/ 2147483646 h 24"/>
                    <a:gd name="T22" fmla="*/ 2147483646 w 38"/>
                    <a:gd name="T23" fmla="*/ 2147483646 h 24"/>
                    <a:gd name="T24" fmla="*/ 0 w 38"/>
                    <a:gd name="T25" fmla="*/ 2147483646 h 24"/>
                    <a:gd name="T26" fmla="*/ 0 w 38"/>
                    <a:gd name="T27" fmla="*/ 2147483646 h 24"/>
                    <a:gd name="T28" fmla="*/ 2147483646 w 38"/>
                    <a:gd name="T29" fmla="*/ 2147483646 h 24"/>
                    <a:gd name="T30" fmla="*/ 2147483646 w 38"/>
                    <a:gd name="T31" fmla="*/ 2147483646 h 24"/>
                    <a:gd name="T32" fmla="*/ 2147483646 w 38"/>
                    <a:gd name="T33" fmla="*/ 2147483646 h 24"/>
                    <a:gd name="T34" fmla="*/ 2147483646 w 38"/>
                    <a:gd name="T35" fmla="*/ 2147483646 h 24"/>
                    <a:gd name="T36" fmla="*/ 2147483646 w 38"/>
                    <a:gd name="T37" fmla="*/ 2147483646 h 24"/>
                    <a:gd name="T38" fmla="*/ 2147483646 w 38"/>
                    <a:gd name="T39" fmla="*/ 2147483646 h 24"/>
                    <a:gd name="T40" fmla="*/ 2147483646 w 38"/>
                    <a:gd name="T41" fmla="*/ 2147483646 h 24"/>
                    <a:gd name="T42" fmla="*/ 2147483646 w 38"/>
                    <a:gd name="T43" fmla="*/ 2147483646 h 24"/>
                    <a:gd name="T44" fmla="*/ 2147483646 w 38"/>
                    <a:gd name="T45" fmla="*/ 0 h 24"/>
                    <a:gd name="T46" fmla="*/ 2147483646 w 38"/>
                    <a:gd name="T47" fmla="*/ 0 h 24"/>
                    <a:gd name="T48" fmla="*/ 2147483646 w 38"/>
                    <a:gd name="T49" fmla="*/ 0 h 24"/>
                    <a:gd name="T50" fmla="*/ 2147483646 w 38"/>
                    <a:gd name="T51" fmla="*/ 2147483646 h 24"/>
                    <a:gd name="T52" fmla="*/ 2147483646 w 38"/>
                    <a:gd name="T53" fmla="*/ 2147483646 h 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8"/>
                    <a:gd name="T82" fmla="*/ 0 h 24"/>
                    <a:gd name="T83" fmla="*/ 38 w 38"/>
                    <a:gd name="T84" fmla="*/ 24 h 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8" h="24">
                      <a:moveTo>
                        <a:pt x="36" y="4"/>
                      </a:moveTo>
                      <a:lnTo>
                        <a:pt x="36" y="4"/>
                      </a:lnTo>
                      <a:lnTo>
                        <a:pt x="38" y="10"/>
                      </a:lnTo>
                      <a:lnTo>
                        <a:pt x="36" y="16"/>
                      </a:lnTo>
                      <a:lnTo>
                        <a:pt x="34" y="20"/>
                      </a:lnTo>
                      <a:lnTo>
                        <a:pt x="30" y="24"/>
                      </a:lnTo>
                      <a:lnTo>
                        <a:pt x="22" y="24"/>
                      </a:lnTo>
                      <a:lnTo>
                        <a:pt x="14" y="24"/>
                      </a:lnTo>
                      <a:lnTo>
                        <a:pt x="10" y="22"/>
                      </a:lnTo>
                      <a:lnTo>
                        <a:pt x="6" y="20"/>
                      </a:lnTo>
                      <a:lnTo>
                        <a:pt x="2" y="14"/>
                      </a:lnTo>
                      <a:lnTo>
                        <a:pt x="0" y="8"/>
                      </a:lnTo>
                      <a:lnTo>
                        <a:pt x="6" y="10"/>
                      </a:lnTo>
                      <a:lnTo>
                        <a:pt x="12" y="12"/>
                      </a:lnTo>
                      <a:lnTo>
                        <a:pt x="20" y="14"/>
                      </a:lnTo>
                      <a:lnTo>
                        <a:pt x="22" y="14"/>
                      </a:lnTo>
                      <a:lnTo>
                        <a:pt x="26" y="14"/>
                      </a:lnTo>
                      <a:lnTo>
                        <a:pt x="28" y="8"/>
                      </a:lnTo>
                      <a:lnTo>
                        <a:pt x="30" y="2"/>
                      </a:lnTo>
                      <a:lnTo>
                        <a:pt x="32" y="0"/>
                      </a:lnTo>
                      <a:lnTo>
                        <a:pt x="34" y="0"/>
                      </a:lnTo>
                      <a:lnTo>
                        <a:pt x="36" y="0"/>
                      </a:lnTo>
                      <a:lnTo>
                        <a:pt x="3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05" name="Freeform 106"/>
                <p:cNvSpPr>
                  <a:spLocks/>
                </p:cNvSpPr>
                <p:nvPr/>
              </p:nvSpPr>
              <p:spPr bwMode="auto">
                <a:xfrm>
                  <a:off x="5665790" y="2701916"/>
                  <a:ext cx="53975" cy="50800"/>
                </a:xfrm>
                <a:custGeom>
                  <a:avLst/>
                  <a:gdLst>
                    <a:gd name="T0" fmla="*/ 2147483646 w 34"/>
                    <a:gd name="T1" fmla="*/ 2147483646 h 32"/>
                    <a:gd name="T2" fmla="*/ 2147483646 w 34"/>
                    <a:gd name="T3" fmla="*/ 2147483646 h 32"/>
                    <a:gd name="T4" fmla="*/ 2147483646 w 34"/>
                    <a:gd name="T5" fmla="*/ 2147483646 h 32"/>
                    <a:gd name="T6" fmla="*/ 2147483646 w 34"/>
                    <a:gd name="T7" fmla="*/ 2147483646 h 32"/>
                    <a:gd name="T8" fmla="*/ 2147483646 w 34"/>
                    <a:gd name="T9" fmla="*/ 2147483646 h 32"/>
                    <a:gd name="T10" fmla="*/ 2147483646 w 34"/>
                    <a:gd name="T11" fmla="*/ 2147483646 h 32"/>
                    <a:gd name="T12" fmla="*/ 2147483646 w 34"/>
                    <a:gd name="T13" fmla="*/ 2147483646 h 32"/>
                    <a:gd name="T14" fmla="*/ 2147483646 w 34"/>
                    <a:gd name="T15" fmla="*/ 2147483646 h 32"/>
                    <a:gd name="T16" fmla="*/ 2147483646 w 34"/>
                    <a:gd name="T17" fmla="*/ 2147483646 h 32"/>
                    <a:gd name="T18" fmla="*/ 2147483646 w 34"/>
                    <a:gd name="T19" fmla="*/ 2147483646 h 32"/>
                    <a:gd name="T20" fmla="*/ 0 w 34"/>
                    <a:gd name="T21" fmla="*/ 2147483646 h 32"/>
                    <a:gd name="T22" fmla="*/ 2147483646 w 34"/>
                    <a:gd name="T23" fmla="*/ 2147483646 h 32"/>
                    <a:gd name="T24" fmla="*/ 2147483646 w 34"/>
                    <a:gd name="T25" fmla="*/ 0 h 32"/>
                    <a:gd name="T26" fmla="*/ 2147483646 w 34"/>
                    <a:gd name="T27" fmla="*/ 0 h 32"/>
                    <a:gd name="T28" fmla="*/ 2147483646 w 34"/>
                    <a:gd name="T29" fmla="*/ 2147483646 h 32"/>
                    <a:gd name="T30" fmla="*/ 2147483646 w 34"/>
                    <a:gd name="T31" fmla="*/ 2147483646 h 32"/>
                    <a:gd name="T32" fmla="*/ 2147483646 w 34"/>
                    <a:gd name="T33" fmla="*/ 2147483646 h 32"/>
                    <a:gd name="T34" fmla="*/ 2147483646 w 34"/>
                    <a:gd name="T35" fmla="*/ 2147483646 h 32"/>
                    <a:gd name="T36" fmla="*/ 2147483646 w 34"/>
                    <a:gd name="T37" fmla="*/ 2147483646 h 32"/>
                    <a:gd name="T38" fmla="*/ 2147483646 w 34"/>
                    <a:gd name="T39" fmla="*/ 2147483646 h 32"/>
                    <a:gd name="T40" fmla="*/ 2147483646 w 34"/>
                    <a:gd name="T41" fmla="*/ 2147483646 h 32"/>
                    <a:gd name="T42" fmla="*/ 2147483646 w 34"/>
                    <a:gd name="T43" fmla="*/ 2147483646 h 32"/>
                    <a:gd name="T44" fmla="*/ 2147483646 w 34"/>
                    <a:gd name="T45" fmla="*/ 2147483646 h 32"/>
                    <a:gd name="T46" fmla="*/ 2147483646 w 34"/>
                    <a:gd name="T47" fmla="*/ 2147483646 h 32"/>
                    <a:gd name="T48" fmla="*/ 2147483646 w 34"/>
                    <a:gd name="T49" fmla="*/ 2147483646 h 32"/>
                    <a:gd name="T50" fmla="*/ 2147483646 w 34"/>
                    <a:gd name="T51" fmla="*/ 2147483646 h 32"/>
                    <a:gd name="T52" fmla="*/ 2147483646 w 34"/>
                    <a:gd name="T53" fmla="*/ 2147483646 h 3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
                    <a:gd name="T82" fmla="*/ 0 h 32"/>
                    <a:gd name="T83" fmla="*/ 34 w 34"/>
                    <a:gd name="T84" fmla="*/ 32 h 3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 h="32">
                      <a:moveTo>
                        <a:pt x="32" y="26"/>
                      </a:moveTo>
                      <a:lnTo>
                        <a:pt x="32" y="26"/>
                      </a:lnTo>
                      <a:lnTo>
                        <a:pt x="28" y="30"/>
                      </a:lnTo>
                      <a:lnTo>
                        <a:pt x="24" y="32"/>
                      </a:lnTo>
                      <a:lnTo>
                        <a:pt x="18" y="32"/>
                      </a:lnTo>
                      <a:lnTo>
                        <a:pt x="12" y="32"/>
                      </a:lnTo>
                      <a:lnTo>
                        <a:pt x="6" y="26"/>
                      </a:lnTo>
                      <a:lnTo>
                        <a:pt x="4" y="20"/>
                      </a:lnTo>
                      <a:lnTo>
                        <a:pt x="2" y="16"/>
                      </a:lnTo>
                      <a:lnTo>
                        <a:pt x="0" y="12"/>
                      </a:lnTo>
                      <a:lnTo>
                        <a:pt x="2" y="4"/>
                      </a:lnTo>
                      <a:lnTo>
                        <a:pt x="8" y="0"/>
                      </a:lnTo>
                      <a:lnTo>
                        <a:pt x="10" y="4"/>
                      </a:lnTo>
                      <a:lnTo>
                        <a:pt x="10" y="12"/>
                      </a:lnTo>
                      <a:lnTo>
                        <a:pt x="14" y="18"/>
                      </a:lnTo>
                      <a:lnTo>
                        <a:pt x="16" y="22"/>
                      </a:lnTo>
                      <a:lnTo>
                        <a:pt x="18" y="22"/>
                      </a:lnTo>
                      <a:lnTo>
                        <a:pt x="24" y="20"/>
                      </a:lnTo>
                      <a:lnTo>
                        <a:pt x="30" y="20"/>
                      </a:lnTo>
                      <a:lnTo>
                        <a:pt x="34" y="20"/>
                      </a:lnTo>
                      <a:lnTo>
                        <a:pt x="34" y="22"/>
                      </a:lnTo>
                      <a:lnTo>
                        <a:pt x="32"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06" name="Freeform 107"/>
                <p:cNvSpPr>
                  <a:spLocks/>
                </p:cNvSpPr>
                <p:nvPr/>
              </p:nvSpPr>
              <p:spPr bwMode="auto">
                <a:xfrm>
                  <a:off x="5580065" y="2698741"/>
                  <a:ext cx="53975" cy="53975"/>
                </a:xfrm>
                <a:custGeom>
                  <a:avLst/>
                  <a:gdLst>
                    <a:gd name="T0" fmla="*/ 2147483646 w 34"/>
                    <a:gd name="T1" fmla="*/ 2147483646 h 34"/>
                    <a:gd name="T2" fmla="*/ 2147483646 w 34"/>
                    <a:gd name="T3" fmla="*/ 2147483646 h 34"/>
                    <a:gd name="T4" fmla="*/ 2147483646 w 34"/>
                    <a:gd name="T5" fmla="*/ 2147483646 h 34"/>
                    <a:gd name="T6" fmla="*/ 2147483646 w 34"/>
                    <a:gd name="T7" fmla="*/ 2147483646 h 34"/>
                    <a:gd name="T8" fmla="*/ 2147483646 w 34"/>
                    <a:gd name="T9" fmla="*/ 2147483646 h 34"/>
                    <a:gd name="T10" fmla="*/ 2147483646 w 34"/>
                    <a:gd name="T11" fmla="*/ 2147483646 h 34"/>
                    <a:gd name="T12" fmla="*/ 2147483646 w 34"/>
                    <a:gd name="T13" fmla="*/ 2147483646 h 34"/>
                    <a:gd name="T14" fmla="*/ 2147483646 w 34"/>
                    <a:gd name="T15" fmla="*/ 2147483646 h 34"/>
                    <a:gd name="T16" fmla="*/ 2147483646 w 34"/>
                    <a:gd name="T17" fmla="*/ 2147483646 h 34"/>
                    <a:gd name="T18" fmla="*/ 0 w 34"/>
                    <a:gd name="T19" fmla="*/ 2147483646 h 34"/>
                    <a:gd name="T20" fmla="*/ 0 w 34"/>
                    <a:gd name="T21" fmla="*/ 2147483646 h 34"/>
                    <a:gd name="T22" fmla="*/ 2147483646 w 34"/>
                    <a:gd name="T23" fmla="*/ 2147483646 h 34"/>
                    <a:gd name="T24" fmla="*/ 2147483646 w 34"/>
                    <a:gd name="T25" fmla="*/ 0 h 34"/>
                    <a:gd name="T26" fmla="*/ 2147483646 w 34"/>
                    <a:gd name="T27" fmla="*/ 0 h 34"/>
                    <a:gd name="T28" fmla="*/ 2147483646 w 34"/>
                    <a:gd name="T29" fmla="*/ 2147483646 h 34"/>
                    <a:gd name="T30" fmla="*/ 2147483646 w 34"/>
                    <a:gd name="T31" fmla="*/ 2147483646 h 34"/>
                    <a:gd name="T32" fmla="*/ 2147483646 w 34"/>
                    <a:gd name="T33" fmla="*/ 2147483646 h 34"/>
                    <a:gd name="T34" fmla="*/ 2147483646 w 34"/>
                    <a:gd name="T35" fmla="*/ 2147483646 h 34"/>
                    <a:gd name="T36" fmla="*/ 2147483646 w 34"/>
                    <a:gd name="T37" fmla="*/ 2147483646 h 34"/>
                    <a:gd name="T38" fmla="*/ 2147483646 w 34"/>
                    <a:gd name="T39" fmla="*/ 2147483646 h 34"/>
                    <a:gd name="T40" fmla="*/ 2147483646 w 34"/>
                    <a:gd name="T41" fmla="*/ 2147483646 h 34"/>
                    <a:gd name="T42" fmla="*/ 2147483646 w 34"/>
                    <a:gd name="T43" fmla="*/ 2147483646 h 34"/>
                    <a:gd name="T44" fmla="*/ 2147483646 w 34"/>
                    <a:gd name="T45" fmla="*/ 2147483646 h 34"/>
                    <a:gd name="T46" fmla="*/ 2147483646 w 34"/>
                    <a:gd name="T47" fmla="*/ 2147483646 h 34"/>
                    <a:gd name="T48" fmla="*/ 2147483646 w 34"/>
                    <a:gd name="T49" fmla="*/ 2147483646 h 34"/>
                    <a:gd name="T50" fmla="*/ 2147483646 w 34"/>
                    <a:gd name="T51" fmla="*/ 2147483646 h 34"/>
                    <a:gd name="T52" fmla="*/ 2147483646 w 34"/>
                    <a:gd name="T53" fmla="*/ 2147483646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
                    <a:gd name="T82" fmla="*/ 0 h 34"/>
                    <a:gd name="T83" fmla="*/ 34 w 34"/>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 h="34">
                      <a:moveTo>
                        <a:pt x="32" y="28"/>
                      </a:moveTo>
                      <a:lnTo>
                        <a:pt x="32" y="28"/>
                      </a:lnTo>
                      <a:lnTo>
                        <a:pt x="26" y="32"/>
                      </a:lnTo>
                      <a:lnTo>
                        <a:pt x="22" y="34"/>
                      </a:lnTo>
                      <a:lnTo>
                        <a:pt x="16" y="34"/>
                      </a:lnTo>
                      <a:lnTo>
                        <a:pt x="10" y="32"/>
                      </a:lnTo>
                      <a:lnTo>
                        <a:pt x="6" y="26"/>
                      </a:lnTo>
                      <a:lnTo>
                        <a:pt x="2" y="20"/>
                      </a:lnTo>
                      <a:lnTo>
                        <a:pt x="0" y="16"/>
                      </a:lnTo>
                      <a:lnTo>
                        <a:pt x="0" y="12"/>
                      </a:lnTo>
                      <a:lnTo>
                        <a:pt x="4" y="4"/>
                      </a:lnTo>
                      <a:lnTo>
                        <a:pt x="8" y="0"/>
                      </a:lnTo>
                      <a:lnTo>
                        <a:pt x="10" y="6"/>
                      </a:lnTo>
                      <a:lnTo>
                        <a:pt x="10" y="12"/>
                      </a:lnTo>
                      <a:lnTo>
                        <a:pt x="12" y="20"/>
                      </a:lnTo>
                      <a:lnTo>
                        <a:pt x="14" y="22"/>
                      </a:lnTo>
                      <a:lnTo>
                        <a:pt x="16" y="24"/>
                      </a:lnTo>
                      <a:lnTo>
                        <a:pt x="24" y="22"/>
                      </a:lnTo>
                      <a:lnTo>
                        <a:pt x="30" y="22"/>
                      </a:lnTo>
                      <a:lnTo>
                        <a:pt x="32" y="22"/>
                      </a:lnTo>
                      <a:lnTo>
                        <a:pt x="34" y="24"/>
                      </a:lnTo>
                      <a:lnTo>
                        <a:pt x="34" y="26"/>
                      </a:lnTo>
                      <a:lnTo>
                        <a:pt x="32"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07" name="Freeform 108"/>
                <p:cNvSpPr>
                  <a:spLocks/>
                </p:cNvSpPr>
                <p:nvPr/>
              </p:nvSpPr>
              <p:spPr bwMode="auto">
                <a:xfrm>
                  <a:off x="5754690" y="2825741"/>
                  <a:ext cx="41275" cy="28575"/>
                </a:xfrm>
                <a:custGeom>
                  <a:avLst/>
                  <a:gdLst>
                    <a:gd name="T0" fmla="*/ 2147483646 w 26"/>
                    <a:gd name="T1" fmla="*/ 2147483646 h 18"/>
                    <a:gd name="T2" fmla="*/ 2147483646 w 26"/>
                    <a:gd name="T3" fmla="*/ 2147483646 h 18"/>
                    <a:gd name="T4" fmla="*/ 2147483646 w 26"/>
                    <a:gd name="T5" fmla="*/ 2147483646 h 18"/>
                    <a:gd name="T6" fmla="*/ 2147483646 w 26"/>
                    <a:gd name="T7" fmla="*/ 2147483646 h 18"/>
                    <a:gd name="T8" fmla="*/ 2147483646 w 26"/>
                    <a:gd name="T9" fmla="*/ 2147483646 h 18"/>
                    <a:gd name="T10" fmla="*/ 2147483646 w 26"/>
                    <a:gd name="T11" fmla="*/ 2147483646 h 18"/>
                    <a:gd name="T12" fmla="*/ 2147483646 w 26"/>
                    <a:gd name="T13" fmla="*/ 2147483646 h 18"/>
                    <a:gd name="T14" fmla="*/ 2147483646 w 26"/>
                    <a:gd name="T15" fmla="*/ 2147483646 h 18"/>
                    <a:gd name="T16" fmla="*/ 2147483646 w 26"/>
                    <a:gd name="T17" fmla="*/ 2147483646 h 18"/>
                    <a:gd name="T18" fmla="*/ 0 w 26"/>
                    <a:gd name="T19" fmla="*/ 2147483646 h 18"/>
                    <a:gd name="T20" fmla="*/ 0 w 26"/>
                    <a:gd name="T21" fmla="*/ 2147483646 h 18"/>
                    <a:gd name="T22" fmla="*/ 0 w 26"/>
                    <a:gd name="T23" fmla="*/ 2147483646 h 18"/>
                    <a:gd name="T24" fmla="*/ 2147483646 w 26"/>
                    <a:gd name="T25" fmla="*/ 2147483646 h 18"/>
                    <a:gd name="T26" fmla="*/ 2147483646 w 26"/>
                    <a:gd name="T27" fmla="*/ 2147483646 h 18"/>
                    <a:gd name="T28" fmla="*/ 2147483646 w 26"/>
                    <a:gd name="T29" fmla="*/ 2147483646 h 18"/>
                    <a:gd name="T30" fmla="*/ 2147483646 w 26"/>
                    <a:gd name="T31" fmla="*/ 2147483646 h 18"/>
                    <a:gd name="T32" fmla="*/ 2147483646 w 26"/>
                    <a:gd name="T33" fmla="*/ 2147483646 h 18"/>
                    <a:gd name="T34" fmla="*/ 2147483646 w 26"/>
                    <a:gd name="T35" fmla="*/ 0 h 18"/>
                    <a:gd name="T36" fmla="*/ 2147483646 w 26"/>
                    <a:gd name="T37" fmla="*/ 2147483646 h 18"/>
                    <a:gd name="T38" fmla="*/ 2147483646 w 26"/>
                    <a:gd name="T39" fmla="*/ 2147483646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18"/>
                    <a:gd name="T62" fmla="*/ 26 w 26"/>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18">
                      <a:moveTo>
                        <a:pt x="24" y="4"/>
                      </a:moveTo>
                      <a:lnTo>
                        <a:pt x="24" y="4"/>
                      </a:lnTo>
                      <a:lnTo>
                        <a:pt x="26" y="8"/>
                      </a:lnTo>
                      <a:lnTo>
                        <a:pt x="24" y="10"/>
                      </a:lnTo>
                      <a:lnTo>
                        <a:pt x="22" y="14"/>
                      </a:lnTo>
                      <a:lnTo>
                        <a:pt x="20" y="16"/>
                      </a:lnTo>
                      <a:lnTo>
                        <a:pt x="10" y="18"/>
                      </a:lnTo>
                      <a:lnTo>
                        <a:pt x="4" y="16"/>
                      </a:lnTo>
                      <a:lnTo>
                        <a:pt x="0" y="12"/>
                      </a:lnTo>
                      <a:lnTo>
                        <a:pt x="0" y="6"/>
                      </a:lnTo>
                      <a:lnTo>
                        <a:pt x="8" y="10"/>
                      </a:lnTo>
                      <a:lnTo>
                        <a:pt x="12" y="10"/>
                      </a:lnTo>
                      <a:lnTo>
                        <a:pt x="16" y="10"/>
                      </a:lnTo>
                      <a:lnTo>
                        <a:pt x="20" y="2"/>
                      </a:lnTo>
                      <a:lnTo>
                        <a:pt x="22" y="0"/>
                      </a:lnTo>
                      <a:lnTo>
                        <a:pt x="2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08" name="Freeform 109"/>
                <p:cNvSpPr>
                  <a:spLocks/>
                </p:cNvSpPr>
                <p:nvPr/>
              </p:nvSpPr>
              <p:spPr bwMode="auto">
                <a:xfrm>
                  <a:off x="5519740" y="2727316"/>
                  <a:ext cx="41275" cy="28575"/>
                </a:xfrm>
                <a:custGeom>
                  <a:avLst/>
                  <a:gdLst>
                    <a:gd name="T0" fmla="*/ 2147483646 w 26"/>
                    <a:gd name="T1" fmla="*/ 2147483646 h 18"/>
                    <a:gd name="T2" fmla="*/ 2147483646 w 26"/>
                    <a:gd name="T3" fmla="*/ 2147483646 h 18"/>
                    <a:gd name="T4" fmla="*/ 2147483646 w 26"/>
                    <a:gd name="T5" fmla="*/ 2147483646 h 18"/>
                    <a:gd name="T6" fmla="*/ 2147483646 w 26"/>
                    <a:gd name="T7" fmla="*/ 2147483646 h 18"/>
                    <a:gd name="T8" fmla="*/ 2147483646 w 26"/>
                    <a:gd name="T9" fmla="*/ 2147483646 h 18"/>
                    <a:gd name="T10" fmla="*/ 2147483646 w 26"/>
                    <a:gd name="T11" fmla="*/ 2147483646 h 18"/>
                    <a:gd name="T12" fmla="*/ 2147483646 w 26"/>
                    <a:gd name="T13" fmla="*/ 2147483646 h 18"/>
                    <a:gd name="T14" fmla="*/ 2147483646 w 26"/>
                    <a:gd name="T15" fmla="*/ 2147483646 h 18"/>
                    <a:gd name="T16" fmla="*/ 2147483646 w 26"/>
                    <a:gd name="T17" fmla="*/ 2147483646 h 18"/>
                    <a:gd name="T18" fmla="*/ 2147483646 w 26"/>
                    <a:gd name="T19" fmla="*/ 2147483646 h 18"/>
                    <a:gd name="T20" fmla="*/ 0 w 26"/>
                    <a:gd name="T21" fmla="*/ 2147483646 h 18"/>
                    <a:gd name="T22" fmla="*/ 0 w 26"/>
                    <a:gd name="T23" fmla="*/ 2147483646 h 18"/>
                    <a:gd name="T24" fmla="*/ 2147483646 w 26"/>
                    <a:gd name="T25" fmla="*/ 2147483646 h 18"/>
                    <a:gd name="T26" fmla="*/ 2147483646 w 26"/>
                    <a:gd name="T27" fmla="*/ 2147483646 h 18"/>
                    <a:gd name="T28" fmla="*/ 2147483646 w 26"/>
                    <a:gd name="T29" fmla="*/ 2147483646 h 18"/>
                    <a:gd name="T30" fmla="*/ 2147483646 w 26"/>
                    <a:gd name="T31" fmla="*/ 2147483646 h 18"/>
                    <a:gd name="T32" fmla="*/ 2147483646 w 26"/>
                    <a:gd name="T33" fmla="*/ 0 h 18"/>
                    <a:gd name="T34" fmla="*/ 2147483646 w 26"/>
                    <a:gd name="T35" fmla="*/ 0 h 18"/>
                    <a:gd name="T36" fmla="*/ 2147483646 w 26"/>
                    <a:gd name="T37" fmla="*/ 2147483646 h 18"/>
                    <a:gd name="T38" fmla="*/ 2147483646 w 26"/>
                    <a:gd name="T39" fmla="*/ 2147483646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18"/>
                    <a:gd name="T62" fmla="*/ 26 w 26"/>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18">
                      <a:moveTo>
                        <a:pt x="26" y="2"/>
                      </a:moveTo>
                      <a:lnTo>
                        <a:pt x="26" y="2"/>
                      </a:lnTo>
                      <a:lnTo>
                        <a:pt x="26" y="6"/>
                      </a:lnTo>
                      <a:lnTo>
                        <a:pt x="26" y="10"/>
                      </a:lnTo>
                      <a:lnTo>
                        <a:pt x="24" y="14"/>
                      </a:lnTo>
                      <a:lnTo>
                        <a:pt x="22" y="16"/>
                      </a:lnTo>
                      <a:lnTo>
                        <a:pt x="12" y="18"/>
                      </a:lnTo>
                      <a:lnTo>
                        <a:pt x="4" y="14"/>
                      </a:lnTo>
                      <a:lnTo>
                        <a:pt x="2" y="10"/>
                      </a:lnTo>
                      <a:lnTo>
                        <a:pt x="0" y="6"/>
                      </a:lnTo>
                      <a:lnTo>
                        <a:pt x="10" y="10"/>
                      </a:lnTo>
                      <a:lnTo>
                        <a:pt x="14" y="10"/>
                      </a:lnTo>
                      <a:lnTo>
                        <a:pt x="18" y="10"/>
                      </a:lnTo>
                      <a:lnTo>
                        <a:pt x="22" y="0"/>
                      </a:lnTo>
                      <a:lnTo>
                        <a:pt x="24" y="0"/>
                      </a:lnTo>
                      <a:lnTo>
                        <a:pt x="2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09" name="Freeform 110"/>
                <p:cNvSpPr>
                  <a:spLocks/>
                </p:cNvSpPr>
                <p:nvPr/>
              </p:nvSpPr>
              <p:spPr bwMode="auto">
                <a:xfrm>
                  <a:off x="5868990" y="3314691"/>
                  <a:ext cx="38100" cy="38100"/>
                </a:xfrm>
                <a:custGeom>
                  <a:avLst/>
                  <a:gdLst>
                    <a:gd name="T0" fmla="*/ 2147483646 w 24"/>
                    <a:gd name="T1" fmla="*/ 2147483646 h 24"/>
                    <a:gd name="T2" fmla="*/ 2147483646 w 24"/>
                    <a:gd name="T3" fmla="*/ 2147483646 h 24"/>
                    <a:gd name="T4" fmla="*/ 2147483646 w 24"/>
                    <a:gd name="T5" fmla="*/ 2147483646 h 24"/>
                    <a:gd name="T6" fmla="*/ 2147483646 w 24"/>
                    <a:gd name="T7" fmla="*/ 2147483646 h 24"/>
                    <a:gd name="T8" fmla="*/ 2147483646 w 24"/>
                    <a:gd name="T9" fmla="*/ 2147483646 h 24"/>
                    <a:gd name="T10" fmla="*/ 2147483646 w 24"/>
                    <a:gd name="T11" fmla="*/ 2147483646 h 24"/>
                    <a:gd name="T12" fmla="*/ 2147483646 w 24"/>
                    <a:gd name="T13" fmla="*/ 2147483646 h 24"/>
                    <a:gd name="T14" fmla="*/ 2147483646 w 24"/>
                    <a:gd name="T15" fmla="*/ 2147483646 h 24"/>
                    <a:gd name="T16" fmla="*/ 2147483646 w 24"/>
                    <a:gd name="T17" fmla="*/ 2147483646 h 24"/>
                    <a:gd name="T18" fmla="*/ 0 w 24"/>
                    <a:gd name="T19" fmla="*/ 2147483646 h 24"/>
                    <a:gd name="T20" fmla="*/ 0 w 24"/>
                    <a:gd name="T21" fmla="*/ 2147483646 h 24"/>
                    <a:gd name="T22" fmla="*/ 2147483646 w 24"/>
                    <a:gd name="T23" fmla="*/ 2147483646 h 24"/>
                    <a:gd name="T24" fmla="*/ 2147483646 w 24"/>
                    <a:gd name="T25" fmla="*/ 0 h 24"/>
                    <a:gd name="T26" fmla="*/ 2147483646 w 24"/>
                    <a:gd name="T27" fmla="*/ 0 h 24"/>
                    <a:gd name="T28" fmla="*/ 2147483646 w 24"/>
                    <a:gd name="T29" fmla="*/ 2147483646 h 24"/>
                    <a:gd name="T30" fmla="*/ 2147483646 w 24"/>
                    <a:gd name="T31" fmla="*/ 2147483646 h 24"/>
                    <a:gd name="T32" fmla="*/ 2147483646 w 24"/>
                    <a:gd name="T33" fmla="*/ 2147483646 h 24"/>
                    <a:gd name="T34" fmla="*/ 2147483646 w 24"/>
                    <a:gd name="T35" fmla="*/ 2147483646 h 24"/>
                    <a:gd name="T36" fmla="*/ 2147483646 w 24"/>
                    <a:gd name="T37" fmla="*/ 2147483646 h 24"/>
                    <a:gd name="T38" fmla="*/ 2147483646 w 24"/>
                    <a:gd name="T39" fmla="*/ 2147483646 h 24"/>
                    <a:gd name="T40" fmla="*/ 2147483646 w 24"/>
                    <a:gd name="T41" fmla="*/ 2147483646 h 24"/>
                    <a:gd name="T42" fmla="*/ 2147483646 w 24"/>
                    <a:gd name="T43" fmla="*/ 2147483646 h 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
                    <a:gd name="T67" fmla="*/ 0 h 24"/>
                    <a:gd name="T68" fmla="*/ 24 w 24"/>
                    <a:gd name="T69" fmla="*/ 24 h 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 h="24">
                      <a:moveTo>
                        <a:pt x="24" y="18"/>
                      </a:moveTo>
                      <a:lnTo>
                        <a:pt x="24" y="18"/>
                      </a:lnTo>
                      <a:lnTo>
                        <a:pt x="22" y="22"/>
                      </a:lnTo>
                      <a:lnTo>
                        <a:pt x="18" y="22"/>
                      </a:lnTo>
                      <a:lnTo>
                        <a:pt x="14" y="24"/>
                      </a:lnTo>
                      <a:lnTo>
                        <a:pt x="10" y="22"/>
                      </a:lnTo>
                      <a:lnTo>
                        <a:pt x="4" y="20"/>
                      </a:lnTo>
                      <a:lnTo>
                        <a:pt x="2" y="16"/>
                      </a:lnTo>
                      <a:lnTo>
                        <a:pt x="0" y="12"/>
                      </a:lnTo>
                      <a:lnTo>
                        <a:pt x="0" y="10"/>
                      </a:lnTo>
                      <a:lnTo>
                        <a:pt x="2" y="4"/>
                      </a:lnTo>
                      <a:lnTo>
                        <a:pt x="4" y="0"/>
                      </a:lnTo>
                      <a:lnTo>
                        <a:pt x="8" y="8"/>
                      </a:lnTo>
                      <a:lnTo>
                        <a:pt x="8" y="10"/>
                      </a:lnTo>
                      <a:lnTo>
                        <a:pt x="12" y="12"/>
                      </a:lnTo>
                      <a:lnTo>
                        <a:pt x="20" y="14"/>
                      </a:lnTo>
                      <a:lnTo>
                        <a:pt x="22" y="16"/>
                      </a:lnTo>
                      <a:lnTo>
                        <a:pt x="2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10" name="Freeform 111"/>
                <p:cNvSpPr>
                  <a:spLocks/>
                </p:cNvSpPr>
                <p:nvPr/>
              </p:nvSpPr>
              <p:spPr bwMode="auto">
                <a:xfrm>
                  <a:off x="5948365" y="2682866"/>
                  <a:ext cx="250825" cy="330200"/>
                </a:xfrm>
                <a:custGeom>
                  <a:avLst/>
                  <a:gdLst>
                    <a:gd name="T0" fmla="*/ 2147483646 w 158"/>
                    <a:gd name="T1" fmla="*/ 2147483646 h 208"/>
                    <a:gd name="T2" fmla="*/ 2147483646 w 158"/>
                    <a:gd name="T3" fmla="*/ 2147483646 h 208"/>
                    <a:gd name="T4" fmla="*/ 2147483646 w 158"/>
                    <a:gd name="T5" fmla="*/ 2147483646 h 208"/>
                    <a:gd name="T6" fmla="*/ 2147483646 w 158"/>
                    <a:gd name="T7" fmla="*/ 2147483646 h 208"/>
                    <a:gd name="T8" fmla="*/ 2147483646 w 158"/>
                    <a:gd name="T9" fmla="*/ 2147483646 h 208"/>
                    <a:gd name="T10" fmla="*/ 2147483646 w 158"/>
                    <a:gd name="T11" fmla="*/ 2147483646 h 208"/>
                    <a:gd name="T12" fmla="*/ 2147483646 w 158"/>
                    <a:gd name="T13" fmla="*/ 2147483646 h 208"/>
                    <a:gd name="T14" fmla="*/ 2147483646 w 158"/>
                    <a:gd name="T15" fmla="*/ 2147483646 h 208"/>
                    <a:gd name="T16" fmla="*/ 2147483646 w 158"/>
                    <a:gd name="T17" fmla="*/ 2147483646 h 208"/>
                    <a:gd name="T18" fmla="*/ 2147483646 w 158"/>
                    <a:gd name="T19" fmla="*/ 2147483646 h 208"/>
                    <a:gd name="T20" fmla="*/ 2147483646 w 158"/>
                    <a:gd name="T21" fmla="*/ 2147483646 h 208"/>
                    <a:gd name="T22" fmla="*/ 2147483646 w 158"/>
                    <a:gd name="T23" fmla="*/ 2147483646 h 208"/>
                    <a:gd name="T24" fmla="*/ 2147483646 w 158"/>
                    <a:gd name="T25" fmla="*/ 2147483646 h 208"/>
                    <a:gd name="T26" fmla="*/ 2147483646 w 158"/>
                    <a:gd name="T27" fmla="*/ 2147483646 h 208"/>
                    <a:gd name="T28" fmla="*/ 2147483646 w 158"/>
                    <a:gd name="T29" fmla="*/ 2147483646 h 208"/>
                    <a:gd name="T30" fmla="*/ 2147483646 w 158"/>
                    <a:gd name="T31" fmla="*/ 2147483646 h 208"/>
                    <a:gd name="T32" fmla="*/ 2147483646 w 158"/>
                    <a:gd name="T33" fmla="*/ 2147483646 h 208"/>
                    <a:gd name="T34" fmla="*/ 2147483646 w 158"/>
                    <a:gd name="T35" fmla="*/ 2147483646 h 208"/>
                    <a:gd name="T36" fmla="*/ 2147483646 w 158"/>
                    <a:gd name="T37" fmla="*/ 2147483646 h 208"/>
                    <a:gd name="T38" fmla="*/ 2147483646 w 158"/>
                    <a:gd name="T39" fmla="*/ 2147483646 h 208"/>
                    <a:gd name="T40" fmla="*/ 2147483646 w 158"/>
                    <a:gd name="T41" fmla="*/ 2147483646 h 208"/>
                    <a:gd name="T42" fmla="*/ 2147483646 w 158"/>
                    <a:gd name="T43" fmla="*/ 2147483646 h 208"/>
                    <a:gd name="T44" fmla="*/ 2147483646 w 158"/>
                    <a:gd name="T45" fmla="*/ 2147483646 h 208"/>
                    <a:gd name="T46" fmla="*/ 2147483646 w 158"/>
                    <a:gd name="T47" fmla="*/ 2147483646 h 208"/>
                    <a:gd name="T48" fmla="*/ 2147483646 w 158"/>
                    <a:gd name="T49" fmla="*/ 2147483646 h 208"/>
                    <a:gd name="T50" fmla="*/ 2147483646 w 158"/>
                    <a:gd name="T51" fmla="*/ 2147483646 h 208"/>
                    <a:gd name="T52" fmla="*/ 2147483646 w 158"/>
                    <a:gd name="T53" fmla="*/ 2147483646 h 208"/>
                    <a:gd name="T54" fmla="*/ 2147483646 w 158"/>
                    <a:gd name="T55" fmla="*/ 2147483646 h 208"/>
                    <a:gd name="T56" fmla="*/ 2147483646 w 158"/>
                    <a:gd name="T57" fmla="*/ 2147483646 h 208"/>
                    <a:gd name="T58" fmla="*/ 2147483646 w 158"/>
                    <a:gd name="T59" fmla="*/ 2147483646 h 208"/>
                    <a:gd name="T60" fmla="*/ 2147483646 w 158"/>
                    <a:gd name="T61" fmla="*/ 2147483646 h 208"/>
                    <a:gd name="T62" fmla="*/ 2147483646 w 158"/>
                    <a:gd name="T63" fmla="*/ 2147483646 h 208"/>
                    <a:gd name="T64" fmla="*/ 2147483646 w 158"/>
                    <a:gd name="T65" fmla="*/ 2147483646 h 208"/>
                    <a:gd name="T66" fmla="*/ 2147483646 w 158"/>
                    <a:gd name="T67" fmla="*/ 2147483646 h 208"/>
                    <a:gd name="T68" fmla="*/ 2147483646 w 158"/>
                    <a:gd name="T69" fmla="*/ 2147483646 h 208"/>
                    <a:gd name="T70" fmla="*/ 2147483646 w 158"/>
                    <a:gd name="T71" fmla="*/ 2147483646 h 208"/>
                    <a:gd name="T72" fmla="*/ 2147483646 w 158"/>
                    <a:gd name="T73" fmla="*/ 2147483646 h 208"/>
                    <a:gd name="T74" fmla="*/ 2147483646 w 158"/>
                    <a:gd name="T75" fmla="*/ 2147483646 h 208"/>
                    <a:gd name="T76" fmla="*/ 0 w 158"/>
                    <a:gd name="T77" fmla="*/ 2147483646 h 208"/>
                    <a:gd name="T78" fmla="*/ 0 w 158"/>
                    <a:gd name="T79" fmla="*/ 2147483646 h 208"/>
                    <a:gd name="T80" fmla="*/ 2147483646 w 158"/>
                    <a:gd name="T81" fmla="*/ 2147483646 h 208"/>
                    <a:gd name="T82" fmla="*/ 2147483646 w 158"/>
                    <a:gd name="T83" fmla="*/ 2147483646 h 208"/>
                    <a:gd name="T84" fmla="*/ 2147483646 w 158"/>
                    <a:gd name="T85" fmla="*/ 2147483646 h 208"/>
                    <a:gd name="T86" fmla="*/ 2147483646 w 158"/>
                    <a:gd name="T87" fmla="*/ 2147483646 h 208"/>
                    <a:gd name="T88" fmla="*/ 2147483646 w 158"/>
                    <a:gd name="T89" fmla="*/ 2147483646 h 208"/>
                    <a:gd name="T90" fmla="*/ 2147483646 w 158"/>
                    <a:gd name="T91" fmla="*/ 2147483646 h 208"/>
                    <a:gd name="T92" fmla="*/ 2147483646 w 158"/>
                    <a:gd name="T93" fmla="*/ 2147483646 h 208"/>
                    <a:gd name="T94" fmla="*/ 2147483646 w 158"/>
                    <a:gd name="T95" fmla="*/ 2147483646 h 208"/>
                    <a:gd name="T96" fmla="*/ 2147483646 w 158"/>
                    <a:gd name="T97" fmla="*/ 2147483646 h 208"/>
                    <a:gd name="T98" fmla="*/ 2147483646 w 158"/>
                    <a:gd name="T99" fmla="*/ 2147483646 h 208"/>
                    <a:gd name="T100" fmla="*/ 2147483646 w 158"/>
                    <a:gd name="T101" fmla="*/ 2147483646 h 208"/>
                    <a:gd name="T102" fmla="*/ 2147483646 w 158"/>
                    <a:gd name="T103" fmla="*/ 2147483646 h 208"/>
                    <a:gd name="T104" fmla="*/ 2147483646 w 158"/>
                    <a:gd name="T105" fmla="*/ 2147483646 h 208"/>
                    <a:gd name="T106" fmla="*/ 2147483646 w 158"/>
                    <a:gd name="T107" fmla="*/ 2147483646 h 208"/>
                    <a:gd name="T108" fmla="*/ 2147483646 w 158"/>
                    <a:gd name="T109" fmla="*/ 0 h 208"/>
                    <a:gd name="T110" fmla="*/ 2147483646 w 158"/>
                    <a:gd name="T111" fmla="*/ 2147483646 h 208"/>
                    <a:gd name="T112" fmla="*/ 2147483646 w 158"/>
                    <a:gd name="T113" fmla="*/ 2147483646 h 208"/>
                    <a:gd name="T114" fmla="*/ 2147483646 w 158"/>
                    <a:gd name="T115" fmla="*/ 2147483646 h 208"/>
                    <a:gd name="T116" fmla="*/ 2147483646 w 158"/>
                    <a:gd name="T117" fmla="*/ 2147483646 h 208"/>
                    <a:gd name="T118" fmla="*/ 2147483646 w 158"/>
                    <a:gd name="T119" fmla="*/ 2147483646 h 2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8"/>
                    <a:gd name="T181" fmla="*/ 0 h 208"/>
                    <a:gd name="T182" fmla="*/ 158 w 158"/>
                    <a:gd name="T183" fmla="*/ 208 h 2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8" h="208">
                      <a:moveTo>
                        <a:pt x="138" y="24"/>
                      </a:moveTo>
                      <a:lnTo>
                        <a:pt x="138" y="24"/>
                      </a:lnTo>
                      <a:lnTo>
                        <a:pt x="148" y="42"/>
                      </a:lnTo>
                      <a:lnTo>
                        <a:pt x="154" y="62"/>
                      </a:lnTo>
                      <a:lnTo>
                        <a:pt x="158" y="84"/>
                      </a:lnTo>
                      <a:lnTo>
                        <a:pt x="158" y="106"/>
                      </a:lnTo>
                      <a:lnTo>
                        <a:pt x="158" y="122"/>
                      </a:lnTo>
                      <a:lnTo>
                        <a:pt x="158" y="138"/>
                      </a:lnTo>
                      <a:lnTo>
                        <a:pt x="154" y="154"/>
                      </a:lnTo>
                      <a:lnTo>
                        <a:pt x="148" y="168"/>
                      </a:lnTo>
                      <a:lnTo>
                        <a:pt x="140" y="180"/>
                      </a:lnTo>
                      <a:lnTo>
                        <a:pt x="132" y="188"/>
                      </a:lnTo>
                      <a:lnTo>
                        <a:pt x="126" y="190"/>
                      </a:lnTo>
                      <a:lnTo>
                        <a:pt x="120" y="192"/>
                      </a:lnTo>
                      <a:lnTo>
                        <a:pt x="114" y="192"/>
                      </a:lnTo>
                      <a:lnTo>
                        <a:pt x="108" y="190"/>
                      </a:lnTo>
                      <a:lnTo>
                        <a:pt x="104" y="190"/>
                      </a:lnTo>
                      <a:lnTo>
                        <a:pt x="100" y="192"/>
                      </a:lnTo>
                      <a:lnTo>
                        <a:pt x="94" y="200"/>
                      </a:lnTo>
                      <a:lnTo>
                        <a:pt x="88" y="204"/>
                      </a:lnTo>
                      <a:lnTo>
                        <a:pt x="80" y="206"/>
                      </a:lnTo>
                      <a:lnTo>
                        <a:pt x="70" y="208"/>
                      </a:lnTo>
                      <a:lnTo>
                        <a:pt x="58" y="208"/>
                      </a:lnTo>
                      <a:lnTo>
                        <a:pt x="50" y="206"/>
                      </a:lnTo>
                      <a:lnTo>
                        <a:pt x="42" y="204"/>
                      </a:lnTo>
                      <a:lnTo>
                        <a:pt x="38" y="198"/>
                      </a:lnTo>
                      <a:lnTo>
                        <a:pt x="34" y="190"/>
                      </a:lnTo>
                      <a:lnTo>
                        <a:pt x="26" y="168"/>
                      </a:lnTo>
                      <a:lnTo>
                        <a:pt x="22" y="164"/>
                      </a:lnTo>
                      <a:lnTo>
                        <a:pt x="20" y="164"/>
                      </a:lnTo>
                      <a:lnTo>
                        <a:pt x="18" y="166"/>
                      </a:lnTo>
                      <a:lnTo>
                        <a:pt x="8" y="156"/>
                      </a:lnTo>
                      <a:lnTo>
                        <a:pt x="2" y="142"/>
                      </a:lnTo>
                      <a:lnTo>
                        <a:pt x="0" y="130"/>
                      </a:lnTo>
                      <a:lnTo>
                        <a:pt x="0" y="116"/>
                      </a:lnTo>
                      <a:lnTo>
                        <a:pt x="4" y="90"/>
                      </a:lnTo>
                      <a:lnTo>
                        <a:pt x="6" y="76"/>
                      </a:lnTo>
                      <a:lnTo>
                        <a:pt x="6" y="64"/>
                      </a:lnTo>
                      <a:lnTo>
                        <a:pt x="6" y="54"/>
                      </a:lnTo>
                      <a:lnTo>
                        <a:pt x="8" y="48"/>
                      </a:lnTo>
                      <a:lnTo>
                        <a:pt x="12" y="40"/>
                      </a:lnTo>
                      <a:lnTo>
                        <a:pt x="16" y="32"/>
                      </a:lnTo>
                      <a:lnTo>
                        <a:pt x="28" y="20"/>
                      </a:lnTo>
                      <a:lnTo>
                        <a:pt x="44" y="12"/>
                      </a:lnTo>
                      <a:lnTo>
                        <a:pt x="54" y="6"/>
                      </a:lnTo>
                      <a:lnTo>
                        <a:pt x="68" y="4"/>
                      </a:lnTo>
                      <a:lnTo>
                        <a:pt x="80" y="2"/>
                      </a:lnTo>
                      <a:lnTo>
                        <a:pt x="94" y="0"/>
                      </a:lnTo>
                      <a:lnTo>
                        <a:pt x="108" y="2"/>
                      </a:lnTo>
                      <a:lnTo>
                        <a:pt x="120" y="6"/>
                      </a:lnTo>
                      <a:lnTo>
                        <a:pt x="130" y="12"/>
                      </a:lnTo>
                      <a:lnTo>
                        <a:pt x="138" y="24"/>
                      </a:lnTo>
                      <a:close/>
                    </a:path>
                  </a:pathLst>
                </a:custGeom>
                <a:solidFill>
                  <a:srgbClr val="E3A68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11" name="Freeform 112"/>
                <p:cNvSpPr>
                  <a:spLocks/>
                </p:cNvSpPr>
                <p:nvPr/>
              </p:nvSpPr>
              <p:spPr bwMode="auto">
                <a:xfrm>
                  <a:off x="5440392" y="2807816"/>
                  <a:ext cx="287517" cy="343423"/>
                </a:xfrm>
                <a:custGeom>
                  <a:avLst/>
                  <a:gdLst/>
                  <a:ahLst/>
                  <a:cxnLst>
                    <a:cxn ang="0">
                      <a:pos x="84" y="14"/>
                    </a:cxn>
                    <a:cxn ang="0">
                      <a:pos x="92" y="14"/>
                    </a:cxn>
                    <a:cxn ang="0">
                      <a:pos x="98" y="8"/>
                    </a:cxn>
                    <a:cxn ang="0">
                      <a:pos x="100" y="14"/>
                    </a:cxn>
                    <a:cxn ang="0">
                      <a:pos x="106" y="18"/>
                    </a:cxn>
                    <a:cxn ang="0">
                      <a:pos x="118" y="16"/>
                    </a:cxn>
                    <a:cxn ang="0">
                      <a:pos x="120" y="12"/>
                    </a:cxn>
                    <a:cxn ang="0">
                      <a:pos x="126" y="24"/>
                    </a:cxn>
                    <a:cxn ang="0">
                      <a:pos x="138" y="30"/>
                    </a:cxn>
                    <a:cxn ang="0">
                      <a:pos x="146" y="30"/>
                    </a:cxn>
                    <a:cxn ang="0">
                      <a:pos x="154" y="36"/>
                    </a:cxn>
                    <a:cxn ang="0">
                      <a:pos x="160" y="38"/>
                    </a:cxn>
                    <a:cxn ang="0">
                      <a:pos x="164" y="60"/>
                    </a:cxn>
                    <a:cxn ang="0">
                      <a:pos x="168" y="84"/>
                    </a:cxn>
                    <a:cxn ang="0">
                      <a:pos x="174" y="90"/>
                    </a:cxn>
                    <a:cxn ang="0">
                      <a:pos x="176" y="104"/>
                    </a:cxn>
                    <a:cxn ang="0">
                      <a:pos x="172" y="126"/>
                    </a:cxn>
                    <a:cxn ang="0">
                      <a:pos x="172" y="138"/>
                    </a:cxn>
                    <a:cxn ang="0">
                      <a:pos x="160" y="162"/>
                    </a:cxn>
                    <a:cxn ang="0">
                      <a:pos x="146" y="184"/>
                    </a:cxn>
                    <a:cxn ang="0">
                      <a:pos x="124" y="202"/>
                    </a:cxn>
                    <a:cxn ang="0">
                      <a:pos x="96" y="206"/>
                    </a:cxn>
                    <a:cxn ang="0">
                      <a:pos x="94" y="202"/>
                    </a:cxn>
                    <a:cxn ang="0">
                      <a:pos x="94" y="198"/>
                    </a:cxn>
                    <a:cxn ang="0">
                      <a:pos x="70" y="214"/>
                    </a:cxn>
                    <a:cxn ang="0">
                      <a:pos x="52" y="212"/>
                    </a:cxn>
                    <a:cxn ang="0">
                      <a:pos x="44" y="206"/>
                    </a:cxn>
                    <a:cxn ang="0">
                      <a:pos x="34" y="194"/>
                    </a:cxn>
                    <a:cxn ang="0">
                      <a:pos x="32" y="178"/>
                    </a:cxn>
                    <a:cxn ang="0">
                      <a:pos x="32" y="174"/>
                    </a:cxn>
                    <a:cxn ang="0">
                      <a:pos x="24" y="184"/>
                    </a:cxn>
                    <a:cxn ang="0">
                      <a:pos x="10" y="172"/>
                    </a:cxn>
                    <a:cxn ang="0">
                      <a:pos x="2" y="152"/>
                    </a:cxn>
                    <a:cxn ang="0">
                      <a:pos x="0" y="108"/>
                    </a:cxn>
                    <a:cxn ang="0">
                      <a:pos x="4" y="96"/>
                    </a:cxn>
                    <a:cxn ang="0">
                      <a:pos x="20" y="58"/>
                    </a:cxn>
                    <a:cxn ang="0">
                      <a:pos x="24" y="44"/>
                    </a:cxn>
                    <a:cxn ang="0">
                      <a:pos x="38" y="18"/>
                    </a:cxn>
                    <a:cxn ang="0">
                      <a:pos x="48" y="6"/>
                    </a:cxn>
                    <a:cxn ang="0">
                      <a:pos x="60" y="12"/>
                    </a:cxn>
                    <a:cxn ang="0">
                      <a:pos x="72" y="0"/>
                    </a:cxn>
                    <a:cxn ang="0">
                      <a:pos x="76" y="8"/>
                    </a:cxn>
                    <a:cxn ang="0">
                      <a:pos x="84" y="14"/>
                    </a:cxn>
                  </a:cxnLst>
                  <a:rect l="0" t="0" r="r" b="b"/>
                  <a:pathLst>
                    <a:path w="176" h="216">
                      <a:moveTo>
                        <a:pt x="84" y="14"/>
                      </a:moveTo>
                      <a:lnTo>
                        <a:pt x="84" y="14"/>
                      </a:lnTo>
                      <a:lnTo>
                        <a:pt x="88" y="14"/>
                      </a:lnTo>
                      <a:lnTo>
                        <a:pt x="92" y="14"/>
                      </a:lnTo>
                      <a:lnTo>
                        <a:pt x="98" y="8"/>
                      </a:lnTo>
                      <a:lnTo>
                        <a:pt x="98" y="8"/>
                      </a:lnTo>
                      <a:lnTo>
                        <a:pt x="98" y="12"/>
                      </a:lnTo>
                      <a:lnTo>
                        <a:pt x="100" y="14"/>
                      </a:lnTo>
                      <a:lnTo>
                        <a:pt x="106" y="18"/>
                      </a:lnTo>
                      <a:lnTo>
                        <a:pt x="106" y="18"/>
                      </a:lnTo>
                      <a:lnTo>
                        <a:pt x="114" y="18"/>
                      </a:lnTo>
                      <a:lnTo>
                        <a:pt x="118" y="16"/>
                      </a:lnTo>
                      <a:lnTo>
                        <a:pt x="120" y="12"/>
                      </a:lnTo>
                      <a:lnTo>
                        <a:pt x="120" y="12"/>
                      </a:lnTo>
                      <a:lnTo>
                        <a:pt x="124" y="20"/>
                      </a:lnTo>
                      <a:lnTo>
                        <a:pt x="126" y="24"/>
                      </a:lnTo>
                      <a:lnTo>
                        <a:pt x="132" y="28"/>
                      </a:lnTo>
                      <a:lnTo>
                        <a:pt x="138" y="30"/>
                      </a:lnTo>
                      <a:lnTo>
                        <a:pt x="138" y="30"/>
                      </a:lnTo>
                      <a:lnTo>
                        <a:pt x="146" y="30"/>
                      </a:lnTo>
                      <a:lnTo>
                        <a:pt x="150" y="32"/>
                      </a:lnTo>
                      <a:lnTo>
                        <a:pt x="154" y="36"/>
                      </a:lnTo>
                      <a:lnTo>
                        <a:pt x="160" y="38"/>
                      </a:lnTo>
                      <a:lnTo>
                        <a:pt x="160" y="38"/>
                      </a:lnTo>
                      <a:lnTo>
                        <a:pt x="162" y="50"/>
                      </a:lnTo>
                      <a:lnTo>
                        <a:pt x="164" y="60"/>
                      </a:lnTo>
                      <a:lnTo>
                        <a:pt x="166" y="70"/>
                      </a:lnTo>
                      <a:lnTo>
                        <a:pt x="168" y="84"/>
                      </a:lnTo>
                      <a:lnTo>
                        <a:pt x="168" y="84"/>
                      </a:lnTo>
                      <a:lnTo>
                        <a:pt x="174" y="90"/>
                      </a:lnTo>
                      <a:lnTo>
                        <a:pt x="176" y="96"/>
                      </a:lnTo>
                      <a:lnTo>
                        <a:pt x="176" y="104"/>
                      </a:lnTo>
                      <a:lnTo>
                        <a:pt x="176" y="110"/>
                      </a:lnTo>
                      <a:lnTo>
                        <a:pt x="172" y="126"/>
                      </a:lnTo>
                      <a:lnTo>
                        <a:pt x="172" y="132"/>
                      </a:lnTo>
                      <a:lnTo>
                        <a:pt x="172" y="138"/>
                      </a:lnTo>
                      <a:lnTo>
                        <a:pt x="172" y="138"/>
                      </a:lnTo>
                      <a:lnTo>
                        <a:pt x="160" y="162"/>
                      </a:lnTo>
                      <a:lnTo>
                        <a:pt x="154" y="174"/>
                      </a:lnTo>
                      <a:lnTo>
                        <a:pt x="146" y="184"/>
                      </a:lnTo>
                      <a:lnTo>
                        <a:pt x="136" y="194"/>
                      </a:lnTo>
                      <a:lnTo>
                        <a:pt x="124" y="202"/>
                      </a:lnTo>
                      <a:lnTo>
                        <a:pt x="112" y="206"/>
                      </a:lnTo>
                      <a:lnTo>
                        <a:pt x="96" y="206"/>
                      </a:lnTo>
                      <a:lnTo>
                        <a:pt x="96" y="206"/>
                      </a:lnTo>
                      <a:lnTo>
                        <a:pt x="94" y="202"/>
                      </a:lnTo>
                      <a:lnTo>
                        <a:pt x="94" y="198"/>
                      </a:lnTo>
                      <a:lnTo>
                        <a:pt x="94" y="198"/>
                      </a:lnTo>
                      <a:lnTo>
                        <a:pt x="80" y="210"/>
                      </a:lnTo>
                      <a:lnTo>
                        <a:pt x="70" y="214"/>
                      </a:lnTo>
                      <a:lnTo>
                        <a:pt x="60" y="216"/>
                      </a:lnTo>
                      <a:lnTo>
                        <a:pt x="52" y="212"/>
                      </a:lnTo>
                      <a:lnTo>
                        <a:pt x="52" y="212"/>
                      </a:lnTo>
                      <a:lnTo>
                        <a:pt x="44" y="206"/>
                      </a:lnTo>
                      <a:lnTo>
                        <a:pt x="38" y="200"/>
                      </a:lnTo>
                      <a:lnTo>
                        <a:pt x="34" y="194"/>
                      </a:lnTo>
                      <a:lnTo>
                        <a:pt x="32" y="188"/>
                      </a:lnTo>
                      <a:lnTo>
                        <a:pt x="32" y="178"/>
                      </a:lnTo>
                      <a:lnTo>
                        <a:pt x="32" y="174"/>
                      </a:lnTo>
                      <a:lnTo>
                        <a:pt x="32" y="174"/>
                      </a:lnTo>
                      <a:lnTo>
                        <a:pt x="24" y="184"/>
                      </a:lnTo>
                      <a:lnTo>
                        <a:pt x="24" y="184"/>
                      </a:lnTo>
                      <a:lnTo>
                        <a:pt x="16" y="178"/>
                      </a:lnTo>
                      <a:lnTo>
                        <a:pt x="10" y="172"/>
                      </a:lnTo>
                      <a:lnTo>
                        <a:pt x="4" y="162"/>
                      </a:lnTo>
                      <a:lnTo>
                        <a:pt x="2" y="152"/>
                      </a:lnTo>
                      <a:lnTo>
                        <a:pt x="0" y="130"/>
                      </a:lnTo>
                      <a:lnTo>
                        <a:pt x="0" y="108"/>
                      </a:lnTo>
                      <a:lnTo>
                        <a:pt x="0" y="108"/>
                      </a:lnTo>
                      <a:lnTo>
                        <a:pt x="4" y="96"/>
                      </a:lnTo>
                      <a:lnTo>
                        <a:pt x="8" y="82"/>
                      </a:lnTo>
                      <a:lnTo>
                        <a:pt x="20" y="58"/>
                      </a:lnTo>
                      <a:lnTo>
                        <a:pt x="20" y="58"/>
                      </a:lnTo>
                      <a:lnTo>
                        <a:pt x="24" y="44"/>
                      </a:lnTo>
                      <a:lnTo>
                        <a:pt x="30" y="30"/>
                      </a:lnTo>
                      <a:lnTo>
                        <a:pt x="38" y="18"/>
                      </a:lnTo>
                      <a:lnTo>
                        <a:pt x="48" y="6"/>
                      </a:lnTo>
                      <a:lnTo>
                        <a:pt x="48" y="6"/>
                      </a:lnTo>
                      <a:lnTo>
                        <a:pt x="56" y="10"/>
                      </a:lnTo>
                      <a:lnTo>
                        <a:pt x="60" y="12"/>
                      </a:lnTo>
                      <a:lnTo>
                        <a:pt x="64" y="10"/>
                      </a:lnTo>
                      <a:lnTo>
                        <a:pt x="72" y="0"/>
                      </a:lnTo>
                      <a:lnTo>
                        <a:pt x="72" y="0"/>
                      </a:lnTo>
                      <a:lnTo>
                        <a:pt x="76" y="8"/>
                      </a:lnTo>
                      <a:lnTo>
                        <a:pt x="84" y="14"/>
                      </a:lnTo>
                      <a:lnTo>
                        <a:pt x="84" y="14"/>
                      </a:lnTo>
                      <a:close/>
                    </a:path>
                  </a:pathLst>
                </a:custGeom>
                <a:solidFill>
                  <a:schemeClr val="accent6">
                    <a:lumMod val="40000"/>
                    <a:lumOff val="60000"/>
                  </a:schemeClr>
                </a:solidFill>
                <a:ln w="9525">
                  <a:noFill/>
                  <a:round/>
                  <a:headEnd/>
                  <a:tailEnd/>
                </a:ln>
              </p:spPr>
              <p:txBody>
                <a:bodyPr/>
                <a:lstStyle/>
                <a:p>
                  <a:pPr eaLnBrk="1" fontAlgn="auto" hangingPunct="1">
                    <a:spcBef>
                      <a:spcPts val="0"/>
                    </a:spcBef>
                    <a:spcAft>
                      <a:spcPts val="0"/>
                    </a:spcAft>
                    <a:defRPr/>
                  </a:pPr>
                  <a:endParaRPr lang="ja-JP" altLang="en-US">
                    <a:latin typeface="+mn-lt"/>
                    <a:ea typeface="+mn-ea"/>
                    <a:cs typeface="メイリオ" pitchFamily="50" charset="-128"/>
                  </a:endParaRPr>
                </a:p>
              </p:txBody>
            </p:sp>
            <p:sp>
              <p:nvSpPr>
                <p:cNvPr id="512" name="Freeform 113"/>
                <p:cNvSpPr>
                  <a:spLocks/>
                </p:cNvSpPr>
                <p:nvPr/>
              </p:nvSpPr>
              <p:spPr bwMode="auto">
                <a:xfrm>
                  <a:off x="6030915" y="2790816"/>
                  <a:ext cx="66675" cy="98425"/>
                </a:xfrm>
                <a:custGeom>
                  <a:avLst/>
                  <a:gdLst>
                    <a:gd name="T0" fmla="*/ 2147483646 w 42"/>
                    <a:gd name="T1" fmla="*/ 0 h 62"/>
                    <a:gd name="T2" fmla="*/ 2147483646 w 42"/>
                    <a:gd name="T3" fmla="*/ 0 h 62"/>
                    <a:gd name="T4" fmla="*/ 2147483646 w 42"/>
                    <a:gd name="T5" fmla="*/ 2147483646 h 62"/>
                    <a:gd name="T6" fmla="*/ 2147483646 w 42"/>
                    <a:gd name="T7" fmla="*/ 2147483646 h 62"/>
                    <a:gd name="T8" fmla="*/ 2147483646 w 42"/>
                    <a:gd name="T9" fmla="*/ 2147483646 h 62"/>
                    <a:gd name="T10" fmla="*/ 2147483646 w 42"/>
                    <a:gd name="T11" fmla="*/ 2147483646 h 62"/>
                    <a:gd name="T12" fmla="*/ 2147483646 w 42"/>
                    <a:gd name="T13" fmla="*/ 2147483646 h 62"/>
                    <a:gd name="T14" fmla="*/ 2147483646 w 42"/>
                    <a:gd name="T15" fmla="*/ 2147483646 h 62"/>
                    <a:gd name="T16" fmla="*/ 2147483646 w 42"/>
                    <a:gd name="T17" fmla="*/ 2147483646 h 62"/>
                    <a:gd name="T18" fmla="*/ 2147483646 w 42"/>
                    <a:gd name="T19" fmla="*/ 2147483646 h 62"/>
                    <a:gd name="T20" fmla="*/ 2147483646 w 42"/>
                    <a:gd name="T21" fmla="*/ 2147483646 h 62"/>
                    <a:gd name="T22" fmla="*/ 2147483646 w 42"/>
                    <a:gd name="T23" fmla="*/ 2147483646 h 62"/>
                    <a:gd name="T24" fmla="*/ 2147483646 w 42"/>
                    <a:gd name="T25" fmla="*/ 2147483646 h 62"/>
                    <a:gd name="T26" fmla="*/ 2147483646 w 42"/>
                    <a:gd name="T27" fmla="*/ 2147483646 h 62"/>
                    <a:gd name="T28" fmla="*/ 2147483646 w 42"/>
                    <a:gd name="T29" fmla="*/ 2147483646 h 62"/>
                    <a:gd name="T30" fmla="*/ 2147483646 w 42"/>
                    <a:gd name="T31" fmla="*/ 2147483646 h 62"/>
                    <a:gd name="T32" fmla="*/ 2147483646 w 42"/>
                    <a:gd name="T33" fmla="*/ 2147483646 h 62"/>
                    <a:gd name="T34" fmla="*/ 0 w 42"/>
                    <a:gd name="T35" fmla="*/ 2147483646 h 62"/>
                    <a:gd name="T36" fmla="*/ 0 w 42"/>
                    <a:gd name="T37" fmla="*/ 2147483646 h 62"/>
                    <a:gd name="T38" fmla="*/ 2147483646 w 42"/>
                    <a:gd name="T39" fmla="*/ 2147483646 h 62"/>
                    <a:gd name="T40" fmla="*/ 2147483646 w 42"/>
                    <a:gd name="T41" fmla="*/ 2147483646 h 62"/>
                    <a:gd name="T42" fmla="*/ 2147483646 w 42"/>
                    <a:gd name="T43" fmla="*/ 2147483646 h 62"/>
                    <a:gd name="T44" fmla="*/ 2147483646 w 42"/>
                    <a:gd name="T45" fmla="*/ 0 h 62"/>
                    <a:gd name="T46" fmla="*/ 2147483646 w 42"/>
                    <a:gd name="T47" fmla="*/ 0 h 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
                    <a:gd name="T73" fmla="*/ 0 h 62"/>
                    <a:gd name="T74" fmla="*/ 42 w 42"/>
                    <a:gd name="T75" fmla="*/ 62 h 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 h="62">
                      <a:moveTo>
                        <a:pt x="20" y="0"/>
                      </a:moveTo>
                      <a:lnTo>
                        <a:pt x="20" y="0"/>
                      </a:lnTo>
                      <a:lnTo>
                        <a:pt x="14" y="22"/>
                      </a:lnTo>
                      <a:lnTo>
                        <a:pt x="10" y="34"/>
                      </a:lnTo>
                      <a:lnTo>
                        <a:pt x="10" y="44"/>
                      </a:lnTo>
                      <a:lnTo>
                        <a:pt x="12" y="48"/>
                      </a:lnTo>
                      <a:lnTo>
                        <a:pt x="16" y="50"/>
                      </a:lnTo>
                      <a:lnTo>
                        <a:pt x="28" y="54"/>
                      </a:lnTo>
                      <a:lnTo>
                        <a:pt x="38" y="54"/>
                      </a:lnTo>
                      <a:lnTo>
                        <a:pt x="42" y="56"/>
                      </a:lnTo>
                      <a:lnTo>
                        <a:pt x="34" y="60"/>
                      </a:lnTo>
                      <a:lnTo>
                        <a:pt x="24" y="62"/>
                      </a:lnTo>
                      <a:lnTo>
                        <a:pt x="18" y="60"/>
                      </a:lnTo>
                      <a:lnTo>
                        <a:pt x="10" y="58"/>
                      </a:lnTo>
                      <a:lnTo>
                        <a:pt x="6" y="56"/>
                      </a:lnTo>
                      <a:lnTo>
                        <a:pt x="0" y="52"/>
                      </a:lnTo>
                      <a:lnTo>
                        <a:pt x="4" y="30"/>
                      </a:lnTo>
                      <a:lnTo>
                        <a:pt x="12" y="12"/>
                      </a:lnTo>
                      <a:lnTo>
                        <a:pt x="18" y="4"/>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13" name="Freeform 114"/>
                <p:cNvSpPr>
                  <a:spLocks/>
                </p:cNvSpPr>
                <p:nvPr/>
              </p:nvSpPr>
              <p:spPr bwMode="auto">
                <a:xfrm>
                  <a:off x="6011865" y="2905116"/>
                  <a:ext cx="82550" cy="41275"/>
                </a:xfrm>
                <a:custGeom>
                  <a:avLst/>
                  <a:gdLst>
                    <a:gd name="T0" fmla="*/ 2147483646 w 52"/>
                    <a:gd name="T1" fmla="*/ 2147483646 h 26"/>
                    <a:gd name="T2" fmla="*/ 2147483646 w 52"/>
                    <a:gd name="T3" fmla="*/ 2147483646 h 26"/>
                    <a:gd name="T4" fmla="*/ 2147483646 w 52"/>
                    <a:gd name="T5" fmla="*/ 2147483646 h 26"/>
                    <a:gd name="T6" fmla="*/ 2147483646 w 52"/>
                    <a:gd name="T7" fmla="*/ 2147483646 h 26"/>
                    <a:gd name="T8" fmla="*/ 2147483646 w 52"/>
                    <a:gd name="T9" fmla="*/ 2147483646 h 26"/>
                    <a:gd name="T10" fmla="*/ 2147483646 w 52"/>
                    <a:gd name="T11" fmla="*/ 2147483646 h 26"/>
                    <a:gd name="T12" fmla="*/ 2147483646 w 52"/>
                    <a:gd name="T13" fmla="*/ 2147483646 h 26"/>
                    <a:gd name="T14" fmla="*/ 2147483646 w 52"/>
                    <a:gd name="T15" fmla="*/ 2147483646 h 26"/>
                    <a:gd name="T16" fmla="*/ 2147483646 w 52"/>
                    <a:gd name="T17" fmla="*/ 2147483646 h 26"/>
                    <a:gd name="T18" fmla="*/ 2147483646 w 52"/>
                    <a:gd name="T19" fmla="*/ 2147483646 h 26"/>
                    <a:gd name="T20" fmla="*/ 0 w 52"/>
                    <a:gd name="T21" fmla="*/ 2147483646 h 26"/>
                    <a:gd name="T22" fmla="*/ 0 w 52"/>
                    <a:gd name="T23" fmla="*/ 0 h 26"/>
                    <a:gd name="T24" fmla="*/ 0 w 52"/>
                    <a:gd name="T25" fmla="*/ 0 h 26"/>
                    <a:gd name="T26" fmla="*/ 2147483646 w 52"/>
                    <a:gd name="T27" fmla="*/ 2147483646 h 26"/>
                    <a:gd name="T28" fmla="*/ 2147483646 w 52"/>
                    <a:gd name="T29" fmla="*/ 2147483646 h 26"/>
                    <a:gd name="T30" fmla="*/ 2147483646 w 52"/>
                    <a:gd name="T31" fmla="*/ 2147483646 h 26"/>
                    <a:gd name="T32" fmla="*/ 2147483646 w 52"/>
                    <a:gd name="T33" fmla="*/ 2147483646 h 26"/>
                    <a:gd name="T34" fmla="*/ 2147483646 w 52"/>
                    <a:gd name="T35" fmla="*/ 2147483646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2"/>
                    <a:gd name="T55" fmla="*/ 0 h 26"/>
                    <a:gd name="T56" fmla="*/ 52 w 5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2" h="26">
                      <a:moveTo>
                        <a:pt x="52" y="12"/>
                      </a:moveTo>
                      <a:lnTo>
                        <a:pt x="52" y="12"/>
                      </a:lnTo>
                      <a:lnTo>
                        <a:pt x="50" y="18"/>
                      </a:lnTo>
                      <a:lnTo>
                        <a:pt x="46" y="22"/>
                      </a:lnTo>
                      <a:lnTo>
                        <a:pt x="32" y="26"/>
                      </a:lnTo>
                      <a:lnTo>
                        <a:pt x="22" y="24"/>
                      </a:lnTo>
                      <a:lnTo>
                        <a:pt x="14" y="22"/>
                      </a:lnTo>
                      <a:lnTo>
                        <a:pt x="8" y="18"/>
                      </a:lnTo>
                      <a:lnTo>
                        <a:pt x="4" y="14"/>
                      </a:lnTo>
                      <a:lnTo>
                        <a:pt x="0" y="6"/>
                      </a:lnTo>
                      <a:lnTo>
                        <a:pt x="0" y="0"/>
                      </a:lnTo>
                      <a:lnTo>
                        <a:pt x="10" y="8"/>
                      </a:lnTo>
                      <a:lnTo>
                        <a:pt x="22" y="12"/>
                      </a:lnTo>
                      <a:lnTo>
                        <a:pt x="36" y="14"/>
                      </a:lnTo>
                      <a:lnTo>
                        <a:pt x="5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14" name="Freeform 115"/>
                <p:cNvSpPr>
                  <a:spLocks/>
                </p:cNvSpPr>
                <p:nvPr/>
              </p:nvSpPr>
              <p:spPr bwMode="auto">
                <a:xfrm>
                  <a:off x="5500690" y="2886066"/>
                  <a:ext cx="60325" cy="41275"/>
                </a:xfrm>
                <a:custGeom>
                  <a:avLst/>
                  <a:gdLst>
                    <a:gd name="T0" fmla="*/ 2147483646 w 38"/>
                    <a:gd name="T1" fmla="*/ 2147483646 h 26"/>
                    <a:gd name="T2" fmla="*/ 2147483646 w 38"/>
                    <a:gd name="T3" fmla="*/ 2147483646 h 26"/>
                    <a:gd name="T4" fmla="*/ 2147483646 w 38"/>
                    <a:gd name="T5" fmla="*/ 2147483646 h 26"/>
                    <a:gd name="T6" fmla="*/ 2147483646 w 38"/>
                    <a:gd name="T7" fmla="*/ 2147483646 h 26"/>
                    <a:gd name="T8" fmla="*/ 2147483646 w 38"/>
                    <a:gd name="T9" fmla="*/ 2147483646 h 26"/>
                    <a:gd name="T10" fmla="*/ 2147483646 w 38"/>
                    <a:gd name="T11" fmla="*/ 2147483646 h 26"/>
                    <a:gd name="T12" fmla="*/ 2147483646 w 38"/>
                    <a:gd name="T13" fmla="*/ 2147483646 h 26"/>
                    <a:gd name="T14" fmla="*/ 2147483646 w 38"/>
                    <a:gd name="T15" fmla="*/ 2147483646 h 26"/>
                    <a:gd name="T16" fmla="*/ 2147483646 w 38"/>
                    <a:gd name="T17" fmla="*/ 2147483646 h 26"/>
                    <a:gd name="T18" fmla="*/ 0 w 38"/>
                    <a:gd name="T19" fmla="*/ 2147483646 h 26"/>
                    <a:gd name="T20" fmla="*/ 0 w 38"/>
                    <a:gd name="T21" fmla="*/ 0 h 26"/>
                    <a:gd name="T22" fmla="*/ 0 w 38"/>
                    <a:gd name="T23" fmla="*/ 0 h 26"/>
                    <a:gd name="T24" fmla="*/ 2147483646 w 38"/>
                    <a:gd name="T25" fmla="*/ 2147483646 h 26"/>
                    <a:gd name="T26" fmla="*/ 2147483646 w 38"/>
                    <a:gd name="T27" fmla="*/ 2147483646 h 26"/>
                    <a:gd name="T28" fmla="*/ 2147483646 w 38"/>
                    <a:gd name="T29" fmla="*/ 2147483646 h 26"/>
                    <a:gd name="T30" fmla="*/ 2147483646 w 38"/>
                    <a:gd name="T31" fmla="*/ 2147483646 h 26"/>
                    <a:gd name="T32" fmla="*/ 2147483646 w 38"/>
                    <a:gd name="T33" fmla="*/ 2147483646 h 26"/>
                    <a:gd name="T34" fmla="*/ 2147483646 w 38"/>
                    <a:gd name="T35" fmla="*/ 2147483646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26"/>
                    <a:gd name="T56" fmla="*/ 38 w 38"/>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26">
                      <a:moveTo>
                        <a:pt x="38" y="20"/>
                      </a:moveTo>
                      <a:lnTo>
                        <a:pt x="38" y="20"/>
                      </a:lnTo>
                      <a:lnTo>
                        <a:pt x="32" y="24"/>
                      </a:lnTo>
                      <a:lnTo>
                        <a:pt x="28" y="26"/>
                      </a:lnTo>
                      <a:lnTo>
                        <a:pt x="20" y="26"/>
                      </a:lnTo>
                      <a:lnTo>
                        <a:pt x="12" y="24"/>
                      </a:lnTo>
                      <a:lnTo>
                        <a:pt x="6" y="18"/>
                      </a:lnTo>
                      <a:lnTo>
                        <a:pt x="2" y="12"/>
                      </a:lnTo>
                      <a:lnTo>
                        <a:pt x="0" y="6"/>
                      </a:lnTo>
                      <a:lnTo>
                        <a:pt x="0" y="0"/>
                      </a:lnTo>
                      <a:lnTo>
                        <a:pt x="4" y="6"/>
                      </a:lnTo>
                      <a:lnTo>
                        <a:pt x="10" y="10"/>
                      </a:lnTo>
                      <a:lnTo>
                        <a:pt x="22" y="14"/>
                      </a:lnTo>
                      <a:lnTo>
                        <a:pt x="32" y="16"/>
                      </a:lnTo>
                      <a:lnTo>
                        <a:pt x="3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15" name="Freeform 116"/>
                <p:cNvSpPr>
                  <a:spLocks/>
                </p:cNvSpPr>
                <p:nvPr/>
              </p:nvSpPr>
              <p:spPr bwMode="auto">
                <a:xfrm>
                  <a:off x="5621340" y="2927341"/>
                  <a:ext cx="57150" cy="38100"/>
                </a:xfrm>
                <a:custGeom>
                  <a:avLst/>
                  <a:gdLst>
                    <a:gd name="T0" fmla="*/ 2147483646 w 36"/>
                    <a:gd name="T1" fmla="*/ 2147483646 h 24"/>
                    <a:gd name="T2" fmla="*/ 2147483646 w 36"/>
                    <a:gd name="T3" fmla="*/ 2147483646 h 24"/>
                    <a:gd name="T4" fmla="*/ 2147483646 w 36"/>
                    <a:gd name="T5" fmla="*/ 2147483646 h 24"/>
                    <a:gd name="T6" fmla="*/ 2147483646 w 36"/>
                    <a:gd name="T7" fmla="*/ 2147483646 h 24"/>
                    <a:gd name="T8" fmla="*/ 2147483646 w 36"/>
                    <a:gd name="T9" fmla="*/ 2147483646 h 24"/>
                    <a:gd name="T10" fmla="*/ 2147483646 w 36"/>
                    <a:gd name="T11" fmla="*/ 2147483646 h 24"/>
                    <a:gd name="T12" fmla="*/ 2147483646 w 36"/>
                    <a:gd name="T13" fmla="*/ 2147483646 h 24"/>
                    <a:gd name="T14" fmla="*/ 2147483646 w 36"/>
                    <a:gd name="T15" fmla="*/ 2147483646 h 24"/>
                    <a:gd name="T16" fmla="*/ 2147483646 w 36"/>
                    <a:gd name="T17" fmla="*/ 2147483646 h 24"/>
                    <a:gd name="T18" fmla="*/ 0 w 36"/>
                    <a:gd name="T19" fmla="*/ 2147483646 h 24"/>
                    <a:gd name="T20" fmla="*/ 0 w 36"/>
                    <a:gd name="T21" fmla="*/ 0 h 24"/>
                    <a:gd name="T22" fmla="*/ 0 w 36"/>
                    <a:gd name="T23" fmla="*/ 0 h 24"/>
                    <a:gd name="T24" fmla="*/ 2147483646 w 36"/>
                    <a:gd name="T25" fmla="*/ 2147483646 h 24"/>
                    <a:gd name="T26" fmla="*/ 2147483646 w 36"/>
                    <a:gd name="T27" fmla="*/ 2147483646 h 24"/>
                    <a:gd name="T28" fmla="*/ 2147483646 w 36"/>
                    <a:gd name="T29" fmla="*/ 2147483646 h 24"/>
                    <a:gd name="T30" fmla="*/ 2147483646 w 36"/>
                    <a:gd name="T31" fmla="*/ 2147483646 h 24"/>
                    <a:gd name="T32" fmla="*/ 2147483646 w 36"/>
                    <a:gd name="T33" fmla="*/ 2147483646 h 24"/>
                    <a:gd name="T34" fmla="*/ 2147483646 w 36"/>
                    <a:gd name="T35" fmla="*/ 2147483646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24"/>
                    <a:gd name="T56" fmla="*/ 36 w 36"/>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24">
                      <a:moveTo>
                        <a:pt x="36" y="20"/>
                      </a:moveTo>
                      <a:lnTo>
                        <a:pt x="36" y="20"/>
                      </a:lnTo>
                      <a:lnTo>
                        <a:pt x="34" y="22"/>
                      </a:lnTo>
                      <a:lnTo>
                        <a:pt x="28" y="24"/>
                      </a:lnTo>
                      <a:lnTo>
                        <a:pt x="22" y="24"/>
                      </a:lnTo>
                      <a:lnTo>
                        <a:pt x="12" y="24"/>
                      </a:lnTo>
                      <a:lnTo>
                        <a:pt x="6" y="18"/>
                      </a:lnTo>
                      <a:lnTo>
                        <a:pt x="2" y="12"/>
                      </a:lnTo>
                      <a:lnTo>
                        <a:pt x="0" y="6"/>
                      </a:lnTo>
                      <a:lnTo>
                        <a:pt x="0" y="0"/>
                      </a:lnTo>
                      <a:lnTo>
                        <a:pt x="4" y="6"/>
                      </a:lnTo>
                      <a:lnTo>
                        <a:pt x="10" y="10"/>
                      </a:lnTo>
                      <a:lnTo>
                        <a:pt x="20" y="14"/>
                      </a:lnTo>
                      <a:lnTo>
                        <a:pt x="30" y="16"/>
                      </a:lnTo>
                      <a:lnTo>
                        <a:pt x="3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16" name="Freeform 117"/>
                <p:cNvSpPr>
                  <a:spLocks/>
                </p:cNvSpPr>
                <p:nvPr/>
              </p:nvSpPr>
              <p:spPr bwMode="auto">
                <a:xfrm>
                  <a:off x="6103940" y="2784466"/>
                  <a:ext cx="66675" cy="25400"/>
                </a:xfrm>
                <a:custGeom>
                  <a:avLst/>
                  <a:gdLst>
                    <a:gd name="T0" fmla="*/ 2147483646 w 42"/>
                    <a:gd name="T1" fmla="*/ 2147483646 h 16"/>
                    <a:gd name="T2" fmla="*/ 2147483646 w 42"/>
                    <a:gd name="T3" fmla="*/ 2147483646 h 16"/>
                    <a:gd name="T4" fmla="*/ 2147483646 w 42"/>
                    <a:gd name="T5" fmla="*/ 2147483646 h 16"/>
                    <a:gd name="T6" fmla="*/ 2147483646 w 42"/>
                    <a:gd name="T7" fmla="*/ 2147483646 h 16"/>
                    <a:gd name="T8" fmla="*/ 2147483646 w 42"/>
                    <a:gd name="T9" fmla="*/ 2147483646 h 16"/>
                    <a:gd name="T10" fmla="*/ 2147483646 w 42"/>
                    <a:gd name="T11" fmla="*/ 2147483646 h 16"/>
                    <a:gd name="T12" fmla="*/ 2147483646 w 42"/>
                    <a:gd name="T13" fmla="*/ 2147483646 h 16"/>
                    <a:gd name="T14" fmla="*/ 2147483646 w 42"/>
                    <a:gd name="T15" fmla="*/ 2147483646 h 16"/>
                    <a:gd name="T16" fmla="*/ 2147483646 w 42"/>
                    <a:gd name="T17" fmla="*/ 2147483646 h 16"/>
                    <a:gd name="T18" fmla="*/ 2147483646 w 42"/>
                    <a:gd name="T19" fmla="*/ 2147483646 h 16"/>
                    <a:gd name="T20" fmla="*/ 0 w 42"/>
                    <a:gd name="T21" fmla="*/ 0 h 16"/>
                    <a:gd name="T22" fmla="*/ 0 w 42"/>
                    <a:gd name="T23" fmla="*/ 0 h 16"/>
                    <a:gd name="T24" fmla="*/ 2147483646 w 42"/>
                    <a:gd name="T25" fmla="*/ 2147483646 h 16"/>
                    <a:gd name="T26" fmla="*/ 2147483646 w 42"/>
                    <a:gd name="T27" fmla="*/ 2147483646 h 16"/>
                    <a:gd name="T28" fmla="*/ 2147483646 w 42"/>
                    <a:gd name="T29" fmla="*/ 2147483646 h 16"/>
                    <a:gd name="T30" fmla="*/ 2147483646 w 42"/>
                    <a:gd name="T31" fmla="*/ 2147483646 h 16"/>
                    <a:gd name="T32" fmla="*/ 2147483646 w 42"/>
                    <a:gd name="T33" fmla="*/ 2147483646 h 16"/>
                    <a:gd name="T34" fmla="*/ 2147483646 w 42"/>
                    <a:gd name="T35" fmla="*/ 2147483646 h 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2"/>
                    <a:gd name="T55" fmla="*/ 0 h 16"/>
                    <a:gd name="T56" fmla="*/ 42 w 42"/>
                    <a:gd name="T57" fmla="*/ 16 h 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2" h="16">
                      <a:moveTo>
                        <a:pt x="42" y="4"/>
                      </a:moveTo>
                      <a:lnTo>
                        <a:pt x="42" y="4"/>
                      </a:lnTo>
                      <a:lnTo>
                        <a:pt x="40" y="8"/>
                      </a:lnTo>
                      <a:lnTo>
                        <a:pt x="36" y="12"/>
                      </a:lnTo>
                      <a:lnTo>
                        <a:pt x="28" y="16"/>
                      </a:lnTo>
                      <a:lnTo>
                        <a:pt x="20" y="16"/>
                      </a:lnTo>
                      <a:lnTo>
                        <a:pt x="12" y="14"/>
                      </a:lnTo>
                      <a:lnTo>
                        <a:pt x="6" y="10"/>
                      </a:lnTo>
                      <a:lnTo>
                        <a:pt x="2" y="4"/>
                      </a:lnTo>
                      <a:lnTo>
                        <a:pt x="0" y="0"/>
                      </a:lnTo>
                      <a:lnTo>
                        <a:pt x="6" y="2"/>
                      </a:lnTo>
                      <a:lnTo>
                        <a:pt x="12" y="4"/>
                      </a:lnTo>
                      <a:lnTo>
                        <a:pt x="24" y="6"/>
                      </a:lnTo>
                      <a:lnTo>
                        <a:pt x="34" y="4"/>
                      </a:lnTo>
                      <a:lnTo>
                        <a:pt x="4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17" name="Freeform 118"/>
                <p:cNvSpPr>
                  <a:spLocks/>
                </p:cNvSpPr>
                <p:nvPr/>
              </p:nvSpPr>
              <p:spPr bwMode="auto">
                <a:xfrm>
                  <a:off x="5980115" y="2755891"/>
                  <a:ext cx="63500" cy="38100"/>
                </a:xfrm>
                <a:custGeom>
                  <a:avLst/>
                  <a:gdLst>
                    <a:gd name="T0" fmla="*/ 2147483646 w 40"/>
                    <a:gd name="T1" fmla="*/ 2147483646 h 24"/>
                    <a:gd name="T2" fmla="*/ 2147483646 w 40"/>
                    <a:gd name="T3" fmla="*/ 2147483646 h 24"/>
                    <a:gd name="T4" fmla="*/ 2147483646 w 40"/>
                    <a:gd name="T5" fmla="*/ 2147483646 h 24"/>
                    <a:gd name="T6" fmla="*/ 2147483646 w 40"/>
                    <a:gd name="T7" fmla="*/ 2147483646 h 24"/>
                    <a:gd name="T8" fmla="*/ 2147483646 w 40"/>
                    <a:gd name="T9" fmla="*/ 2147483646 h 24"/>
                    <a:gd name="T10" fmla="*/ 2147483646 w 40"/>
                    <a:gd name="T11" fmla="*/ 2147483646 h 24"/>
                    <a:gd name="T12" fmla="*/ 2147483646 w 40"/>
                    <a:gd name="T13" fmla="*/ 2147483646 h 24"/>
                    <a:gd name="T14" fmla="*/ 2147483646 w 40"/>
                    <a:gd name="T15" fmla="*/ 2147483646 h 24"/>
                    <a:gd name="T16" fmla="*/ 2147483646 w 40"/>
                    <a:gd name="T17" fmla="*/ 2147483646 h 24"/>
                    <a:gd name="T18" fmla="*/ 2147483646 w 40"/>
                    <a:gd name="T19" fmla="*/ 2147483646 h 24"/>
                    <a:gd name="T20" fmla="*/ 0 w 40"/>
                    <a:gd name="T21" fmla="*/ 0 h 24"/>
                    <a:gd name="T22" fmla="*/ 0 w 40"/>
                    <a:gd name="T23" fmla="*/ 0 h 24"/>
                    <a:gd name="T24" fmla="*/ 2147483646 w 40"/>
                    <a:gd name="T25" fmla="*/ 2147483646 h 24"/>
                    <a:gd name="T26" fmla="*/ 2147483646 w 40"/>
                    <a:gd name="T27" fmla="*/ 2147483646 h 24"/>
                    <a:gd name="T28" fmla="*/ 2147483646 w 40"/>
                    <a:gd name="T29" fmla="*/ 2147483646 h 24"/>
                    <a:gd name="T30" fmla="*/ 2147483646 w 40"/>
                    <a:gd name="T31" fmla="*/ 2147483646 h 24"/>
                    <a:gd name="T32" fmla="*/ 2147483646 w 40"/>
                    <a:gd name="T33" fmla="*/ 2147483646 h 24"/>
                    <a:gd name="T34" fmla="*/ 2147483646 w 40"/>
                    <a:gd name="T35" fmla="*/ 2147483646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
                    <a:gd name="T55" fmla="*/ 0 h 24"/>
                    <a:gd name="T56" fmla="*/ 40 w 4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 h="24">
                      <a:moveTo>
                        <a:pt x="40" y="16"/>
                      </a:moveTo>
                      <a:lnTo>
                        <a:pt x="40" y="16"/>
                      </a:lnTo>
                      <a:lnTo>
                        <a:pt x="36" y="20"/>
                      </a:lnTo>
                      <a:lnTo>
                        <a:pt x="32" y="22"/>
                      </a:lnTo>
                      <a:lnTo>
                        <a:pt x="24" y="24"/>
                      </a:lnTo>
                      <a:lnTo>
                        <a:pt x="16" y="22"/>
                      </a:lnTo>
                      <a:lnTo>
                        <a:pt x="8" y="18"/>
                      </a:lnTo>
                      <a:lnTo>
                        <a:pt x="4" y="12"/>
                      </a:lnTo>
                      <a:lnTo>
                        <a:pt x="2" y="6"/>
                      </a:lnTo>
                      <a:lnTo>
                        <a:pt x="0" y="0"/>
                      </a:lnTo>
                      <a:lnTo>
                        <a:pt x="6" y="6"/>
                      </a:lnTo>
                      <a:lnTo>
                        <a:pt x="12" y="8"/>
                      </a:lnTo>
                      <a:lnTo>
                        <a:pt x="24" y="12"/>
                      </a:lnTo>
                      <a:lnTo>
                        <a:pt x="34" y="14"/>
                      </a:lnTo>
                      <a:lnTo>
                        <a:pt x="4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18" name="Freeform 119"/>
                <p:cNvSpPr>
                  <a:spLocks/>
                </p:cNvSpPr>
                <p:nvPr/>
              </p:nvSpPr>
              <p:spPr bwMode="auto">
                <a:xfrm>
                  <a:off x="5535615" y="2959091"/>
                  <a:ext cx="63500" cy="73025"/>
                </a:xfrm>
                <a:custGeom>
                  <a:avLst/>
                  <a:gdLst>
                    <a:gd name="T0" fmla="*/ 2147483646 w 40"/>
                    <a:gd name="T1" fmla="*/ 2147483646 h 46"/>
                    <a:gd name="T2" fmla="*/ 2147483646 w 40"/>
                    <a:gd name="T3" fmla="*/ 2147483646 h 46"/>
                    <a:gd name="T4" fmla="*/ 2147483646 w 40"/>
                    <a:gd name="T5" fmla="*/ 2147483646 h 46"/>
                    <a:gd name="T6" fmla="*/ 2147483646 w 40"/>
                    <a:gd name="T7" fmla="*/ 2147483646 h 46"/>
                    <a:gd name="T8" fmla="*/ 2147483646 w 40"/>
                    <a:gd name="T9" fmla="*/ 2147483646 h 46"/>
                    <a:gd name="T10" fmla="*/ 2147483646 w 40"/>
                    <a:gd name="T11" fmla="*/ 2147483646 h 46"/>
                    <a:gd name="T12" fmla="*/ 2147483646 w 40"/>
                    <a:gd name="T13" fmla="*/ 2147483646 h 46"/>
                    <a:gd name="T14" fmla="*/ 2147483646 w 40"/>
                    <a:gd name="T15" fmla="*/ 2147483646 h 46"/>
                    <a:gd name="T16" fmla="*/ 2147483646 w 40"/>
                    <a:gd name="T17" fmla="*/ 2147483646 h 46"/>
                    <a:gd name="T18" fmla="*/ 2147483646 w 40"/>
                    <a:gd name="T19" fmla="*/ 2147483646 h 46"/>
                    <a:gd name="T20" fmla="*/ 2147483646 w 40"/>
                    <a:gd name="T21" fmla="*/ 2147483646 h 46"/>
                    <a:gd name="T22" fmla="*/ 2147483646 w 40"/>
                    <a:gd name="T23" fmla="*/ 2147483646 h 46"/>
                    <a:gd name="T24" fmla="*/ 2147483646 w 40"/>
                    <a:gd name="T25" fmla="*/ 2147483646 h 46"/>
                    <a:gd name="T26" fmla="*/ 2147483646 w 40"/>
                    <a:gd name="T27" fmla="*/ 2147483646 h 46"/>
                    <a:gd name="T28" fmla="*/ 2147483646 w 40"/>
                    <a:gd name="T29" fmla="*/ 2147483646 h 46"/>
                    <a:gd name="T30" fmla="*/ 0 w 40"/>
                    <a:gd name="T31" fmla="*/ 2147483646 h 46"/>
                    <a:gd name="T32" fmla="*/ 2147483646 w 40"/>
                    <a:gd name="T33" fmla="*/ 2147483646 h 46"/>
                    <a:gd name="T34" fmla="*/ 2147483646 w 40"/>
                    <a:gd name="T35" fmla="*/ 2147483646 h 46"/>
                    <a:gd name="T36" fmla="*/ 2147483646 w 40"/>
                    <a:gd name="T37" fmla="*/ 2147483646 h 46"/>
                    <a:gd name="T38" fmla="*/ 2147483646 w 40"/>
                    <a:gd name="T39" fmla="*/ 2147483646 h 46"/>
                    <a:gd name="T40" fmla="*/ 2147483646 w 40"/>
                    <a:gd name="T41" fmla="*/ 0 h 46"/>
                    <a:gd name="T42" fmla="*/ 2147483646 w 40"/>
                    <a:gd name="T43" fmla="*/ 0 h 46"/>
                    <a:gd name="T44" fmla="*/ 2147483646 w 40"/>
                    <a:gd name="T45" fmla="*/ 0 h 46"/>
                    <a:gd name="T46" fmla="*/ 2147483646 w 40"/>
                    <a:gd name="T47" fmla="*/ 2147483646 h 46"/>
                    <a:gd name="T48" fmla="*/ 2147483646 w 40"/>
                    <a:gd name="T49" fmla="*/ 2147483646 h 46"/>
                    <a:gd name="T50" fmla="*/ 2147483646 w 40"/>
                    <a:gd name="T51" fmla="*/ 2147483646 h 46"/>
                    <a:gd name="T52" fmla="*/ 2147483646 w 40"/>
                    <a:gd name="T53" fmla="*/ 2147483646 h 46"/>
                    <a:gd name="T54" fmla="*/ 2147483646 w 40"/>
                    <a:gd name="T55" fmla="*/ 2147483646 h 46"/>
                    <a:gd name="T56" fmla="*/ 2147483646 w 40"/>
                    <a:gd name="T57" fmla="*/ 2147483646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0"/>
                    <a:gd name="T88" fmla="*/ 0 h 46"/>
                    <a:gd name="T89" fmla="*/ 40 w 40"/>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0" h="46">
                      <a:moveTo>
                        <a:pt x="12" y="28"/>
                      </a:moveTo>
                      <a:lnTo>
                        <a:pt x="12" y="28"/>
                      </a:lnTo>
                      <a:lnTo>
                        <a:pt x="14" y="32"/>
                      </a:lnTo>
                      <a:lnTo>
                        <a:pt x="20" y="34"/>
                      </a:lnTo>
                      <a:lnTo>
                        <a:pt x="30" y="38"/>
                      </a:lnTo>
                      <a:lnTo>
                        <a:pt x="38" y="40"/>
                      </a:lnTo>
                      <a:lnTo>
                        <a:pt x="40" y="42"/>
                      </a:lnTo>
                      <a:lnTo>
                        <a:pt x="36" y="44"/>
                      </a:lnTo>
                      <a:lnTo>
                        <a:pt x="32" y="46"/>
                      </a:lnTo>
                      <a:lnTo>
                        <a:pt x="20" y="44"/>
                      </a:lnTo>
                      <a:lnTo>
                        <a:pt x="12" y="42"/>
                      </a:lnTo>
                      <a:lnTo>
                        <a:pt x="6" y="40"/>
                      </a:lnTo>
                      <a:lnTo>
                        <a:pt x="2" y="34"/>
                      </a:lnTo>
                      <a:lnTo>
                        <a:pt x="0" y="30"/>
                      </a:lnTo>
                      <a:lnTo>
                        <a:pt x="2" y="26"/>
                      </a:lnTo>
                      <a:lnTo>
                        <a:pt x="4" y="18"/>
                      </a:lnTo>
                      <a:lnTo>
                        <a:pt x="10" y="12"/>
                      </a:lnTo>
                      <a:lnTo>
                        <a:pt x="20" y="0"/>
                      </a:lnTo>
                      <a:lnTo>
                        <a:pt x="20" y="2"/>
                      </a:lnTo>
                      <a:lnTo>
                        <a:pt x="16" y="12"/>
                      </a:lnTo>
                      <a:lnTo>
                        <a:pt x="12" y="22"/>
                      </a:lnTo>
                      <a:lnTo>
                        <a:pt x="12" y="26"/>
                      </a:lnTo>
                      <a:lnTo>
                        <a:pt x="12"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19" name="Freeform 121"/>
                <p:cNvSpPr>
                  <a:spLocks/>
                </p:cNvSpPr>
                <p:nvPr/>
              </p:nvSpPr>
              <p:spPr bwMode="auto">
                <a:xfrm>
                  <a:off x="5513390" y="3038466"/>
                  <a:ext cx="85725" cy="50800"/>
                </a:xfrm>
                <a:custGeom>
                  <a:avLst/>
                  <a:gdLst>
                    <a:gd name="T0" fmla="*/ 2147483646 w 54"/>
                    <a:gd name="T1" fmla="*/ 2147483646 h 32"/>
                    <a:gd name="T2" fmla="*/ 2147483646 w 54"/>
                    <a:gd name="T3" fmla="*/ 2147483646 h 32"/>
                    <a:gd name="T4" fmla="*/ 2147483646 w 54"/>
                    <a:gd name="T5" fmla="*/ 2147483646 h 32"/>
                    <a:gd name="T6" fmla="*/ 2147483646 w 54"/>
                    <a:gd name="T7" fmla="*/ 2147483646 h 32"/>
                    <a:gd name="T8" fmla="*/ 2147483646 w 54"/>
                    <a:gd name="T9" fmla="*/ 2147483646 h 32"/>
                    <a:gd name="T10" fmla="*/ 2147483646 w 54"/>
                    <a:gd name="T11" fmla="*/ 2147483646 h 32"/>
                    <a:gd name="T12" fmla="*/ 2147483646 w 54"/>
                    <a:gd name="T13" fmla="*/ 2147483646 h 32"/>
                    <a:gd name="T14" fmla="*/ 2147483646 w 54"/>
                    <a:gd name="T15" fmla="*/ 2147483646 h 32"/>
                    <a:gd name="T16" fmla="*/ 2147483646 w 54"/>
                    <a:gd name="T17" fmla="*/ 2147483646 h 32"/>
                    <a:gd name="T18" fmla="*/ 2147483646 w 54"/>
                    <a:gd name="T19" fmla="*/ 2147483646 h 32"/>
                    <a:gd name="T20" fmla="*/ 2147483646 w 54"/>
                    <a:gd name="T21" fmla="*/ 2147483646 h 32"/>
                    <a:gd name="T22" fmla="*/ 2147483646 w 54"/>
                    <a:gd name="T23" fmla="*/ 2147483646 h 32"/>
                    <a:gd name="T24" fmla="*/ 2147483646 w 54"/>
                    <a:gd name="T25" fmla="*/ 2147483646 h 32"/>
                    <a:gd name="T26" fmla="*/ 2147483646 w 54"/>
                    <a:gd name="T27" fmla="*/ 2147483646 h 32"/>
                    <a:gd name="T28" fmla="*/ 2147483646 w 54"/>
                    <a:gd name="T29" fmla="*/ 2147483646 h 32"/>
                    <a:gd name="T30" fmla="*/ 0 w 54"/>
                    <a:gd name="T31" fmla="*/ 2147483646 h 32"/>
                    <a:gd name="T32" fmla="*/ 0 w 54"/>
                    <a:gd name="T33" fmla="*/ 0 h 32"/>
                    <a:gd name="T34" fmla="*/ 0 w 54"/>
                    <a:gd name="T35" fmla="*/ 0 h 32"/>
                    <a:gd name="T36" fmla="*/ 2147483646 w 54"/>
                    <a:gd name="T37" fmla="*/ 2147483646 h 32"/>
                    <a:gd name="T38" fmla="*/ 2147483646 w 54"/>
                    <a:gd name="T39" fmla="*/ 2147483646 h 32"/>
                    <a:gd name="T40" fmla="*/ 2147483646 w 54"/>
                    <a:gd name="T41" fmla="*/ 2147483646 h 32"/>
                    <a:gd name="T42" fmla="*/ 2147483646 w 54"/>
                    <a:gd name="T43" fmla="*/ 2147483646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32"/>
                    <a:gd name="T68" fmla="*/ 54 w 54"/>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32">
                      <a:moveTo>
                        <a:pt x="24" y="18"/>
                      </a:moveTo>
                      <a:lnTo>
                        <a:pt x="24" y="18"/>
                      </a:lnTo>
                      <a:lnTo>
                        <a:pt x="32" y="20"/>
                      </a:lnTo>
                      <a:lnTo>
                        <a:pt x="40" y="20"/>
                      </a:lnTo>
                      <a:lnTo>
                        <a:pt x="54" y="18"/>
                      </a:lnTo>
                      <a:lnTo>
                        <a:pt x="50" y="24"/>
                      </a:lnTo>
                      <a:lnTo>
                        <a:pt x="42" y="30"/>
                      </a:lnTo>
                      <a:lnTo>
                        <a:pt x="34" y="32"/>
                      </a:lnTo>
                      <a:lnTo>
                        <a:pt x="24" y="32"/>
                      </a:lnTo>
                      <a:lnTo>
                        <a:pt x="16" y="28"/>
                      </a:lnTo>
                      <a:lnTo>
                        <a:pt x="8" y="24"/>
                      </a:lnTo>
                      <a:lnTo>
                        <a:pt x="4" y="18"/>
                      </a:lnTo>
                      <a:lnTo>
                        <a:pt x="2" y="14"/>
                      </a:lnTo>
                      <a:lnTo>
                        <a:pt x="0" y="4"/>
                      </a:lnTo>
                      <a:lnTo>
                        <a:pt x="0" y="0"/>
                      </a:lnTo>
                      <a:lnTo>
                        <a:pt x="10" y="10"/>
                      </a:lnTo>
                      <a:lnTo>
                        <a:pt x="16" y="16"/>
                      </a:lnTo>
                      <a:lnTo>
                        <a:pt x="2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20" name="Freeform 122"/>
                <p:cNvSpPr>
                  <a:spLocks/>
                </p:cNvSpPr>
                <p:nvPr/>
              </p:nvSpPr>
              <p:spPr bwMode="auto">
                <a:xfrm>
                  <a:off x="5834065" y="3070216"/>
                  <a:ext cx="31750" cy="107950"/>
                </a:xfrm>
                <a:custGeom>
                  <a:avLst/>
                  <a:gdLst>
                    <a:gd name="T0" fmla="*/ 2147483646 w 20"/>
                    <a:gd name="T1" fmla="*/ 2147483646 h 68"/>
                    <a:gd name="T2" fmla="*/ 2147483646 w 20"/>
                    <a:gd name="T3" fmla="*/ 2147483646 h 68"/>
                    <a:gd name="T4" fmla="*/ 2147483646 w 20"/>
                    <a:gd name="T5" fmla="*/ 2147483646 h 68"/>
                    <a:gd name="T6" fmla="*/ 2147483646 w 20"/>
                    <a:gd name="T7" fmla="*/ 2147483646 h 68"/>
                    <a:gd name="T8" fmla="*/ 2147483646 w 20"/>
                    <a:gd name="T9" fmla="*/ 2147483646 h 68"/>
                    <a:gd name="T10" fmla="*/ 2147483646 w 20"/>
                    <a:gd name="T11" fmla="*/ 2147483646 h 68"/>
                    <a:gd name="T12" fmla="*/ 2147483646 w 20"/>
                    <a:gd name="T13" fmla="*/ 2147483646 h 68"/>
                    <a:gd name="T14" fmla="*/ 2147483646 w 20"/>
                    <a:gd name="T15" fmla="*/ 2147483646 h 68"/>
                    <a:gd name="T16" fmla="*/ 2147483646 w 20"/>
                    <a:gd name="T17" fmla="*/ 2147483646 h 68"/>
                    <a:gd name="T18" fmla="*/ 2147483646 w 20"/>
                    <a:gd name="T19" fmla="*/ 2147483646 h 68"/>
                    <a:gd name="T20" fmla="*/ 0 w 20"/>
                    <a:gd name="T21" fmla="*/ 2147483646 h 68"/>
                    <a:gd name="T22" fmla="*/ 0 w 20"/>
                    <a:gd name="T23" fmla="*/ 2147483646 h 68"/>
                    <a:gd name="T24" fmla="*/ 0 w 20"/>
                    <a:gd name="T25" fmla="*/ 2147483646 h 68"/>
                    <a:gd name="T26" fmla="*/ 2147483646 w 20"/>
                    <a:gd name="T27" fmla="*/ 0 h 68"/>
                    <a:gd name="T28" fmla="*/ 2147483646 w 20"/>
                    <a:gd name="T29" fmla="*/ 2147483646 h 68"/>
                    <a:gd name="T30" fmla="*/ 2147483646 w 20"/>
                    <a:gd name="T31" fmla="*/ 2147483646 h 68"/>
                    <a:gd name="T32" fmla="*/ 2147483646 w 20"/>
                    <a:gd name="T33" fmla="*/ 2147483646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
                    <a:gd name="T52" fmla="*/ 0 h 68"/>
                    <a:gd name="T53" fmla="*/ 20 w 20"/>
                    <a:gd name="T54" fmla="*/ 68 h 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 h="68">
                      <a:moveTo>
                        <a:pt x="12" y="12"/>
                      </a:moveTo>
                      <a:lnTo>
                        <a:pt x="12" y="12"/>
                      </a:lnTo>
                      <a:lnTo>
                        <a:pt x="18" y="24"/>
                      </a:lnTo>
                      <a:lnTo>
                        <a:pt x="20" y="38"/>
                      </a:lnTo>
                      <a:lnTo>
                        <a:pt x="20" y="52"/>
                      </a:lnTo>
                      <a:lnTo>
                        <a:pt x="18" y="60"/>
                      </a:lnTo>
                      <a:lnTo>
                        <a:pt x="16" y="68"/>
                      </a:lnTo>
                      <a:lnTo>
                        <a:pt x="10" y="42"/>
                      </a:lnTo>
                      <a:lnTo>
                        <a:pt x="4" y="20"/>
                      </a:lnTo>
                      <a:lnTo>
                        <a:pt x="0" y="4"/>
                      </a:lnTo>
                      <a:lnTo>
                        <a:pt x="0" y="2"/>
                      </a:lnTo>
                      <a:lnTo>
                        <a:pt x="2" y="0"/>
                      </a:lnTo>
                      <a:lnTo>
                        <a:pt x="6" y="2"/>
                      </a:lnTo>
                      <a:lnTo>
                        <a:pt x="1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21" name="Freeform 123"/>
                <p:cNvSpPr>
                  <a:spLocks/>
                </p:cNvSpPr>
                <p:nvPr/>
              </p:nvSpPr>
              <p:spPr bwMode="auto">
                <a:xfrm>
                  <a:off x="5970590" y="3013066"/>
                  <a:ext cx="104775" cy="63500"/>
                </a:xfrm>
                <a:custGeom>
                  <a:avLst/>
                  <a:gdLst>
                    <a:gd name="T0" fmla="*/ 2147483646 w 66"/>
                    <a:gd name="T1" fmla="*/ 2147483646 h 40"/>
                    <a:gd name="T2" fmla="*/ 2147483646 w 66"/>
                    <a:gd name="T3" fmla="*/ 2147483646 h 40"/>
                    <a:gd name="T4" fmla="*/ 2147483646 w 66"/>
                    <a:gd name="T5" fmla="*/ 2147483646 h 40"/>
                    <a:gd name="T6" fmla="*/ 2147483646 w 66"/>
                    <a:gd name="T7" fmla="*/ 2147483646 h 40"/>
                    <a:gd name="T8" fmla="*/ 2147483646 w 66"/>
                    <a:gd name="T9" fmla="*/ 2147483646 h 40"/>
                    <a:gd name="T10" fmla="*/ 2147483646 w 66"/>
                    <a:gd name="T11" fmla="*/ 2147483646 h 40"/>
                    <a:gd name="T12" fmla="*/ 2147483646 w 66"/>
                    <a:gd name="T13" fmla="*/ 2147483646 h 40"/>
                    <a:gd name="T14" fmla="*/ 0 w 66"/>
                    <a:gd name="T15" fmla="*/ 0 h 40"/>
                    <a:gd name="T16" fmla="*/ 0 w 66"/>
                    <a:gd name="T17" fmla="*/ 0 h 40"/>
                    <a:gd name="T18" fmla="*/ 2147483646 w 66"/>
                    <a:gd name="T19" fmla="*/ 2147483646 h 40"/>
                    <a:gd name="T20" fmla="*/ 2147483646 w 66"/>
                    <a:gd name="T21" fmla="*/ 2147483646 h 40"/>
                    <a:gd name="T22" fmla="*/ 2147483646 w 66"/>
                    <a:gd name="T23" fmla="*/ 2147483646 h 40"/>
                    <a:gd name="T24" fmla="*/ 2147483646 w 66"/>
                    <a:gd name="T25" fmla="*/ 2147483646 h 40"/>
                    <a:gd name="T26" fmla="*/ 2147483646 w 66"/>
                    <a:gd name="T27" fmla="*/ 2147483646 h 40"/>
                    <a:gd name="T28" fmla="*/ 2147483646 w 66"/>
                    <a:gd name="T29" fmla="*/ 2147483646 h 40"/>
                    <a:gd name="T30" fmla="*/ 2147483646 w 66"/>
                    <a:gd name="T31" fmla="*/ 2147483646 h 40"/>
                    <a:gd name="T32" fmla="*/ 2147483646 w 66"/>
                    <a:gd name="T33" fmla="*/ 2147483646 h 40"/>
                    <a:gd name="T34" fmla="*/ 2147483646 w 66"/>
                    <a:gd name="T35" fmla="*/ 2147483646 h 40"/>
                    <a:gd name="T36" fmla="*/ 2147483646 w 66"/>
                    <a:gd name="T37" fmla="*/ 2147483646 h 40"/>
                    <a:gd name="T38" fmla="*/ 2147483646 w 66"/>
                    <a:gd name="T39" fmla="*/ 2147483646 h 40"/>
                    <a:gd name="T40" fmla="*/ 2147483646 w 66"/>
                    <a:gd name="T41" fmla="*/ 2147483646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6"/>
                    <a:gd name="T64" fmla="*/ 0 h 40"/>
                    <a:gd name="T65" fmla="*/ 66 w 66"/>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6" h="40">
                      <a:moveTo>
                        <a:pt x="52" y="40"/>
                      </a:moveTo>
                      <a:lnTo>
                        <a:pt x="52" y="40"/>
                      </a:lnTo>
                      <a:lnTo>
                        <a:pt x="36" y="38"/>
                      </a:lnTo>
                      <a:lnTo>
                        <a:pt x="20" y="30"/>
                      </a:lnTo>
                      <a:lnTo>
                        <a:pt x="12" y="24"/>
                      </a:lnTo>
                      <a:lnTo>
                        <a:pt x="6" y="18"/>
                      </a:lnTo>
                      <a:lnTo>
                        <a:pt x="2" y="10"/>
                      </a:lnTo>
                      <a:lnTo>
                        <a:pt x="0" y="0"/>
                      </a:lnTo>
                      <a:lnTo>
                        <a:pt x="6" y="10"/>
                      </a:lnTo>
                      <a:lnTo>
                        <a:pt x="12" y="14"/>
                      </a:lnTo>
                      <a:lnTo>
                        <a:pt x="18" y="20"/>
                      </a:lnTo>
                      <a:lnTo>
                        <a:pt x="26" y="26"/>
                      </a:lnTo>
                      <a:lnTo>
                        <a:pt x="36" y="28"/>
                      </a:lnTo>
                      <a:lnTo>
                        <a:pt x="50" y="32"/>
                      </a:lnTo>
                      <a:lnTo>
                        <a:pt x="66" y="32"/>
                      </a:lnTo>
                      <a:lnTo>
                        <a:pt x="66" y="36"/>
                      </a:lnTo>
                      <a:lnTo>
                        <a:pt x="62" y="38"/>
                      </a:lnTo>
                      <a:lnTo>
                        <a:pt x="52"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22" name="Freeform 124"/>
                <p:cNvSpPr>
                  <a:spLocks/>
                </p:cNvSpPr>
                <p:nvPr/>
              </p:nvSpPr>
              <p:spPr bwMode="auto">
                <a:xfrm>
                  <a:off x="5432175" y="3119040"/>
                  <a:ext cx="197156" cy="375623"/>
                </a:xfrm>
                <a:custGeom>
                  <a:avLst/>
                  <a:gdLst/>
                  <a:ahLst/>
                  <a:cxnLst>
                    <a:cxn ang="0">
                      <a:pos x="68" y="22"/>
                    </a:cxn>
                    <a:cxn ang="0">
                      <a:pos x="86" y="20"/>
                    </a:cxn>
                    <a:cxn ang="0">
                      <a:pos x="102" y="10"/>
                    </a:cxn>
                    <a:cxn ang="0">
                      <a:pos x="124" y="14"/>
                    </a:cxn>
                    <a:cxn ang="0">
                      <a:pos x="124" y="52"/>
                    </a:cxn>
                    <a:cxn ang="0">
                      <a:pos x="126" y="68"/>
                    </a:cxn>
                    <a:cxn ang="0">
                      <a:pos x="126" y="106"/>
                    </a:cxn>
                    <a:cxn ang="0">
                      <a:pos x="120" y="144"/>
                    </a:cxn>
                    <a:cxn ang="0">
                      <a:pos x="116" y="160"/>
                    </a:cxn>
                    <a:cxn ang="0">
                      <a:pos x="98" y="184"/>
                    </a:cxn>
                    <a:cxn ang="0">
                      <a:pos x="62" y="210"/>
                    </a:cxn>
                    <a:cxn ang="0">
                      <a:pos x="40" y="232"/>
                    </a:cxn>
                    <a:cxn ang="0">
                      <a:pos x="34" y="210"/>
                    </a:cxn>
                    <a:cxn ang="0">
                      <a:pos x="24" y="194"/>
                    </a:cxn>
                    <a:cxn ang="0">
                      <a:pos x="18" y="186"/>
                    </a:cxn>
                    <a:cxn ang="0">
                      <a:pos x="6" y="170"/>
                    </a:cxn>
                    <a:cxn ang="0">
                      <a:pos x="2" y="150"/>
                    </a:cxn>
                    <a:cxn ang="0">
                      <a:pos x="0" y="106"/>
                    </a:cxn>
                    <a:cxn ang="0">
                      <a:pos x="2" y="96"/>
                    </a:cxn>
                    <a:cxn ang="0">
                      <a:pos x="10" y="70"/>
                    </a:cxn>
                    <a:cxn ang="0">
                      <a:pos x="12" y="80"/>
                    </a:cxn>
                    <a:cxn ang="0">
                      <a:pos x="20" y="96"/>
                    </a:cxn>
                    <a:cxn ang="0">
                      <a:pos x="34" y="108"/>
                    </a:cxn>
                    <a:cxn ang="0">
                      <a:pos x="40" y="110"/>
                    </a:cxn>
                    <a:cxn ang="0">
                      <a:pos x="34" y="94"/>
                    </a:cxn>
                    <a:cxn ang="0">
                      <a:pos x="22" y="64"/>
                    </a:cxn>
                    <a:cxn ang="0">
                      <a:pos x="22" y="44"/>
                    </a:cxn>
                    <a:cxn ang="0">
                      <a:pos x="28" y="36"/>
                    </a:cxn>
                    <a:cxn ang="0">
                      <a:pos x="34" y="42"/>
                    </a:cxn>
                    <a:cxn ang="0">
                      <a:pos x="34" y="34"/>
                    </a:cxn>
                    <a:cxn ang="0">
                      <a:pos x="34" y="24"/>
                    </a:cxn>
                    <a:cxn ang="0">
                      <a:pos x="34" y="12"/>
                    </a:cxn>
                    <a:cxn ang="0">
                      <a:pos x="38" y="0"/>
                    </a:cxn>
                    <a:cxn ang="0">
                      <a:pos x="50" y="16"/>
                    </a:cxn>
                    <a:cxn ang="0">
                      <a:pos x="68" y="22"/>
                    </a:cxn>
                  </a:cxnLst>
                  <a:rect l="0" t="0" r="r" b="b"/>
                  <a:pathLst>
                    <a:path w="128" h="232">
                      <a:moveTo>
                        <a:pt x="68" y="22"/>
                      </a:moveTo>
                      <a:lnTo>
                        <a:pt x="68" y="22"/>
                      </a:lnTo>
                      <a:lnTo>
                        <a:pt x="78" y="22"/>
                      </a:lnTo>
                      <a:lnTo>
                        <a:pt x="86" y="20"/>
                      </a:lnTo>
                      <a:lnTo>
                        <a:pt x="94" y="16"/>
                      </a:lnTo>
                      <a:lnTo>
                        <a:pt x="102" y="10"/>
                      </a:lnTo>
                      <a:lnTo>
                        <a:pt x="124" y="14"/>
                      </a:lnTo>
                      <a:lnTo>
                        <a:pt x="124" y="14"/>
                      </a:lnTo>
                      <a:lnTo>
                        <a:pt x="122" y="36"/>
                      </a:lnTo>
                      <a:lnTo>
                        <a:pt x="124" y="52"/>
                      </a:lnTo>
                      <a:lnTo>
                        <a:pt x="126" y="68"/>
                      </a:lnTo>
                      <a:lnTo>
                        <a:pt x="126" y="68"/>
                      </a:lnTo>
                      <a:lnTo>
                        <a:pt x="128" y="90"/>
                      </a:lnTo>
                      <a:lnTo>
                        <a:pt x="126" y="106"/>
                      </a:lnTo>
                      <a:lnTo>
                        <a:pt x="120" y="144"/>
                      </a:lnTo>
                      <a:lnTo>
                        <a:pt x="120" y="144"/>
                      </a:lnTo>
                      <a:lnTo>
                        <a:pt x="118" y="152"/>
                      </a:lnTo>
                      <a:lnTo>
                        <a:pt x="116" y="160"/>
                      </a:lnTo>
                      <a:lnTo>
                        <a:pt x="108" y="174"/>
                      </a:lnTo>
                      <a:lnTo>
                        <a:pt x="98" y="184"/>
                      </a:lnTo>
                      <a:lnTo>
                        <a:pt x="88" y="192"/>
                      </a:lnTo>
                      <a:lnTo>
                        <a:pt x="62" y="210"/>
                      </a:lnTo>
                      <a:lnTo>
                        <a:pt x="50" y="220"/>
                      </a:lnTo>
                      <a:lnTo>
                        <a:pt x="40" y="232"/>
                      </a:lnTo>
                      <a:lnTo>
                        <a:pt x="40" y="232"/>
                      </a:lnTo>
                      <a:lnTo>
                        <a:pt x="34" y="210"/>
                      </a:lnTo>
                      <a:lnTo>
                        <a:pt x="32" y="202"/>
                      </a:lnTo>
                      <a:lnTo>
                        <a:pt x="24" y="194"/>
                      </a:lnTo>
                      <a:lnTo>
                        <a:pt x="24" y="194"/>
                      </a:lnTo>
                      <a:lnTo>
                        <a:pt x="18" y="186"/>
                      </a:lnTo>
                      <a:lnTo>
                        <a:pt x="12" y="178"/>
                      </a:lnTo>
                      <a:lnTo>
                        <a:pt x="6" y="170"/>
                      </a:lnTo>
                      <a:lnTo>
                        <a:pt x="4" y="160"/>
                      </a:lnTo>
                      <a:lnTo>
                        <a:pt x="2" y="150"/>
                      </a:lnTo>
                      <a:lnTo>
                        <a:pt x="0" y="138"/>
                      </a:lnTo>
                      <a:lnTo>
                        <a:pt x="0" y="106"/>
                      </a:lnTo>
                      <a:lnTo>
                        <a:pt x="0" y="106"/>
                      </a:lnTo>
                      <a:lnTo>
                        <a:pt x="2" y="96"/>
                      </a:lnTo>
                      <a:lnTo>
                        <a:pt x="4" y="88"/>
                      </a:lnTo>
                      <a:lnTo>
                        <a:pt x="10" y="70"/>
                      </a:lnTo>
                      <a:lnTo>
                        <a:pt x="10" y="70"/>
                      </a:lnTo>
                      <a:lnTo>
                        <a:pt x="12" y="80"/>
                      </a:lnTo>
                      <a:lnTo>
                        <a:pt x="16" y="88"/>
                      </a:lnTo>
                      <a:lnTo>
                        <a:pt x="20" y="96"/>
                      </a:lnTo>
                      <a:lnTo>
                        <a:pt x="26" y="102"/>
                      </a:lnTo>
                      <a:lnTo>
                        <a:pt x="34" y="108"/>
                      </a:lnTo>
                      <a:lnTo>
                        <a:pt x="40" y="110"/>
                      </a:lnTo>
                      <a:lnTo>
                        <a:pt x="40" y="110"/>
                      </a:lnTo>
                      <a:lnTo>
                        <a:pt x="38" y="104"/>
                      </a:lnTo>
                      <a:lnTo>
                        <a:pt x="34" y="94"/>
                      </a:lnTo>
                      <a:lnTo>
                        <a:pt x="26" y="74"/>
                      </a:lnTo>
                      <a:lnTo>
                        <a:pt x="22" y="64"/>
                      </a:lnTo>
                      <a:lnTo>
                        <a:pt x="22" y="54"/>
                      </a:lnTo>
                      <a:lnTo>
                        <a:pt x="22" y="44"/>
                      </a:lnTo>
                      <a:lnTo>
                        <a:pt x="28" y="36"/>
                      </a:lnTo>
                      <a:lnTo>
                        <a:pt x="28" y="36"/>
                      </a:lnTo>
                      <a:lnTo>
                        <a:pt x="32" y="42"/>
                      </a:lnTo>
                      <a:lnTo>
                        <a:pt x="34" y="42"/>
                      </a:lnTo>
                      <a:lnTo>
                        <a:pt x="34" y="40"/>
                      </a:lnTo>
                      <a:lnTo>
                        <a:pt x="34" y="34"/>
                      </a:lnTo>
                      <a:lnTo>
                        <a:pt x="34" y="24"/>
                      </a:lnTo>
                      <a:lnTo>
                        <a:pt x="34" y="24"/>
                      </a:lnTo>
                      <a:lnTo>
                        <a:pt x="32" y="18"/>
                      </a:lnTo>
                      <a:lnTo>
                        <a:pt x="34" y="12"/>
                      </a:lnTo>
                      <a:lnTo>
                        <a:pt x="38" y="0"/>
                      </a:lnTo>
                      <a:lnTo>
                        <a:pt x="38" y="0"/>
                      </a:lnTo>
                      <a:lnTo>
                        <a:pt x="42" y="8"/>
                      </a:lnTo>
                      <a:lnTo>
                        <a:pt x="50" y="16"/>
                      </a:lnTo>
                      <a:lnTo>
                        <a:pt x="58" y="20"/>
                      </a:lnTo>
                      <a:lnTo>
                        <a:pt x="68" y="22"/>
                      </a:lnTo>
                      <a:lnTo>
                        <a:pt x="68" y="22"/>
                      </a:lnTo>
                      <a:close/>
                    </a:path>
                  </a:pathLst>
                </a:custGeom>
                <a:solidFill>
                  <a:schemeClr val="accent6">
                    <a:lumMod val="40000"/>
                    <a:lumOff val="60000"/>
                  </a:schemeClr>
                </a:solidFill>
                <a:ln w="9525">
                  <a:noFill/>
                  <a:round/>
                  <a:headEnd/>
                  <a:tailEnd/>
                </a:ln>
              </p:spPr>
              <p:txBody>
                <a:bodyPr/>
                <a:lstStyle/>
                <a:p>
                  <a:pPr eaLnBrk="1" fontAlgn="auto" hangingPunct="1">
                    <a:spcBef>
                      <a:spcPts val="0"/>
                    </a:spcBef>
                    <a:spcAft>
                      <a:spcPts val="0"/>
                    </a:spcAft>
                    <a:defRPr/>
                  </a:pPr>
                  <a:endParaRPr lang="ja-JP" altLang="en-US">
                    <a:latin typeface="+mn-lt"/>
                    <a:ea typeface="+mn-ea"/>
                    <a:cs typeface="メイリオ" pitchFamily="50" charset="-128"/>
                  </a:endParaRPr>
                </a:p>
              </p:txBody>
            </p:sp>
            <p:sp>
              <p:nvSpPr>
                <p:cNvPr id="523" name="Freeform 125"/>
                <p:cNvSpPr>
                  <a:spLocks/>
                </p:cNvSpPr>
                <p:nvPr/>
              </p:nvSpPr>
              <p:spPr bwMode="auto">
                <a:xfrm>
                  <a:off x="6059490" y="3152766"/>
                  <a:ext cx="190500" cy="41275"/>
                </a:xfrm>
                <a:custGeom>
                  <a:avLst/>
                  <a:gdLst>
                    <a:gd name="T0" fmla="*/ 2147483646 w 120"/>
                    <a:gd name="T1" fmla="*/ 2147483646 h 26"/>
                    <a:gd name="T2" fmla="*/ 2147483646 w 120"/>
                    <a:gd name="T3" fmla="*/ 2147483646 h 26"/>
                    <a:gd name="T4" fmla="*/ 2147483646 w 120"/>
                    <a:gd name="T5" fmla="*/ 2147483646 h 26"/>
                    <a:gd name="T6" fmla="*/ 2147483646 w 120"/>
                    <a:gd name="T7" fmla="*/ 2147483646 h 26"/>
                    <a:gd name="T8" fmla="*/ 2147483646 w 120"/>
                    <a:gd name="T9" fmla="*/ 2147483646 h 26"/>
                    <a:gd name="T10" fmla="*/ 2147483646 w 120"/>
                    <a:gd name="T11" fmla="*/ 2147483646 h 26"/>
                    <a:gd name="T12" fmla="*/ 2147483646 w 120"/>
                    <a:gd name="T13" fmla="*/ 2147483646 h 26"/>
                    <a:gd name="T14" fmla="*/ 2147483646 w 120"/>
                    <a:gd name="T15" fmla="*/ 2147483646 h 26"/>
                    <a:gd name="T16" fmla="*/ 2147483646 w 120"/>
                    <a:gd name="T17" fmla="*/ 2147483646 h 26"/>
                    <a:gd name="T18" fmla="*/ 2147483646 w 120"/>
                    <a:gd name="T19" fmla="*/ 2147483646 h 26"/>
                    <a:gd name="T20" fmla="*/ 2147483646 w 120"/>
                    <a:gd name="T21" fmla="*/ 2147483646 h 26"/>
                    <a:gd name="T22" fmla="*/ 2147483646 w 120"/>
                    <a:gd name="T23" fmla="*/ 2147483646 h 26"/>
                    <a:gd name="T24" fmla="*/ 2147483646 w 120"/>
                    <a:gd name="T25" fmla="*/ 2147483646 h 26"/>
                    <a:gd name="T26" fmla="*/ 2147483646 w 120"/>
                    <a:gd name="T27" fmla="*/ 2147483646 h 26"/>
                    <a:gd name="T28" fmla="*/ 2147483646 w 120"/>
                    <a:gd name="T29" fmla="*/ 2147483646 h 26"/>
                    <a:gd name="T30" fmla="*/ 2147483646 w 120"/>
                    <a:gd name="T31" fmla="*/ 2147483646 h 26"/>
                    <a:gd name="T32" fmla="*/ 2147483646 w 120"/>
                    <a:gd name="T33" fmla="*/ 2147483646 h 26"/>
                    <a:gd name="T34" fmla="*/ 2147483646 w 120"/>
                    <a:gd name="T35" fmla="*/ 2147483646 h 26"/>
                    <a:gd name="T36" fmla="*/ 2147483646 w 120"/>
                    <a:gd name="T37" fmla="*/ 2147483646 h 26"/>
                    <a:gd name="T38" fmla="*/ 0 w 120"/>
                    <a:gd name="T39" fmla="*/ 2147483646 h 26"/>
                    <a:gd name="T40" fmla="*/ 0 w 120"/>
                    <a:gd name="T41" fmla="*/ 2147483646 h 26"/>
                    <a:gd name="T42" fmla="*/ 2147483646 w 120"/>
                    <a:gd name="T43" fmla="*/ 2147483646 h 26"/>
                    <a:gd name="T44" fmla="*/ 2147483646 w 120"/>
                    <a:gd name="T45" fmla="*/ 2147483646 h 26"/>
                    <a:gd name="T46" fmla="*/ 2147483646 w 120"/>
                    <a:gd name="T47" fmla="*/ 2147483646 h 26"/>
                    <a:gd name="T48" fmla="*/ 2147483646 w 120"/>
                    <a:gd name="T49" fmla="*/ 2147483646 h 26"/>
                    <a:gd name="T50" fmla="*/ 2147483646 w 120"/>
                    <a:gd name="T51" fmla="*/ 2147483646 h 26"/>
                    <a:gd name="T52" fmla="*/ 2147483646 w 120"/>
                    <a:gd name="T53" fmla="*/ 0 h 26"/>
                    <a:gd name="T54" fmla="*/ 2147483646 w 120"/>
                    <a:gd name="T55" fmla="*/ 2147483646 h 26"/>
                    <a:gd name="T56" fmla="*/ 2147483646 w 120"/>
                    <a:gd name="T57" fmla="*/ 2147483646 h 26"/>
                    <a:gd name="T58" fmla="*/ 2147483646 w 120"/>
                    <a:gd name="T59" fmla="*/ 2147483646 h 26"/>
                    <a:gd name="T60" fmla="*/ 2147483646 w 120"/>
                    <a:gd name="T61" fmla="*/ 2147483646 h 26"/>
                    <a:gd name="T62" fmla="*/ 2147483646 w 120"/>
                    <a:gd name="T63" fmla="*/ 2147483646 h 26"/>
                    <a:gd name="T64" fmla="*/ 2147483646 w 120"/>
                    <a:gd name="T65" fmla="*/ 2147483646 h 26"/>
                    <a:gd name="T66" fmla="*/ 2147483646 w 120"/>
                    <a:gd name="T67" fmla="*/ 2147483646 h 26"/>
                    <a:gd name="T68" fmla="*/ 2147483646 w 120"/>
                    <a:gd name="T69" fmla="*/ 2147483646 h 26"/>
                    <a:gd name="T70" fmla="*/ 2147483646 w 120"/>
                    <a:gd name="T71" fmla="*/ 2147483646 h 2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0"/>
                    <a:gd name="T109" fmla="*/ 0 h 26"/>
                    <a:gd name="T110" fmla="*/ 120 w 120"/>
                    <a:gd name="T111" fmla="*/ 26 h 2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0" h="26">
                      <a:moveTo>
                        <a:pt x="120" y="6"/>
                      </a:moveTo>
                      <a:lnTo>
                        <a:pt x="120" y="6"/>
                      </a:lnTo>
                      <a:lnTo>
                        <a:pt x="116" y="12"/>
                      </a:lnTo>
                      <a:lnTo>
                        <a:pt x="112" y="16"/>
                      </a:lnTo>
                      <a:lnTo>
                        <a:pt x="106" y="20"/>
                      </a:lnTo>
                      <a:lnTo>
                        <a:pt x="94" y="22"/>
                      </a:lnTo>
                      <a:lnTo>
                        <a:pt x="84" y="22"/>
                      </a:lnTo>
                      <a:lnTo>
                        <a:pt x="72" y="20"/>
                      </a:lnTo>
                      <a:lnTo>
                        <a:pt x="46" y="14"/>
                      </a:lnTo>
                      <a:lnTo>
                        <a:pt x="34" y="12"/>
                      </a:lnTo>
                      <a:lnTo>
                        <a:pt x="22" y="10"/>
                      </a:lnTo>
                      <a:lnTo>
                        <a:pt x="14" y="12"/>
                      </a:lnTo>
                      <a:lnTo>
                        <a:pt x="8" y="14"/>
                      </a:lnTo>
                      <a:lnTo>
                        <a:pt x="6" y="18"/>
                      </a:lnTo>
                      <a:lnTo>
                        <a:pt x="4" y="22"/>
                      </a:lnTo>
                      <a:lnTo>
                        <a:pt x="4" y="26"/>
                      </a:lnTo>
                      <a:lnTo>
                        <a:pt x="0" y="20"/>
                      </a:lnTo>
                      <a:lnTo>
                        <a:pt x="0" y="16"/>
                      </a:lnTo>
                      <a:lnTo>
                        <a:pt x="2" y="12"/>
                      </a:lnTo>
                      <a:lnTo>
                        <a:pt x="4" y="6"/>
                      </a:lnTo>
                      <a:lnTo>
                        <a:pt x="12" y="4"/>
                      </a:lnTo>
                      <a:lnTo>
                        <a:pt x="20" y="2"/>
                      </a:lnTo>
                      <a:lnTo>
                        <a:pt x="36" y="0"/>
                      </a:lnTo>
                      <a:lnTo>
                        <a:pt x="50" y="4"/>
                      </a:lnTo>
                      <a:lnTo>
                        <a:pt x="66" y="8"/>
                      </a:lnTo>
                      <a:lnTo>
                        <a:pt x="78" y="10"/>
                      </a:lnTo>
                      <a:lnTo>
                        <a:pt x="88" y="12"/>
                      </a:lnTo>
                      <a:lnTo>
                        <a:pt x="106" y="10"/>
                      </a:lnTo>
                      <a:lnTo>
                        <a:pt x="116" y="6"/>
                      </a:lnTo>
                      <a:lnTo>
                        <a:pt x="12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24" name="Freeform 126"/>
                <p:cNvSpPr>
                  <a:spLocks/>
                </p:cNvSpPr>
                <p:nvPr/>
              </p:nvSpPr>
              <p:spPr bwMode="auto">
                <a:xfrm>
                  <a:off x="5645761" y="3269287"/>
                  <a:ext cx="279304" cy="300495"/>
                </a:xfrm>
                <a:custGeom>
                  <a:avLst/>
                  <a:gdLst/>
                  <a:ahLst/>
                  <a:cxnLst>
                    <a:cxn ang="0">
                      <a:pos x="90" y="46"/>
                    </a:cxn>
                    <a:cxn ang="0">
                      <a:pos x="90" y="46"/>
                    </a:cxn>
                    <a:cxn ang="0">
                      <a:pos x="104" y="58"/>
                    </a:cxn>
                    <a:cxn ang="0">
                      <a:pos x="118" y="70"/>
                    </a:cxn>
                    <a:cxn ang="0">
                      <a:pos x="130" y="88"/>
                    </a:cxn>
                    <a:cxn ang="0">
                      <a:pos x="142" y="106"/>
                    </a:cxn>
                    <a:cxn ang="0">
                      <a:pos x="152" y="126"/>
                    </a:cxn>
                    <a:cxn ang="0">
                      <a:pos x="160" y="146"/>
                    </a:cxn>
                    <a:cxn ang="0">
                      <a:pos x="174" y="182"/>
                    </a:cxn>
                    <a:cxn ang="0">
                      <a:pos x="174" y="182"/>
                    </a:cxn>
                    <a:cxn ang="0">
                      <a:pos x="152" y="188"/>
                    </a:cxn>
                    <a:cxn ang="0">
                      <a:pos x="130" y="190"/>
                    </a:cxn>
                    <a:cxn ang="0">
                      <a:pos x="90" y="190"/>
                    </a:cxn>
                    <a:cxn ang="0">
                      <a:pos x="90" y="190"/>
                    </a:cxn>
                    <a:cxn ang="0">
                      <a:pos x="74" y="166"/>
                    </a:cxn>
                    <a:cxn ang="0">
                      <a:pos x="64" y="156"/>
                    </a:cxn>
                    <a:cxn ang="0">
                      <a:pos x="60" y="152"/>
                    </a:cxn>
                    <a:cxn ang="0">
                      <a:pos x="54" y="150"/>
                    </a:cxn>
                    <a:cxn ang="0">
                      <a:pos x="54" y="150"/>
                    </a:cxn>
                    <a:cxn ang="0">
                      <a:pos x="54" y="154"/>
                    </a:cxn>
                    <a:cxn ang="0">
                      <a:pos x="54" y="158"/>
                    </a:cxn>
                    <a:cxn ang="0">
                      <a:pos x="60" y="170"/>
                    </a:cxn>
                    <a:cxn ang="0">
                      <a:pos x="68" y="188"/>
                    </a:cxn>
                    <a:cxn ang="0">
                      <a:pos x="50" y="188"/>
                    </a:cxn>
                    <a:cxn ang="0">
                      <a:pos x="50" y="188"/>
                    </a:cxn>
                    <a:cxn ang="0">
                      <a:pos x="46" y="160"/>
                    </a:cxn>
                    <a:cxn ang="0">
                      <a:pos x="38" y="132"/>
                    </a:cxn>
                    <a:cxn ang="0">
                      <a:pos x="32" y="118"/>
                    </a:cxn>
                    <a:cxn ang="0">
                      <a:pos x="26" y="106"/>
                    </a:cxn>
                    <a:cxn ang="0">
                      <a:pos x="20" y="94"/>
                    </a:cxn>
                    <a:cxn ang="0">
                      <a:pos x="12" y="86"/>
                    </a:cxn>
                    <a:cxn ang="0">
                      <a:pos x="12" y="86"/>
                    </a:cxn>
                    <a:cxn ang="0">
                      <a:pos x="6" y="76"/>
                    </a:cxn>
                    <a:cxn ang="0">
                      <a:pos x="2" y="68"/>
                    </a:cxn>
                    <a:cxn ang="0">
                      <a:pos x="0" y="56"/>
                    </a:cxn>
                    <a:cxn ang="0">
                      <a:pos x="0" y="46"/>
                    </a:cxn>
                    <a:cxn ang="0">
                      <a:pos x="2" y="24"/>
                    </a:cxn>
                    <a:cxn ang="0">
                      <a:pos x="4" y="12"/>
                    </a:cxn>
                    <a:cxn ang="0">
                      <a:pos x="2" y="0"/>
                    </a:cxn>
                    <a:cxn ang="0">
                      <a:pos x="2" y="0"/>
                    </a:cxn>
                    <a:cxn ang="0">
                      <a:pos x="10" y="6"/>
                    </a:cxn>
                    <a:cxn ang="0">
                      <a:pos x="30" y="14"/>
                    </a:cxn>
                    <a:cxn ang="0">
                      <a:pos x="56" y="28"/>
                    </a:cxn>
                    <a:cxn ang="0">
                      <a:pos x="90" y="46"/>
                    </a:cxn>
                    <a:cxn ang="0">
                      <a:pos x="90" y="46"/>
                    </a:cxn>
                  </a:cxnLst>
                  <a:rect l="0" t="0" r="r" b="b"/>
                  <a:pathLst>
                    <a:path w="174" h="190">
                      <a:moveTo>
                        <a:pt x="90" y="46"/>
                      </a:moveTo>
                      <a:lnTo>
                        <a:pt x="90" y="46"/>
                      </a:lnTo>
                      <a:lnTo>
                        <a:pt x="104" y="58"/>
                      </a:lnTo>
                      <a:lnTo>
                        <a:pt x="118" y="70"/>
                      </a:lnTo>
                      <a:lnTo>
                        <a:pt x="130" y="88"/>
                      </a:lnTo>
                      <a:lnTo>
                        <a:pt x="142" y="106"/>
                      </a:lnTo>
                      <a:lnTo>
                        <a:pt x="152" y="126"/>
                      </a:lnTo>
                      <a:lnTo>
                        <a:pt x="160" y="146"/>
                      </a:lnTo>
                      <a:lnTo>
                        <a:pt x="174" y="182"/>
                      </a:lnTo>
                      <a:lnTo>
                        <a:pt x="174" y="182"/>
                      </a:lnTo>
                      <a:lnTo>
                        <a:pt x="152" y="188"/>
                      </a:lnTo>
                      <a:lnTo>
                        <a:pt x="130" y="190"/>
                      </a:lnTo>
                      <a:lnTo>
                        <a:pt x="90" y="190"/>
                      </a:lnTo>
                      <a:lnTo>
                        <a:pt x="90" y="190"/>
                      </a:lnTo>
                      <a:lnTo>
                        <a:pt x="74" y="166"/>
                      </a:lnTo>
                      <a:lnTo>
                        <a:pt x="64" y="156"/>
                      </a:lnTo>
                      <a:lnTo>
                        <a:pt x="60" y="152"/>
                      </a:lnTo>
                      <a:lnTo>
                        <a:pt x="54" y="150"/>
                      </a:lnTo>
                      <a:lnTo>
                        <a:pt x="54" y="150"/>
                      </a:lnTo>
                      <a:lnTo>
                        <a:pt x="54" y="154"/>
                      </a:lnTo>
                      <a:lnTo>
                        <a:pt x="54" y="158"/>
                      </a:lnTo>
                      <a:lnTo>
                        <a:pt x="60" y="170"/>
                      </a:lnTo>
                      <a:lnTo>
                        <a:pt x="68" y="188"/>
                      </a:lnTo>
                      <a:lnTo>
                        <a:pt x="50" y="188"/>
                      </a:lnTo>
                      <a:lnTo>
                        <a:pt x="50" y="188"/>
                      </a:lnTo>
                      <a:lnTo>
                        <a:pt x="46" y="160"/>
                      </a:lnTo>
                      <a:lnTo>
                        <a:pt x="38" y="132"/>
                      </a:lnTo>
                      <a:lnTo>
                        <a:pt x="32" y="118"/>
                      </a:lnTo>
                      <a:lnTo>
                        <a:pt x="26" y="106"/>
                      </a:lnTo>
                      <a:lnTo>
                        <a:pt x="20" y="94"/>
                      </a:lnTo>
                      <a:lnTo>
                        <a:pt x="12" y="86"/>
                      </a:lnTo>
                      <a:lnTo>
                        <a:pt x="12" y="86"/>
                      </a:lnTo>
                      <a:lnTo>
                        <a:pt x="6" y="76"/>
                      </a:lnTo>
                      <a:lnTo>
                        <a:pt x="2" y="68"/>
                      </a:lnTo>
                      <a:lnTo>
                        <a:pt x="0" y="56"/>
                      </a:lnTo>
                      <a:lnTo>
                        <a:pt x="0" y="46"/>
                      </a:lnTo>
                      <a:lnTo>
                        <a:pt x="2" y="24"/>
                      </a:lnTo>
                      <a:lnTo>
                        <a:pt x="4" y="12"/>
                      </a:lnTo>
                      <a:lnTo>
                        <a:pt x="2" y="0"/>
                      </a:lnTo>
                      <a:lnTo>
                        <a:pt x="2" y="0"/>
                      </a:lnTo>
                      <a:lnTo>
                        <a:pt x="10" y="6"/>
                      </a:lnTo>
                      <a:lnTo>
                        <a:pt x="30" y="14"/>
                      </a:lnTo>
                      <a:lnTo>
                        <a:pt x="56" y="28"/>
                      </a:lnTo>
                      <a:lnTo>
                        <a:pt x="90" y="46"/>
                      </a:lnTo>
                      <a:lnTo>
                        <a:pt x="90" y="46"/>
                      </a:lnTo>
                      <a:close/>
                    </a:path>
                  </a:pathLst>
                </a:custGeom>
                <a:solidFill>
                  <a:schemeClr val="accent6">
                    <a:lumMod val="40000"/>
                    <a:lumOff val="60000"/>
                  </a:schemeClr>
                </a:solidFill>
                <a:ln w="9525">
                  <a:noFill/>
                  <a:round/>
                  <a:headEnd/>
                  <a:tailEnd/>
                </a:ln>
              </p:spPr>
              <p:txBody>
                <a:bodyPr/>
                <a:lstStyle/>
                <a:p>
                  <a:pPr eaLnBrk="1" fontAlgn="auto" hangingPunct="1">
                    <a:spcBef>
                      <a:spcPts val="0"/>
                    </a:spcBef>
                    <a:spcAft>
                      <a:spcPts val="0"/>
                    </a:spcAft>
                    <a:defRPr/>
                  </a:pPr>
                  <a:endParaRPr lang="ja-JP" altLang="en-US">
                    <a:latin typeface="+mn-lt"/>
                    <a:ea typeface="+mn-ea"/>
                    <a:cs typeface="メイリオ" pitchFamily="50" charset="-128"/>
                  </a:endParaRPr>
                </a:p>
              </p:txBody>
            </p:sp>
            <p:sp>
              <p:nvSpPr>
                <p:cNvPr id="525" name="Freeform 127"/>
                <p:cNvSpPr>
                  <a:spLocks/>
                </p:cNvSpPr>
                <p:nvPr/>
              </p:nvSpPr>
              <p:spPr bwMode="auto">
                <a:xfrm>
                  <a:off x="5278440" y="3311516"/>
                  <a:ext cx="415925" cy="257175"/>
                </a:xfrm>
                <a:custGeom>
                  <a:avLst/>
                  <a:gdLst>
                    <a:gd name="T0" fmla="*/ 2147483646 w 262"/>
                    <a:gd name="T1" fmla="*/ 2147483646 h 162"/>
                    <a:gd name="T2" fmla="*/ 2147483646 w 262"/>
                    <a:gd name="T3" fmla="*/ 2147483646 h 162"/>
                    <a:gd name="T4" fmla="*/ 2147483646 w 262"/>
                    <a:gd name="T5" fmla="*/ 2147483646 h 162"/>
                    <a:gd name="T6" fmla="*/ 2147483646 w 262"/>
                    <a:gd name="T7" fmla="*/ 2147483646 h 162"/>
                    <a:gd name="T8" fmla="*/ 2147483646 w 262"/>
                    <a:gd name="T9" fmla="*/ 2147483646 h 162"/>
                    <a:gd name="T10" fmla="*/ 2147483646 w 262"/>
                    <a:gd name="T11" fmla="*/ 2147483646 h 162"/>
                    <a:gd name="T12" fmla="*/ 2147483646 w 262"/>
                    <a:gd name="T13" fmla="*/ 2147483646 h 162"/>
                    <a:gd name="T14" fmla="*/ 2147483646 w 262"/>
                    <a:gd name="T15" fmla="*/ 2147483646 h 162"/>
                    <a:gd name="T16" fmla="*/ 2147483646 w 262"/>
                    <a:gd name="T17" fmla="*/ 2147483646 h 162"/>
                    <a:gd name="T18" fmla="*/ 2147483646 w 262"/>
                    <a:gd name="T19" fmla="*/ 2147483646 h 162"/>
                    <a:gd name="T20" fmla="*/ 2147483646 w 262"/>
                    <a:gd name="T21" fmla="*/ 2147483646 h 162"/>
                    <a:gd name="T22" fmla="*/ 2147483646 w 262"/>
                    <a:gd name="T23" fmla="*/ 2147483646 h 162"/>
                    <a:gd name="T24" fmla="*/ 2147483646 w 262"/>
                    <a:gd name="T25" fmla="*/ 2147483646 h 162"/>
                    <a:gd name="T26" fmla="*/ 2147483646 w 262"/>
                    <a:gd name="T27" fmla="*/ 2147483646 h 162"/>
                    <a:gd name="T28" fmla="*/ 2147483646 w 262"/>
                    <a:gd name="T29" fmla="*/ 2147483646 h 162"/>
                    <a:gd name="T30" fmla="*/ 2147483646 w 262"/>
                    <a:gd name="T31" fmla="*/ 2147483646 h 162"/>
                    <a:gd name="T32" fmla="*/ 2147483646 w 262"/>
                    <a:gd name="T33" fmla="*/ 2147483646 h 162"/>
                    <a:gd name="T34" fmla="*/ 2147483646 w 262"/>
                    <a:gd name="T35" fmla="*/ 2147483646 h 162"/>
                    <a:gd name="T36" fmla="*/ 2147483646 w 262"/>
                    <a:gd name="T37" fmla="*/ 2147483646 h 162"/>
                    <a:gd name="T38" fmla="*/ 2147483646 w 262"/>
                    <a:gd name="T39" fmla="*/ 2147483646 h 162"/>
                    <a:gd name="T40" fmla="*/ 2147483646 w 262"/>
                    <a:gd name="T41" fmla="*/ 2147483646 h 162"/>
                    <a:gd name="T42" fmla="*/ 2147483646 w 262"/>
                    <a:gd name="T43" fmla="*/ 2147483646 h 162"/>
                    <a:gd name="T44" fmla="*/ 2147483646 w 262"/>
                    <a:gd name="T45" fmla="*/ 2147483646 h 162"/>
                    <a:gd name="T46" fmla="*/ 2147483646 w 262"/>
                    <a:gd name="T47" fmla="*/ 2147483646 h 162"/>
                    <a:gd name="T48" fmla="*/ 2147483646 w 262"/>
                    <a:gd name="T49" fmla="*/ 2147483646 h 162"/>
                    <a:gd name="T50" fmla="*/ 2147483646 w 262"/>
                    <a:gd name="T51" fmla="*/ 2147483646 h 162"/>
                    <a:gd name="T52" fmla="*/ 2147483646 w 262"/>
                    <a:gd name="T53" fmla="*/ 2147483646 h 162"/>
                    <a:gd name="T54" fmla="*/ 2147483646 w 262"/>
                    <a:gd name="T55" fmla="*/ 2147483646 h 162"/>
                    <a:gd name="T56" fmla="*/ 2147483646 w 262"/>
                    <a:gd name="T57" fmla="*/ 2147483646 h 162"/>
                    <a:gd name="T58" fmla="*/ 2147483646 w 262"/>
                    <a:gd name="T59" fmla="*/ 2147483646 h 162"/>
                    <a:gd name="T60" fmla="*/ 2147483646 w 262"/>
                    <a:gd name="T61" fmla="*/ 2147483646 h 162"/>
                    <a:gd name="T62" fmla="*/ 2147483646 w 262"/>
                    <a:gd name="T63" fmla="*/ 2147483646 h 162"/>
                    <a:gd name="T64" fmla="*/ 2147483646 w 262"/>
                    <a:gd name="T65" fmla="*/ 2147483646 h 162"/>
                    <a:gd name="T66" fmla="*/ 2147483646 w 262"/>
                    <a:gd name="T67" fmla="*/ 2147483646 h 162"/>
                    <a:gd name="T68" fmla="*/ 2147483646 w 262"/>
                    <a:gd name="T69" fmla="*/ 2147483646 h 162"/>
                    <a:gd name="T70" fmla="*/ 2147483646 w 262"/>
                    <a:gd name="T71" fmla="*/ 2147483646 h 162"/>
                    <a:gd name="T72" fmla="*/ 2147483646 w 262"/>
                    <a:gd name="T73" fmla="*/ 2147483646 h 162"/>
                    <a:gd name="T74" fmla="*/ 0 w 262"/>
                    <a:gd name="T75" fmla="*/ 2147483646 h 162"/>
                    <a:gd name="T76" fmla="*/ 2147483646 w 262"/>
                    <a:gd name="T77" fmla="*/ 2147483646 h 162"/>
                    <a:gd name="T78" fmla="*/ 2147483646 w 262"/>
                    <a:gd name="T79" fmla="*/ 2147483646 h 162"/>
                    <a:gd name="T80" fmla="*/ 2147483646 w 262"/>
                    <a:gd name="T81" fmla="*/ 2147483646 h 162"/>
                    <a:gd name="T82" fmla="*/ 2147483646 w 262"/>
                    <a:gd name="T83" fmla="*/ 2147483646 h 162"/>
                    <a:gd name="T84" fmla="*/ 2147483646 w 262"/>
                    <a:gd name="T85" fmla="*/ 2147483646 h 162"/>
                    <a:gd name="T86" fmla="*/ 2147483646 w 262"/>
                    <a:gd name="T87" fmla="*/ 2147483646 h 162"/>
                    <a:gd name="T88" fmla="*/ 2147483646 w 262"/>
                    <a:gd name="T89" fmla="*/ 2147483646 h 162"/>
                    <a:gd name="T90" fmla="*/ 2147483646 w 262"/>
                    <a:gd name="T91" fmla="*/ 2147483646 h 162"/>
                    <a:gd name="T92" fmla="*/ 2147483646 w 262"/>
                    <a:gd name="T93" fmla="*/ 2147483646 h 162"/>
                    <a:gd name="T94" fmla="*/ 2147483646 w 262"/>
                    <a:gd name="T95" fmla="*/ 2147483646 h 162"/>
                    <a:gd name="T96" fmla="*/ 2147483646 w 262"/>
                    <a:gd name="T97" fmla="*/ 2147483646 h 162"/>
                    <a:gd name="T98" fmla="*/ 2147483646 w 262"/>
                    <a:gd name="T99" fmla="*/ 0 h 162"/>
                    <a:gd name="T100" fmla="*/ 2147483646 w 262"/>
                    <a:gd name="T101" fmla="*/ 0 h 162"/>
                    <a:gd name="T102" fmla="*/ 2147483646 w 262"/>
                    <a:gd name="T103" fmla="*/ 2147483646 h 162"/>
                    <a:gd name="T104" fmla="*/ 2147483646 w 262"/>
                    <a:gd name="T105" fmla="*/ 2147483646 h 162"/>
                    <a:gd name="T106" fmla="*/ 2147483646 w 262"/>
                    <a:gd name="T107" fmla="*/ 2147483646 h 162"/>
                    <a:gd name="T108" fmla="*/ 2147483646 w 262"/>
                    <a:gd name="T109" fmla="*/ 2147483646 h 162"/>
                    <a:gd name="T110" fmla="*/ 2147483646 w 262"/>
                    <a:gd name="T111" fmla="*/ 2147483646 h 162"/>
                    <a:gd name="T112" fmla="*/ 2147483646 w 262"/>
                    <a:gd name="T113" fmla="*/ 2147483646 h 162"/>
                    <a:gd name="T114" fmla="*/ 2147483646 w 262"/>
                    <a:gd name="T115" fmla="*/ 2147483646 h 162"/>
                    <a:gd name="T116" fmla="*/ 2147483646 w 262"/>
                    <a:gd name="T117" fmla="*/ 2147483646 h 162"/>
                    <a:gd name="T118" fmla="*/ 2147483646 w 262"/>
                    <a:gd name="T119" fmla="*/ 2147483646 h 16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2"/>
                    <a:gd name="T181" fmla="*/ 0 h 162"/>
                    <a:gd name="T182" fmla="*/ 262 w 262"/>
                    <a:gd name="T183" fmla="*/ 162 h 16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2" h="162">
                      <a:moveTo>
                        <a:pt x="116" y="94"/>
                      </a:moveTo>
                      <a:lnTo>
                        <a:pt x="116" y="94"/>
                      </a:lnTo>
                      <a:lnTo>
                        <a:pt x="120" y="100"/>
                      </a:lnTo>
                      <a:lnTo>
                        <a:pt x="124" y="108"/>
                      </a:lnTo>
                      <a:lnTo>
                        <a:pt x="130" y="128"/>
                      </a:lnTo>
                      <a:lnTo>
                        <a:pt x="134" y="146"/>
                      </a:lnTo>
                      <a:lnTo>
                        <a:pt x="136" y="154"/>
                      </a:lnTo>
                      <a:lnTo>
                        <a:pt x="138" y="144"/>
                      </a:lnTo>
                      <a:lnTo>
                        <a:pt x="142" y="132"/>
                      </a:lnTo>
                      <a:lnTo>
                        <a:pt x="150" y="120"/>
                      </a:lnTo>
                      <a:lnTo>
                        <a:pt x="162" y="110"/>
                      </a:lnTo>
                      <a:lnTo>
                        <a:pt x="186" y="94"/>
                      </a:lnTo>
                      <a:lnTo>
                        <a:pt x="206" y="84"/>
                      </a:lnTo>
                      <a:lnTo>
                        <a:pt x="216" y="76"/>
                      </a:lnTo>
                      <a:lnTo>
                        <a:pt x="222" y="70"/>
                      </a:lnTo>
                      <a:lnTo>
                        <a:pt x="226" y="62"/>
                      </a:lnTo>
                      <a:lnTo>
                        <a:pt x="228" y="52"/>
                      </a:lnTo>
                      <a:lnTo>
                        <a:pt x="238" y="68"/>
                      </a:lnTo>
                      <a:lnTo>
                        <a:pt x="248" y="86"/>
                      </a:lnTo>
                      <a:lnTo>
                        <a:pt x="254" y="104"/>
                      </a:lnTo>
                      <a:lnTo>
                        <a:pt x="258" y="120"/>
                      </a:lnTo>
                      <a:lnTo>
                        <a:pt x="262" y="136"/>
                      </a:lnTo>
                      <a:lnTo>
                        <a:pt x="262" y="148"/>
                      </a:lnTo>
                      <a:lnTo>
                        <a:pt x="262" y="158"/>
                      </a:lnTo>
                      <a:lnTo>
                        <a:pt x="260" y="160"/>
                      </a:lnTo>
                      <a:lnTo>
                        <a:pt x="196" y="162"/>
                      </a:lnTo>
                      <a:lnTo>
                        <a:pt x="116" y="162"/>
                      </a:lnTo>
                      <a:lnTo>
                        <a:pt x="48" y="158"/>
                      </a:lnTo>
                      <a:lnTo>
                        <a:pt x="24" y="156"/>
                      </a:lnTo>
                      <a:lnTo>
                        <a:pt x="12" y="154"/>
                      </a:lnTo>
                      <a:lnTo>
                        <a:pt x="6" y="136"/>
                      </a:lnTo>
                      <a:lnTo>
                        <a:pt x="2" y="120"/>
                      </a:lnTo>
                      <a:lnTo>
                        <a:pt x="0" y="112"/>
                      </a:lnTo>
                      <a:lnTo>
                        <a:pt x="2" y="104"/>
                      </a:lnTo>
                      <a:lnTo>
                        <a:pt x="4" y="92"/>
                      </a:lnTo>
                      <a:lnTo>
                        <a:pt x="8" y="80"/>
                      </a:lnTo>
                      <a:lnTo>
                        <a:pt x="14" y="70"/>
                      </a:lnTo>
                      <a:lnTo>
                        <a:pt x="22" y="60"/>
                      </a:lnTo>
                      <a:lnTo>
                        <a:pt x="36" y="44"/>
                      </a:lnTo>
                      <a:lnTo>
                        <a:pt x="48" y="34"/>
                      </a:lnTo>
                      <a:lnTo>
                        <a:pt x="60" y="26"/>
                      </a:lnTo>
                      <a:lnTo>
                        <a:pt x="70" y="14"/>
                      </a:lnTo>
                      <a:lnTo>
                        <a:pt x="82" y="0"/>
                      </a:lnTo>
                      <a:lnTo>
                        <a:pt x="84" y="12"/>
                      </a:lnTo>
                      <a:lnTo>
                        <a:pt x="82" y="24"/>
                      </a:lnTo>
                      <a:lnTo>
                        <a:pt x="82" y="34"/>
                      </a:lnTo>
                      <a:lnTo>
                        <a:pt x="82" y="46"/>
                      </a:lnTo>
                      <a:lnTo>
                        <a:pt x="84" y="56"/>
                      </a:lnTo>
                      <a:lnTo>
                        <a:pt x="90" y="68"/>
                      </a:lnTo>
                      <a:lnTo>
                        <a:pt x="100" y="80"/>
                      </a:lnTo>
                      <a:lnTo>
                        <a:pt x="116" y="94"/>
                      </a:lnTo>
                      <a:close/>
                    </a:path>
                  </a:pathLst>
                </a:custGeom>
                <a:solidFill>
                  <a:srgbClr val="F36B2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26" name="Freeform 128"/>
                <p:cNvSpPr>
                  <a:spLocks/>
                </p:cNvSpPr>
                <p:nvPr/>
              </p:nvSpPr>
              <p:spPr bwMode="auto">
                <a:xfrm>
                  <a:off x="5926140" y="3432166"/>
                  <a:ext cx="469900" cy="107950"/>
                </a:xfrm>
                <a:custGeom>
                  <a:avLst/>
                  <a:gdLst>
                    <a:gd name="T0" fmla="*/ 2147483646 w 296"/>
                    <a:gd name="T1" fmla="*/ 0 h 68"/>
                    <a:gd name="T2" fmla="*/ 2147483646 w 296"/>
                    <a:gd name="T3" fmla="*/ 0 h 68"/>
                    <a:gd name="T4" fmla="*/ 2147483646 w 296"/>
                    <a:gd name="T5" fmla="*/ 2147483646 h 68"/>
                    <a:gd name="T6" fmla="*/ 2147483646 w 296"/>
                    <a:gd name="T7" fmla="*/ 2147483646 h 68"/>
                    <a:gd name="T8" fmla="*/ 2147483646 w 296"/>
                    <a:gd name="T9" fmla="*/ 2147483646 h 68"/>
                    <a:gd name="T10" fmla="*/ 2147483646 w 296"/>
                    <a:gd name="T11" fmla="*/ 2147483646 h 68"/>
                    <a:gd name="T12" fmla="*/ 2147483646 w 296"/>
                    <a:gd name="T13" fmla="*/ 2147483646 h 68"/>
                    <a:gd name="T14" fmla="*/ 2147483646 w 296"/>
                    <a:gd name="T15" fmla="*/ 2147483646 h 68"/>
                    <a:gd name="T16" fmla="*/ 2147483646 w 296"/>
                    <a:gd name="T17" fmla="*/ 2147483646 h 68"/>
                    <a:gd name="T18" fmla="*/ 2147483646 w 296"/>
                    <a:gd name="T19" fmla="*/ 2147483646 h 68"/>
                    <a:gd name="T20" fmla="*/ 2147483646 w 296"/>
                    <a:gd name="T21" fmla="*/ 2147483646 h 68"/>
                    <a:gd name="T22" fmla="*/ 2147483646 w 296"/>
                    <a:gd name="T23" fmla="*/ 2147483646 h 68"/>
                    <a:gd name="T24" fmla="*/ 2147483646 w 296"/>
                    <a:gd name="T25" fmla="*/ 2147483646 h 68"/>
                    <a:gd name="T26" fmla="*/ 2147483646 w 296"/>
                    <a:gd name="T27" fmla="*/ 2147483646 h 68"/>
                    <a:gd name="T28" fmla="*/ 2147483646 w 296"/>
                    <a:gd name="T29" fmla="*/ 2147483646 h 68"/>
                    <a:gd name="T30" fmla="*/ 2147483646 w 296"/>
                    <a:gd name="T31" fmla="*/ 2147483646 h 68"/>
                    <a:gd name="T32" fmla="*/ 2147483646 w 296"/>
                    <a:gd name="T33" fmla="*/ 2147483646 h 68"/>
                    <a:gd name="T34" fmla="*/ 2147483646 w 296"/>
                    <a:gd name="T35" fmla="*/ 2147483646 h 68"/>
                    <a:gd name="T36" fmla="*/ 2147483646 w 296"/>
                    <a:gd name="T37" fmla="*/ 2147483646 h 68"/>
                    <a:gd name="T38" fmla="*/ 2147483646 w 296"/>
                    <a:gd name="T39" fmla="*/ 2147483646 h 68"/>
                    <a:gd name="T40" fmla="*/ 2147483646 w 296"/>
                    <a:gd name="T41" fmla="*/ 2147483646 h 68"/>
                    <a:gd name="T42" fmla="*/ 2147483646 w 296"/>
                    <a:gd name="T43" fmla="*/ 2147483646 h 68"/>
                    <a:gd name="T44" fmla="*/ 2147483646 w 296"/>
                    <a:gd name="T45" fmla="*/ 2147483646 h 68"/>
                    <a:gd name="T46" fmla="*/ 2147483646 w 296"/>
                    <a:gd name="T47" fmla="*/ 2147483646 h 68"/>
                    <a:gd name="T48" fmla="*/ 2147483646 w 296"/>
                    <a:gd name="T49" fmla="*/ 2147483646 h 68"/>
                    <a:gd name="T50" fmla="*/ 2147483646 w 296"/>
                    <a:gd name="T51" fmla="*/ 2147483646 h 68"/>
                    <a:gd name="T52" fmla="*/ 0 w 296"/>
                    <a:gd name="T53" fmla="*/ 2147483646 h 68"/>
                    <a:gd name="T54" fmla="*/ 0 w 296"/>
                    <a:gd name="T55" fmla="*/ 2147483646 h 68"/>
                    <a:gd name="T56" fmla="*/ 2147483646 w 296"/>
                    <a:gd name="T57" fmla="*/ 2147483646 h 68"/>
                    <a:gd name="T58" fmla="*/ 2147483646 w 296"/>
                    <a:gd name="T59" fmla="*/ 2147483646 h 68"/>
                    <a:gd name="T60" fmla="*/ 2147483646 w 296"/>
                    <a:gd name="T61" fmla="*/ 2147483646 h 68"/>
                    <a:gd name="T62" fmla="*/ 2147483646 w 296"/>
                    <a:gd name="T63" fmla="*/ 2147483646 h 68"/>
                    <a:gd name="T64" fmla="*/ 2147483646 w 296"/>
                    <a:gd name="T65" fmla="*/ 2147483646 h 68"/>
                    <a:gd name="T66" fmla="*/ 2147483646 w 296"/>
                    <a:gd name="T67" fmla="*/ 2147483646 h 68"/>
                    <a:gd name="T68" fmla="*/ 2147483646 w 296"/>
                    <a:gd name="T69" fmla="*/ 0 h 68"/>
                    <a:gd name="T70" fmla="*/ 2147483646 w 296"/>
                    <a:gd name="T71" fmla="*/ 0 h 68"/>
                    <a:gd name="T72" fmla="*/ 2147483646 w 296"/>
                    <a:gd name="T73" fmla="*/ 0 h 6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96"/>
                    <a:gd name="T112" fmla="*/ 0 h 68"/>
                    <a:gd name="T113" fmla="*/ 296 w 296"/>
                    <a:gd name="T114" fmla="*/ 68 h 6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96" h="68">
                      <a:moveTo>
                        <a:pt x="296" y="0"/>
                      </a:moveTo>
                      <a:lnTo>
                        <a:pt x="296" y="0"/>
                      </a:lnTo>
                      <a:lnTo>
                        <a:pt x="288" y="8"/>
                      </a:lnTo>
                      <a:lnTo>
                        <a:pt x="278" y="16"/>
                      </a:lnTo>
                      <a:lnTo>
                        <a:pt x="266" y="24"/>
                      </a:lnTo>
                      <a:lnTo>
                        <a:pt x="250" y="32"/>
                      </a:lnTo>
                      <a:lnTo>
                        <a:pt x="218" y="44"/>
                      </a:lnTo>
                      <a:lnTo>
                        <a:pt x="184" y="52"/>
                      </a:lnTo>
                      <a:lnTo>
                        <a:pt x="152" y="60"/>
                      </a:lnTo>
                      <a:lnTo>
                        <a:pt x="124" y="64"/>
                      </a:lnTo>
                      <a:lnTo>
                        <a:pt x="104" y="68"/>
                      </a:lnTo>
                      <a:lnTo>
                        <a:pt x="94" y="66"/>
                      </a:lnTo>
                      <a:lnTo>
                        <a:pt x="100" y="64"/>
                      </a:lnTo>
                      <a:lnTo>
                        <a:pt x="112" y="62"/>
                      </a:lnTo>
                      <a:lnTo>
                        <a:pt x="156" y="50"/>
                      </a:lnTo>
                      <a:lnTo>
                        <a:pt x="208" y="36"/>
                      </a:lnTo>
                      <a:lnTo>
                        <a:pt x="232" y="26"/>
                      </a:lnTo>
                      <a:lnTo>
                        <a:pt x="252" y="18"/>
                      </a:lnTo>
                      <a:lnTo>
                        <a:pt x="224" y="20"/>
                      </a:lnTo>
                      <a:lnTo>
                        <a:pt x="154" y="24"/>
                      </a:lnTo>
                      <a:lnTo>
                        <a:pt x="114" y="24"/>
                      </a:lnTo>
                      <a:lnTo>
                        <a:pt x="72" y="22"/>
                      </a:lnTo>
                      <a:lnTo>
                        <a:pt x="34" y="18"/>
                      </a:lnTo>
                      <a:lnTo>
                        <a:pt x="16" y="14"/>
                      </a:lnTo>
                      <a:lnTo>
                        <a:pt x="0" y="10"/>
                      </a:lnTo>
                      <a:lnTo>
                        <a:pt x="74" y="14"/>
                      </a:lnTo>
                      <a:lnTo>
                        <a:pt x="132" y="16"/>
                      </a:lnTo>
                      <a:lnTo>
                        <a:pt x="180" y="14"/>
                      </a:lnTo>
                      <a:lnTo>
                        <a:pt x="218" y="10"/>
                      </a:lnTo>
                      <a:lnTo>
                        <a:pt x="248" y="8"/>
                      </a:lnTo>
                      <a:lnTo>
                        <a:pt x="270" y="4"/>
                      </a:lnTo>
                      <a:lnTo>
                        <a:pt x="284" y="0"/>
                      </a:lnTo>
                      <a:lnTo>
                        <a:pt x="29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27" name="Freeform 129"/>
                <p:cNvSpPr>
                  <a:spLocks/>
                </p:cNvSpPr>
                <p:nvPr/>
              </p:nvSpPr>
              <p:spPr bwMode="auto">
                <a:xfrm>
                  <a:off x="5221290" y="3603616"/>
                  <a:ext cx="384175" cy="212725"/>
                </a:xfrm>
                <a:custGeom>
                  <a:avLst/>
                  <a:gdLst>
                    <a:gd name="T0" fmla="*/ 2147483646 w 242"/>
                    <a:gd name="T1" fmla="*/ 2147483646 h 134"/>
                    <a:gd name="T2" fmla="*/ 2147483646 w 242"/>
                    <a:gd name="T3" fmla="*/ 2147483646 h 134"/>
                    <a:gd name="T4" fmla="*/ 2147483646 w 242"/>
                    <a:gd name="T5" fmla="*/ 2147483646 h 134"/>
                    <a:gd name="T6" fmla="*/ 2147483646 w 242"/>
                    <a:gd name="T7" fmla="*/ 2147483646 h 134"/>
                    <a:gd name="T8" fmla="*/ 2147483646 w 242"/>
                    <a:gd name="T9" fmla="*/ 2147483646 h 134"/>
                    <a:gd name="T10" fmla="*/ 2147483646 w 242"/>
                    <a:gd name="T11" fmla="*/ 2147483646 h 134"/>
                    <a:gd name="T12" fmla="*/ 2147483646 w 242"/>
                    <a:gd name="T13" fmla="*/ 2147483646 h 134"/>
                    <a:gd name="T14" fmla="*/ 2147483646 w 242"/>
                    <a:gd name="T15" fmla="*/ 2147483646 h 134"/>
                    <a:gd name="T16" fmla="*/ 2147483646 w 242"/>
                    <a:gd name="T17" fmla="*/ 2147483646 h 134"/>
                    <a:gd name="T18" fmla="*/ 2147483646 w 242"/>
                    <a:gd name="T19" fmla="*/ 2147483646 h 134"/>
                    <a:gd name="T20" fmla="*/ 2147483646 w 242"/>
                    <a:gd name="T21" fmla="*/ 2147483646 h 134"/>
                    <a:gd name="T22" fmla="*/ 2147483646 w 242"/>
                    <a:gd name="T23" fmla="*/ 2147483646 h 134"/>
                    <a:gd name="T24" fmla="*/ 2147483646 w 242"/>
                    <a:gd name="T25" fmla="*/ 2147483646 h 134"/>
                    <a:gd name="T26" fmla="*/ 2147483646 w 242"/>
                    <a:gd name="T27" fmla="*/ 2147483646 h 134"/>
                    <a:gd name="T28" fmla="*/ 2147483646 w 242"/>
                    <a:gd name="T29" fmla="*/ 2147483646 h 134"/>
                    <a:gd name="T30" fmla="*/ 2147483646 w 242"/>
                    <a:gd name="T31" fmla="*/ 2147483646 h 134"/>
                    <a:gd name="T32" fmla="*/ 2147483646 w 242"/>
                    <a:gd name="T33" fmla="*/ 2147483646 h 134"/>
                    <a:gd name="T34" fmla="*/ 2147483646 w 242"/>
                    <a:gd name="T35" fmla="*/ 2147483646 h 134"/>
                    <a:gd name="T36" fmla="*/ 2147483646 w 242"/>
                    <a:gd name="T37" fmla="*/ 2147483646 h 134"/>
                    <a:gd name="T38" fmla="*/ 2147483646 w 242"/>
                    <a:gd name="T39" fmla="*/ 2147483646 h 134"/>
                    <a:gd name="T40" fmla="*/ 2147483646 w 242"/>
                    <a:gd name="T41" fmla="*/ 2147483646 h 134"/>
                    <a:gd name="T42" fmla="*/ 2147483646 w 242"/>
                    <a:gd name="T43" fmla="*/ 2147483646 h 134"/>
                    <a:gd name="T44" fmla="*/ 2147483646 w 242"/>
                    <a:gd name="T45" fmla="*/ 2147483646 h 134"/>
                    <a:gd name="T46" fmla="*/ 2147483646 w 242"/>
                    <a:gd name="T47" fmla="*/ 2147483646 h 134"/>
                    <a:gd name="T48" fmla="*/ 2147483646 w 242"/>
                    <a:gd name="T49" fmla="*/ 2147483646 h 134"/>
                    <a:gd name="T50" fmla="*/ 2147483646 w 242"/>
                    <a:gd name="T51" fmla="*/ 2147483646 h 134"/>
                    <a:gd name="T52" fmla="*/ 2147483646 w 242"/>
                    <a:gd name="T53" fmla="*/ 2147483646 h 134"/>
                    <a:gd name="T54" fmla="*/ 2147483646 w 242"/>
                    <a:gd name="T55" fmla="*/ 2147483646 h 134"/>
                    <a:gd name="T56" fmla="*/ 2147483646 w 242"/>
                    <a:gd name="T57" fmla="*/ 2147483646 h 134"/>
                    <a:gd name="T58" fmla="*/ 0 w 242"/>
                    <a:gd name="T59" fmla="*/ 0 h 134"/>
                    <a:gd name="T60" fmla="*/ 2147483646 w 242"/>
                    <a:gd name="T61" fmla="*/ 2147483646 h 134"/>
                    <a:gd name="T62" fmla="*/ 2147483646 w 242"/>
                    <a:gd name="T63" fmla="*/ 2147483646 h 1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2"/>
                    <a:gd name="T97" fmla="*/ 0 h 134"/>
                    <a:gd name="T98" fmla="*/ 242 w 242"/>
                    <a:gd name="T99" fmla="*/ 134 h 1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2" h="134">
                      <a:moveTo>
                        <a:pt x="242" y="10"/>
                      </a:moveTo>
                      <a:lnTo>
                        <a:pt x="242" y="10"/>
                      </a:lnTo>
                      <a:lnTo>
                        <a:pt x="222" y="20"/>
                      </a:lnTo>
                      <a:lnTo>
                        <a:pt x="198" y="30"/>
                      </a:lnTo>
                      <a:lnTo>
                        <a:pt x="142" y="46"/>
                      </a:lnTo>
                      <a:lnTo>
                        <a:pt x="74" y="62"/>
                      </a:lnTo>
                      <a:lnTo>
                        <a:pt x="90" y="68"/>
                      </a:lnTo>
                      <a:lnTo>
                        <a:pt x="108" y="72"/>
                      </a:lnTo>
                      <a:lnTo>
                        <a:pt x="128" y="74"/>
                      </a:lnTo>
                      <a:lnTo>
                        <a:pt x="150" y="76"/>
                      </a:lnTo>
                      <a:lnTo>
                        <a:pt x="188" y="76"/>
                      </a:lnTo>
                      <a:lnTo>
                        <a:pt x="216" y="76"/>
                      </a:lnTo>
                      <a:lnTo>
                        <a:pt x="208" y="80"/>
                      </a:lnTo>
                      <a:lnTo>
                        <a:pt x="196" y="86"/>
                      </a:lnTo>
                      <a:lnTo>
                        <a:pt x="160" y="100"/>
                      </a:lnTo>
                      <a:lnTo>
                        <a:pt x="120" y="114"/>
                      </a:lnTo>
                      <a:lnTo>
                        <a:pt x="102" y="118"/>
                      </a:lnTo>
                      <a:lnTo>
                        <a:pt x="88" y="120"/>
                      </a:lnTo>
                      <a:lnTo>
                        <a:pt x="102" y="124"/>
                      </a:lnTo>
                      <a:lnTo>
                        <a:pt x="118" y="128"/>
                      </a:lnTo>
                      <a:lnTo>
                        <a:pt x="156" y="130"/>
                      </a:lnTo>
                      <a:lnTo>
                        <a:pt x="188" y="130"/>
                      </a:lnTo>
                      <a:lnTo>
                        <a:pt x="202" y="130"/>
                      </a:lnTo>
                      <a:lnTo>
                        <a:pt x="166" y="134"/>
                      </a:lnTo>
                      <a:lnTo>
                        <a:pt x="146" y="134"/>
                      </a:lnTo>
                      <a:lnTo>
                        <a:pt x="124" y="134"/>
                      </a:lnTo>
                      <a:lnTo>
                        <a:pt x="104" y="134"/>
                      </a:lnTo>
                      <a:lnTo>
                        <a:pt x="84" y="130"/>
                      </a:lnTo>
                      <a:lnTo>
                        <a:pt x="68" y="124"/>
                      </a:lnTo>
                      <a:lnTo>
                        <a:pt x="60" y="120"/>
                      </a:lnTo>
                      <a:lnTo>
                        <a:pt x="54" y="114"/>
                      </a:lnTo>
                      <a:lnTo>
                        <a:pt x="68" y="114"/>
                      </a:lnTo>
                      <a:lnTo>
                        <a:pt x="86" y="112"/>
                      </a:lnTo>
                      <a:lnTo>
                        <a:pt x="124" y="104"/>
                      </a:lnTo>
                      <a:lnTo>
                        <a:pt x="160" y="94"/>
                      </a:lnTo>
                      <a:lnTo>
                        <a:pt x="190" y="84"/>
                      </a:lnTo>
                      <a:lnTo>
                        <a:pt x="150" y="86"/>
                      </a:lnTo>
                      <a:lnTo>
                        <a:pt x="130" y="86"/>
                      </a:lnTo>
                      <a:lnTo>
                        <a:pt x="112" y="84"/>
                      </a:lnTo>
                      <a:lnTo>
                        <a:pt x="94" y="80"/>
                      </a:lnTo>
                      <a:lnTo>
                        <a:pt x="76" y="74"/>
                      </a:lnTo>
                      <a:lnTo>
                        <a:pt x="60" y="66"/>
                      </a:lnTo>
                      <a:lnTo>
                        <a:pt x="44" y="54"/>
                      </a:lnTo>
                      <a:lnTo>
                        <a:pt x="114" y="40"/>
                      </a:lnTo>
                      <a:lnTo>
                        <a:pt x="170" y="28"/>
                      </a:lnTo>
                      <a:lnTo>
                        <a:pt x="210" y="16"/>
                      </a:lnTo>
                      <a:lnTo>
                        <a:pt x="154" y="16"/>
                      </a:lnTo>
                      <a:lnTo>
                        <a:pt x="86" y="12"/>
                      </a:lnTo>
                      <a:lnTo>
                        <a:pt x="30" y="8"/>
                      </a:lnTo>
                      <a:lnTo>
                        <a:pt x="10" y="4"/>
                      </a:lnTo>
                      <a:lnTo>
                        <a:pt x="0" y="0"/>
                      </a:lnTo>
                      <a:lnTo>
                        <a:pt x="38" y="0"/>
                      </a:lnTo>
                      <a:lnTo>
                        <a:pt x="120" y="2"/>
                      </a:lnTo>
                      <a:lnTo>
                        <a:pt x="204" y="8"/>
                      </a:lnTo>
                      <a:lnTo>
                        <a:pt x="242"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28" name="Freeform 130"/>
                <p:cNvSpPr>
                  <a:spLocks/>
                </p:cNvSpPr>
                <p:nvPr/>
              </p:nvSpPr>
              <p:spPr bwMode="auto">
                <a:xfrm>
                  <a:off x="6103940" y="3562341"/>
                  <a:ext cx="180975" cy="38100"/>
                </a:xfrm>
                <a:custGeom>
                  <a:avLst/>
                  <a:gdLst>
                    <a:gd name="T0" fmla="*/ 2147483646 w 114"/>
                    <a:gd name="T1" fmla="*/ 2147483646 h 24"/>
                    <a:gd name="T2" fmla="*/ 2147483646 w 114"/>
                    <a:gd name="T3" fmla="*/ 2147483646 h 24"/>
                    <a:gd name="T4" fmla="*/ 2147483646 w 114"/>
                    <a:gd name="T5" fmla="*/ 2147483646 h 24"/>
                    <a:gd name="T6" fmla="*/ 2147483646 w 114"/>
                    <a:gd name="T7" fmla="*/ 2147483646 h 24"/>
                    <a:gd name="T8" fmla="*/ 2147483646 w 114"/>
                    <a:gd name="T9" fmla="*/ 2147483646 h 24"/>
                    <a:gd name="T10" fmla="*/ 2147483646 w 114"/>
                    <a:gd name="T11" fmla="*/ 2147483646 h 24"/>
                    <a:gd name="T12" fmla="*/ 2147483646 w 114"/>
                    <a:gd name="T13" fmla="*/ 2147483646 h 24"/>
                    <a:gd name="T14" fmla="*/ 0 w 114"/>
                    <a:gd name="T15" fmla="*/ 2147483646 h 24"/>
                    <a:gd name="T16" fmla="*/ 0 w 114"/>
                    <a:gd name="T17" fmla="*/ 2147483646 h 24"/>
                    <a:gd name="T18" fmla="*/ 2147483646 w 114"/>
                    <a:gd name="T19" fmla="*/ 2147483646 h 24"/>
                    <a:gd name="T20" fmla="*/ 2147483646 w 114"/>
                    <a:gd name="T21" fmla="*/ 2147483646 h 24"/>
                    <a:gd name="T22" fmla="*/ 2147483646 w 114"/>
                    <a:gd name="T23" fmla="*/ 2147483646 h 24"/>
                    <a:gd name="T24" fmla="*/ 2147483646 w 114"/>
                    <a:gd name="T25" fmla="*/ 0 h 24"/>
                    <a:gd name="T26" fmla="*/ 2147483646 w 114"/>
                    <a:gd name="T27" fmla="*/ 0 h 24"/>
                    <a:gd name="T28" fmla="*/ 2147483646 w 114"/>
                    <a:gd name="T29" fmla="*/ 2147483646 h 24"/>
                    <a:gd name="T30" fmla="*/ 2147483646 w 114"/>
                    <a:gd name="T31" fmla="*/ 2147483646 h 24"/>
                    <a:gd name="T32" fmla="*/ 2147483646 w 114"/>
                    <a:gd name="T33" fmla="*/ 2147483646 h 24"/>
                    <a:gd name="T34" fmla="*/ 2147483646 w 114"/>
                    <a:gd name="T35" fmla="*/ 2147483646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4"/>
                    <a:gd name="T55" fmla="*/ 0 h 24"/>
                    <a:gd name="T56" fmla="*/ 114 w 114"/>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4" h="24">
                      <a:moveTo>
                        <a:pt x="114" y="10"/>
                      </a:moveTo>
                      <a:lnTo>
                        <a:pt x="114" y="10"/>
                      </a:lnTo>
                      <a:lnTo>
                        <a:pt x="90" y="16"/>
                      </a:lnTo>
                      <a:lnTo>
                        <a:pt x="60" y="22"/>
                      </a:lnTo>
                      <a:lnTo>
                        <a:pt x="44" y="24"/>
                      </a:lnTo>
                      <a:lnTo>
                        <a:pt x="30" y="24"/>
                      </a:lnTo>
                      <a:lnTo>
                        <a:pt x="14" y="22"/>
                      </a:lnTo>
                      <a:lnTo>
                        <a:pt x="0" y="20"/>
                      </a:lnTo>
                      <a:lnTo>
                        <a:pt x="12" y="18"/>
                      </a:lnTo>
                      <a:lnTo>
                        <a:pt x="42" y="12"/>
                      </a:lnTo>
                      <a:lnTo>
                        <a:pt x="80" y="6"/>
                      </a:lnTo>
                      <a:lnTo>
                        <a:pt x="112" y="0"/>
                      </a:lnTo>
                      <a:lnTo>
                        <a:pt x="112" y="2"/>
                      </a:lnTo>
                      <a:lnTo>
                        <a:pt x="114" y="6"/>
                      </a:lnTo>
                      <a:lnTo>
                        <a:pt x="11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29" name="Freeform 131"/>
                <p:cNvSpPr>
                  <a:spLocks/>
                </p:cNvSpPr>
                <p:nvPr/>
              </p:nvSpPr>
              <p:spPr bwMode="auto">
                <a:xfrm>
                  <a:off x="5659440" y="3629016"/>
                  <a:ext cx="355600" cy="82550"/>
                </a:xfrm>
                <a:custGeom>
                  <a:avLst/>
                  <a:gdLst>
                    <a:gd name="T0" fmla="*/ 2147483646 w 224"/>
                    <a:gd name="T1" fmla="*/ 0 h 52"/>
                    <a:gd name="T2" fmla="*/ 2147483646 w 224"/>
                    <a:gd name="T3" fmla="*/ 0 h 52"/>
                    <a:gd name="T4" fmla="*/ 2147483646 w 224"/>
                    <a:gd name="T5" fmla="*/ 2147483646 h 52"/>
                    <a:gd name="T6" fmla="*/ 2147483646 w 224"/>
                    <a:gd name="T7" fmla="*/ 2147483646 h 52"/>
                    <a:gd name="T8" fmla="*/ 2147483646 w 224"/>
                    <a:gd name="T9" fmla="*/ 2147483646 h 52"/>
                    <a:gd name="T10" fmla="*/ 2147483646 w 224"/>
                    <a:gd name="T11" fmla="*/ 2147483646 h 52"/>
                    <a:gd name="T12" fmla="*/ 2147483646 w 224"/>
                    <a:gd name="T13" fmla="*/ 2147483646 h 52"/>
                    <a:gd name="T14" fmla="*/ 2147483646 w 224"/>
                    <a:gd name="T15" fmla="*/ 2147483646 h 52"/>
                    <a:gd name="T16" fmla="*/ 2147483646 w 224"/>
                    <a:gd name="T17" fmla="*/ 2147483646 h 52"/>
                    <a:gd name="T18" fmla="*/ 2147483646 w 224"/>
                    <a:gd name="T19" fmla="*/ 2147483646 h 52"/>
                    <a:gd name="T20" fmla="*/ 2147483646 w 224"/>
                    <a:gd name="T21" fmla="*/ 2147483646 h 52"/>
                    <a:gd name="T22" fmla="*/ 2147483646 w 224"/>
                    <a:gd name="T23" fmla="*/ 2147483646 h 52"/>
                    <a:gd name="T24" fmla="*/ 2147483646 w 224"/>
                    <a:gd name="T25" fmla="*/ 2147483646 h 52"/>
                    <a:gd name="T26" fmla="*/ 2147483646 w 224"/>
                    <a:gd name="T27" fmla="*/ 2147483646 h 52"/>
                    <a:gd name="T28" fmla="*/ 2147483646 w 224"/>
                    <a:gd name="T29" fmla="*/ 2147483646 h 52"/>
                    <a:gd name="T30" fmla="*/ 2147483646 w 224"/>
                    <a:gd name="T31" fmla="*/ 2147483646 h 52"/>
                    <a:gd name="T32" fmla="*/ 2147483646 w 224"/>
                    <a:gd name="T33" fmla="*/ 2147483646 h 52"/>
                    <a:gd name="T34" fmla="*/ 2147483646 w 224"/>
                    <a:gd name="T35" fmla="*/ 2147483646 h 52"/>
                    <a:gd name="T36" fmla="*/ 2147483646 w 224"/>
                    <a:gd name="T37" fmla="*/ 2147483646 h 52"/>
                    <a:gd name="T38" fmla="*/ 2147483646 w 224"/>
                    <a:gd name="T39" fmla="*/ 2147483646 h 52"/>
                    <a:gd name="T40" fmla="*/ 2147483646 w 224"/>
                    <a:gd name="T41" fmla="*/ 2147483646 h 52"/>
                    <a:gd name="T42" fmla="*/ 2147483646 w 224"/>
                    <a:gd name="T43" fmla="*/ 2147483646 h 52"/>
                    <a:gd name="T44" fmla="*/ 2147483646 w 224"/>
                    <a:gd name="T45" fmla="*/ 2147483646 h 52"/>
                    <a:gd name="T46" fmla="*/ 0 w 224"/>
                    <a:gd name="T47" fmla="*/ 0 h 52"/>
                    <a:gd name="T48" fmla="*/ 0 w 224"/>
                    <a:gd name="T49" fmla="*/ 0 h 52"/>
                    <a:gd name="T50" fmla="*/ 2147483646 w 224"/>
                    <a:gd name="T51" fmla="*/ 2147483646 h 52"/>
                    <a:gd name="T52" fmla="*/ 2147483646 w 224"/>
                    <a:gd name="T53" fmla="*/ 2147483646 h 52"/>
                    <a:gd name="T54" fmla="*/ 2147483646 w 224"/>
                    <a:gd name="T55" fmla="*/ 2147483646 h 52"/>
                    <a:gd name="T56" fmla="*/ 2147483646 w 224"/>
                    <a:gd name="T57" fmla="*/ 2147483646 h 52"/>
                    <a:gd name="T58" fmla="*/ 2147483646 w 224"/>
                    <a:gd name="T59" fmla="*/ 0 h 52"/>
                    <a:gd name="T60" fmla="*/ 2147483646 w 224"/>
                    <a:gd name="T61" fmla="*/ 0 h 5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4"/>
                    <a:gd name="T94" fmla="*/ 0 h 52"/>
                    <a:gd name="T95" fmla="*/ 224 w 224"/>
                    <a:gd name="T96" fmla="*/ 52 h 5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4" h="52">
                      <a:moveTo>
                        <a:pt x="224" y="0"/>
                      </a:moveTo>
                      <a:lnTo>
                        <a:pt x="224" y="0"/>
                      </a:lnTo>
                      <a:lnTo>
                        <a:pt x="208" y="14"/>
                      </a:lnTo>
                      <a:lnTo>
                        <a:pt x="192" y="24"/>
                      </a:lnTo>
                      <a:lnTo>
                        <a:pt x="174" y="34"/>
                      </a:lnTo>
                      <a:lnTo>
                        <a:pt x="154" y="40"/>
                      </a:lnTo>
                      <a:lnTo>
                        <a:pt x="136" y="44"/>
                      </a:lnTo>
                      <a:lnTo>
                        <a:pt x="116" y="48"/>
                      </a:lnTo>
                      <a:lnTo>
                        <a:pt x="78" y="52"/>
                      </a:lnTo>
                      <a:lnTo>
                        <a:pt x="90" y="48"/>
                      </a:lnTo>
                      <a:lnTo>
                        <a:pt x="124" y="40"/>
                      </a:lnTo>
                      <a:lnTo>
                        <a:pt x="144" y="34"/>
                      </a:lnTo>
                      <a:lnTo>
                        <a:pt x="164" y="26"/>
                      </a:lnTo>
                      <a:lnTo>
                        <a:pt x="184" y="18"/>
                      </a:lnTo>
                      <a:lnTo>
                        <a:pt x="198" y="8"/>
                      </a:lnTo>
                      <a:lnTo>
                        <a:pt x="142" y="12"/>
                      </a:lnTo>
                      <a:lnTo>
                        <a:pt x="76" y="10"/>
                      </a:lnTo>
                      <a:lnTo>
                        <a:pt x="46" y="10"/>
                      </a:lnTo>
                      <a:lnTo>
                        <a:pt x="22" y="8"/>
                      </a:lnTo>
                      <a:lnTo>
                        <a:pt x="6" y="4"/>
                      </a:lnTo>
                      <a:lnTo>
                        <a:pt x="2" y="2"/>
                      </a:lnTo>
                      <a:lnTo>
                        <a:pt x="0" y="0"/>
                      </a:lnTo>
                      <a:lnTo>
                        <a:pt x="26" y="4"/>
                      </a:lnTo>
                      <a:lnTo>
                        <a:pt x="58" y="4"/>
                      </a:lnTo>
                      <a:lnTo>
                        <a:pt x="132" y="4"/>
                      </a:lnTo>
                      <a:lnTo>
                        <a:pt x="196" y="2"/>
                      </a:lnTo>
                      <a:lnTo>
                        <a:pt x="2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30" name="Freeform 132"/>
                <p:cNvSpPr>
                  <a:spLocks/>
                </p:cNvSpPr>
                <p:nvPr/>
              </p:nvSpPr>
              <p:spPr bwMode="auto">
                <a:xfrm>
                  <a:off x="6170615" y="3638541"/>
                  <a:ext cx="101600" cy="19050"/>
                </a:xfrm>
                <a:custGeom>
                  <a:avLst/>
                  <a:gdLst>
                    <a:gd name="T0" fmla="*/ 2147483646 w 64"/>
                    <a:gd name="T1" fmla="*/ 0 h 12"/>
                    <a:gd name="T2" fmla="*/ 2147483646 w 64"/>
                    <a:gd name="T3" fmla="*/ 0 h 12"/>
                    <a:gd name="T4" fmla="*/ 2147483646 w 64"/>
                    <a:gd name="T5" fmla="*/ 2147483646 h 12"/>
                    <a:gd name="T6" fmla="*/ 2147483646 w 64"/>
                    <a:gd name="T7" fmla="*/ 2147483646 h 12"/>
                    <a:gd name="T8" fmla="*/ 2147483646 w 64"/>
                    <a:gd name="T9" fmla="*/ 2147483646 h 12"/>
                    <a:gd name="T10" fmla="*/ 2147483646 w 64"/>
                    <a:gd name="T11" fmla="*/ 2147483646 h 12"/>
                    <a:gd name="T12" fmla="*/ 2147483646 w 64"/>
                    <a:gd name="T13" fmla="*/ 2147483646 h 12"/>
                    <a:gd name="T14" fmla="*/ 0 w 64"/>
                    <a:gd name="T15" fmla="*/ 2147483646 h 12"/>
                    <a:gd name="T16" fmla="*/ 0 w 64"/>
                    <a:gd name="T17" fmla="*/ 2147483646 h 12"/>
                    <a:gd name="T18" fmla="*/ 0 w 64"/>
                    <a:gd name="T19" fmla="*/ 2147483646 h 12"/>
                    <a:gd name="T20" fmla="*/ 2147483646 w 64"/>
                    <a:gd name="T21" fmla="*/ 2147483646 h 12"/>
                    <a:gd name="T22" fmla="*/ 2147483646 w 64"/>
                    <a:gd name="T23" fmla="*/ 0 h 12"/>
                    <a:gd name="T24" fmla="*/ 2147483646 w 64"/>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12"/>
                    <a:gd name="T41" fmla="*/ 64 w 64"/>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12">
                      <a:moveTo>
                        <a:pt x="64" y="0"/>
                      </a:moveTo>
                      <a:lnTo>
                        <a:pt x="64" y="0"/>
                      </a:lnTo>
                      <a:lnTo>
                        <a:pt x="44" y="6"/>
                      </a:lnTo>
                      <a:lnTo>
                        <a:pt x="24" y="10"/>
                      </a:lnTo>
                      <a:lnTo>
                        <a:pt x="14" y="12"/>
                      </a:lnTo>
                      <a:lnTo>
                        <a:pt x="2" y="12"/>
                      </a:lnTo>
                      <a:lnTo>
                        <a:pt x="0" y="8"/>
                      </a:lnTo>
                      <a:lnTo>
                        <a:pt x="0" y="4"/>
                      </a:lnTo>
                      <a:lnTo>
                        <a:pt x="32" y="4"/>
                      </a:lnTo>
                      <a:lnTo>
                        <a:pt x="6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31" name="Freeform 133"/>
                <p:cNvSpPr>
                  <a:spLocks/>
                </p:cNvSpPr>
                <p:nvPr/>
              </p:nvSpPr>
              <p:spPr bwMode="auto">
                <a:xfrm>
                  <a:off x="5729290" y="3736966"/>
                  <a:ext cx="263525" cy="82550"/>
                </a:xfrm>
                <a:custGeom>
                  <a:avLst/>
                  <a:gdLst>
                    <a:gd name="T0" fmla="*/ 2147483646 w 166"/>
                    <a:gd name="T1" fmla="*/ 0 h 52"/>
                    <a:gd name="T2" fmla="*/ 2147483646 w 166"/>
                    <a:gd name="T3" fmla="*/ 0 h 52"/>
                    <a:gd name="T4" fmla="*/ 2147483646 w 166"/>
                    <a:gd name="T5" fmla="*/ 2147483646 h 52"/>
                    <a:gd name="T6" fmla="*/ 2147483646 w 166"/>
                    <a:gd name="T7" fmla="*/ 2147483646 h 52"/>
                    <a:gd name="T8" fmla="*/ 2147483646 w 166"/>
                    <a:gd name="T9" fmla="*/ 2147483646 h 52"/>
                    <a:gd name="T10" fmla="*/ 2147483646 w 166"/>
                    <a:gd name="T11" fmla="*/ 2147483646 h 52"/>
                    <a:gd name="T12" fmla="*/ 2147483646 w 166"/>
                    <a:gd name="T13" fmla="*/ 2147483646 h 52"/>
                    <a:gd name="T14" fmla="*/ 2147483646 w 166"/>
                    <a:gd name="T15" fmla="*/ 2147483646 h 52"/>
                    <a:gd name="T16" fmla="*/ 2147483646 w 166"/>
                    <a:gd name="T17" fmla="*/ 2147483646 h 52"/>
                    <a:gd name="T18" fmla="*/ 2147483646 w 166"/>
                    <a:gd name="T19" fmla="*/ 2147483646 h 52"/>
                    <a:gd name="T20" fmla="*/ 2147483646 w 166"/>
                    <a:gd name="T21" fmla="*/ 2147483646 h 52"/>
                    <a:gd name="T22" fmla="*/ 2147483646 w 166"/>
                    <a:gd name="T23" fmla="*/ 2147483646 h 52"/>
                    <a:gd name="T24" fmla="*/ 2147483646 w 166"/>
                    <a:gd name="T25" fmla="*/ 2147483646 h 52"/>
                    <a:gd name="T26" fmla="*/ 2147483646 w 166"/>
                    <a:gd name="T27" fmla="*/ 2147483646 h 52"/>
                    <a:gd name="T28" fmla="*/ 2147483646 w 166"/>
                    <a:gd name="T29" fmla="*/ 2147483646 h 52"/>
                    <a:gd name="T30" fmla="*/ 2147483646 w 166"/>
                    <a:gd name="T31" fmla="*/ 2147483646 h 52"/>
                    <a:gd name="T32" fmla="*/ 2147483646 w 166"/>
                    <a:gd name="T33" fmla="*/ 2147483646 h 52"/>
                    <a:gd name="T34" fmla="*/ 2147483646 w 166"/>
                    <a:gd name="T35" fmla="*/ 2147483646 h 52"/>
                    <a:gd name="T36" fmla="*/ 2147483646 w 166"/>
                    <a:gd name="T37" fmla="*/ 2147483646 h 52"/>
                    <a:gd name="T38" fmla="*/ 2147483646 w 166"/>
                    <a:gd name="T39" fmla="*/ 2147483646 h 52"/>
                    <a:gd name="T40" fmla="*/ 2147483646 w 166"/>
                    <a:gd name="T41" fmla="*/ 2147483646 h 52"/>
                    <a:gd name="T42" fmla="*/ 2147483646 w 166"/>
                    <a:gd name="T43" fmla="*/ 2147483646 h 52"/>
                    <a:gd name="T44" fmla="*/ 2147483646 w 166"/>
                    <a:gd name="T45" fmla="*/ 2147483646 h 52"/>
                    <a:gd name="T46" fmla="*/ 2147483646 w 166"/>
                    <a:gd name="T47" fmla="*/ 2147483646 h 52"/>
                    <a:gd name="T48" fmla="*/ 2147483646 w 166"/>
                    <a:gd name="T49" fmla="*/ 2147483646 h 52"/>
                    <a:gd name="T50" fmla="*/ 2147483646 w 166"/>
                    <a:gd name="T51" fmla="*/ 2147483646 h 52"/>
                    <a:gd name="T52" fmla="*/ 0 w 166"/>
                    <a:gd name="T53" fmla="*/ 2147483646 h 52"/>
                    <a:gd name="T54" fmla="*/ 0 w 166"/>
                    <a:gd name="T55" fmla="*/ 2147483646 h 52"/>
                    <a:gd name="T56" fmla="*/ 2147483646 w 166"/>
                    <a:gd name="T57" fmla="*/ 2147483646 h 52"/>
                    <a:gd name="T58" fmla="*/ 2147483646 w 166"/>
                    <a:gd name="T59" fmla="*/ 2147483646 h 52"/>
                    <a:gd name="T60" fmla="*/ 2147483646 w 166"/>
                    <a:gd name="T61" fmla="*/ 0 h 52"/>
                    <a:gd name="T62" fmla="*/ 2147483646 w 166"/>
                    <a:gd name="T63" fmla="*/ 0 h 52"/>
                    <a:gd name="T64" fmla="*/ 2147483646 w 166"/>
                    <a:gd name="T65" fmla="*/ 0 h 52"/>
                    <a:gd name="T66" fmla="*/ 2147483646 w 166"/>
                    <a:gd name="T67" fmla="*/ 0 h 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6"/>
                    <a:gd name="T103" fmla="*/ 0 h 52"/>
                    <a:gd name="T104" fmla="*/ 166 w 166"/>
                    <a:gd name="T105" fmla="*/ 52 h 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6" h="52">
                      <a:moveTo>
                        <a:pt x="148" y="0"/>
                      </a:moveTo>
                      <a:lnTo>
                        <a:pt x="148" y="0"/>
                      </a:lnTo>
                      <a:lnTo>
                        <a:pt x="146" y="4"/>
                      </a:lnTo>
                      <a:lnTo>
                        <a:pt x="138" y="10"/>
                      </a:lnTo>
                      <a:lnTo>
                        <a:pt x="112" y="22"/>
                      </a:lnTo>
                      <a:lnTo>
                        <a:pt x="80" y="36"/>
                      </a:lnTo>
                      <a:lnTo>
                        <a:pt x="52" y="42"/>
                      </a:lnTo>
                      <a:lnTo>
                        <a:pt x="84" y="44"/>
                      </a:lnTo>
                      <a:lnTo>
                        <a:pt x="122" y="44"/>
                      </a:lnTo>
                      <a:lnTo>
                        <a:pt x="152" y="42"/>
                      </a:lnTo>
                      <a:lnTo>
                        <a:pt x="166" y="44"/>
                      </a:lnTo>
                      <a:lnTo>
                        <a:pt x="144" y="48"/>
                      </a:lnTo>
                      <a:lnTo>
                        <a:pt x="102" y="50"/>
                      </a:lnTo>
                      <a:lnTo>
                        <a:pt x="56" y="52"/>
                      </a:lnTo>
                      <a:lnTo>
                        <a:pt x="36" y="50"/>
                      </a:lnTo>
                      <a:lnTo>
                        <a:pt x="22" y="46"/>
                      </a:lnTo>
                      <a:lnTo>
                        <a:pt x="32" y="42"/>
                      </a:lnTo>
                      <a:lnTo>
                        <a:pt x="60" y="34"/>
                      </a:lnTo>
                      <a:lnTo>
                        <a:pt x="92" y="24"/>
                      </a:lnTo>
                      <a:lnTo>
                        <a:pt x="118" y="14"/>
                      </a:lnTo>
                      <a:lnTo>
                        <a:pt x="60" y="16"/>
                      </a:lnTo>
                      <a:lnTo>
                        <a:pt x="28" y="16"/>
                      </a:lnTo>
                      <a:lnTo>
                        <a:pt x="0" y="14"/>
                      </a:lnTo>
                      <a:lnTo>
                        <a:pt x="20" y="10"/>
                      </a:lnTo>
                      <a:lnTo>
                        <a:pt x="68" y="4"/>
                      </a:lnTo>
                      <a:lnTo>
                        <a:pt x="120" y="0"/>
                      </a:lnTo>
                      <a:lnTo>
                        <a:pt x="138" y="0"/>
                      </a:lnTo>
                      <a:lnTo>
                        <a:pt x="1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32" name="Freeform 134"/>
                <p:cNvSpPr>
                  <a:spLocks/>
                </p:cNvSpPr>
                <p:nvPr/>
              </p:nvSpPr>
              <p:spPr bwMode="auto">
                <a:xfrm>
                  <a:off x="5291140" y="3841741"/>
                  <a:ext cx="314325" cy="25400"/>
                </a:xfrm>
                <a:custGeom>
                  <a:avLst/>
                  <a:gdLst>
                    <a:gd name="T0" fmla="*/ 2147483646 w 198"/>
                    <a:gd name="T1" fmla="*/ 2147483646 h 16"/>
                    <a:gd name="T2" fmla="*/ 2147483646 w 198"/>
                    <a:gd name="T3" fmla="*/ 2147483646 h 16"/>
                    <a:gd name="T4" fmla="*/ 2147483646 w 198"/>
                    <a:gd name="T5" fmla="*/ 2147483646 h 16"/>
                    <a:gd name="T6" fmla="*/ 2147483646 w 198"/>
                    <a:gd name="T7" fmla="*/ 2147483646 h 16"/>
                    <a:gd name="T8" fmla="*/ 2147483646 w 198"/>
                    <a:gd name="T9" fmla="*/ 2147483646 h 16"/>
                    <a:gd name="T10" fmla="*/ 2147483646 w 198"/>
                    <a:gd name="T11" fmla="*/ 2147483646 h 16"/>
                    <a:gd name="T12" fmla="*/ 2147483646 w 198"/>
                    <a:gd name="T13" fmla="*/ 2147483646 h 16"/>
                    <a:gd name="T14" fmla="*/ 2147483646 w 198"/>
                    <a:gd name="T15" fmla="*/ 2147483646 h 16"/>
                    <a:gd name="T16" fmla="*/ 2147483646 w 198"/>
                    <a:gd name="T17" fmla="*/ 2147483646 h 16"/>
                    <a:gd name="T18" fmla="*/ 2147483646 w 198"/>
                    <a:gd name="T19" fmla="*/ 2147483646 h 16"/>
                    <a:gd name="T20" fmla="*/ 2147483646 w 198"/>
                    <a:gd name="T21" fmla="*/ 2147483646 h 16"/>
                    <a:gd name="T22" fmla="*/ 2147483646 w 198"/>
                    <a:gd name="T23" fmla="*/ 2147483646 h 16"/>
                    <a:gd name="T24" fmla="*/ 2147483646 w 198"/>
                    <a:gd name="T25" fmla="*/ 2147483646 h 16"/>
                    <a:gd name="T26" fmla="*/ 0 w 198"/>
                    <a:gd name="T27" fmla="*/ 0 h 16"/>
                    <a:gd name="T28" fmla="*/ 0 w 198"/>
                    <a:gd name="T29" fmla="*/ 0 h 16"/>
                    <a:gd name="T30" fmla="*/ 2147483646 w 198"/>
                    <a:gd name="T31" fmla="*/ 2147483646 h 16"/>
                    <a:gd name="T32" fmla="*/ 2147483646 w 198"/>
                    <a:gd name="T33" fmla="*/ 2147483646 h 16"/>
                    <a:gd name="T34" fmla="*/ 2147483646 w 198"/>
                    <a:gd name="T35" fmla="*/ 2147483646 h 16"/>
                    <a:gd name="T36" fmla="*/ 2147483646 w 198"/>
                    <a:gd name="T37" fmla="*/ 2147483646 h 16"/>
                    <a:gd name="T38" fmla="*/ 2147483646 w 198"/>
                    <a:gd name="T39" fmla="*/ 2147483646 h 16"/>
                    <a:gd name="T40" fmla="*/ 2147483646 w 198"/>
                    <a:gd name="T41" fmla="*/ 2147483646 h 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8"/>
                    <a:gd name="T64" fmla="*/ 0 h 16"/>
                    <a:gd name="T65" fmla="*/ 198 w 198"/>
                    <a:gd name="T66" fmla="*/ 16 h 1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8" h="16">
                      <a:moveTo>
                        <a:pt x="198" y="4"/>
                      </a:moveTo>
                      <a:lnTo>
                        <a:pt x="198" y="4"/>
                      </a:lnTo>
                      <a:lnTo>
                        <a:pt x="198" y="6"/>
                      </a:lnTo>
                      <a:lnTo>
                        <a:pt x="198" y="8"/>
                      </a:lnTo>
                      <a:lnTo>
                        <a:pt x="194" y="12"/>
                      </a:lnTo>
                      <a:lnTo>
                        <a:pt x="168" y="16"/>
                      </a:lnTo>
                      <a:lnTo>
                        <a:pt x="138" y="16"/>
                      </a:lnTo>
                      <a:lnTo>
                        <a:pt x="108" y="16"/>
                      </a:lnTo>
                      <a:lnTo>
                        <a:pt x="76" y="14"/>
                      </a:lnTo>
                      <a:lnTo>
                        <a:pt x="48" y="10"/>
                      </a:lnTo>
                      <a:lnTo>
                        <a:pt x="24" y="8"/>
                      </a:lnTo>
                      <a:lnTo>
                        <a:pt x="6" y="4"/>
                      </a:lnTo>
                      <a:lnTo>
                        <a:pt x="0" y="0"/>
                      </a:lnTo>
                      <a:lnTo>
                        <a:pt x="40" y="4"/>
                      </a:lnTo>
                      <a:lnTo>
                        <a:pt x="96" y="6"/>
                      </a:lnTo>
                      <a:lnTo>
                        <a:pt x="152" y="8"/>
                      </a:lnTo>
                      <a:lnTo>
                        <a:pt x="178" y="6"/>
                      </a:lnTo>
                      <a:lnTo>
                        <a:pt x="198"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33" name="Freeform 135"/>
                <p:cNvSpPr>
                  <a:spLocks/>
                </p:cNvSpPr>
                <p:nvPr/>
              </p:nvSpPr>
              <p:spPr bwMode="auto">
                <a:xfrm>
                  <a:off x="5802315" y="3870316"/>
                  <a:ext cx="193675" cy="12700"/>
                </a:xfrm>
                <a:custGeom>
                  <a:avLst/>
                  <a:gdLst>
                    <a:gd name="T0" fmla="*/ 2147483646 w 122"/>
                    <a:gd name="T1" fmla="*/ 0 h 8"/>
                    <a:gd name="T2" fmla="*/ 2147483646 w 122"/>
                    <a:gd name="T3" fmla="*/ 0 h 8"/>
                    <a:gd name="T4" fmla="*/ 2147483646 w 122"/>
                    <a:gd name="T5" fmla="*/ 2147483646 h 8"/>
                    <a:gd name="T6" fmla="*/ 2147483646 w 122"/>
                    <a:gd name="T7" fmla="*/ 2147483646 h 8"/>
                    <a:gd name="T8" fmla="*/ 2147483646 w 122"/>
                    <a:gd name="T9" fmla="*/ 2147483646 h 8"/>
                    <a:gd name="T10" fmla="*/ 2147483646 w 122"/>
                    <a:gd name="T11" fmla="*/ 2147483646 h 8"/>
                    <a:gd name="T12" fmla="*/ 2147483646 w 122"/>
                    <a:gd name="T13" fmla="*/ 2147483646 h 8"/>
                    <a:gd name="T14" fmla="*/ 0 w 122"/>
                    <a:gd name="T15" fmla="*/ 2147483646 h 8"/>
                    <a:gd name="T16" fmla="*/ 2147483646 w 122"/>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2"/>
                    <a:gd name="T28" fmla="*/ 0 h 8"/>
                    <a:gd name="T29" fmla="*/ 122 w 122"/>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2" h="8">
                      <a:moveTo>
                        <a:pt x="122" y="0"/>
                      </a:moveTo>
                      <a:lnTo>
                        <a:pt x="122" y="0"/>
                      </a:lnTo>
                      <a:lnTo>
                        <a:pt x="110" y="4"/>
                      </a:lnTo>
                      <a:lnTo>
                        <a:pt x="96" y="6"/>
                      </a:lnTo>
                      <a:lnTo>
                        <a:pt x="56" y="8"/>
                      </a:lnTo>
                      <a:lnTo>
                        <a:pt x="20" y="8"/>
                      </a:lnTo>
                      <a:lnTo>
                        <a:pt x="8" y="6"/>
                      </a:lnTo>
                      <a:lnTo>
                        <a:pt x="0" y="2"/>
                      </a:lnTo>
                      <a:lnTo>
                        <a:pt x="12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534" name="Freeform 136"/>
                <p:cNvSpPr>
                  <a:spLocks/>
                </p:cNvSpPr>
                <p:nvPr/>
              </p:nvSpPr>
              <p:spPr bwMode="auto">
                <a:xfrm>
                  <a:off x="5437190" y="3911591"/>
                  <a:ext cx="142875" cy="12700"/>
                </a:xfrm>
                <a:custGeom>
                  <a:avLst/>
                  <a:gdLst>
                    <a:gd name="T0" fmla="*/ 2147483646 w 90"/>
                    <a:gd name="T1" fmla="*/ 0 h 8"/>
                    <a:gd name="T2" fmla="*/ 2147483646 w 90"/>
                    <a:gd name="T3" fmla="*/ 0 h 8"/>
                    <a:gd name="T4" fmla="*/ 2147483646 w 90"/>
                    <a:gd name="T5" fmla="*/ 2147483646 h 8"/>
                    <a:gd name="T6" fmla="*/ 2147483646 w 90"/>
                    <a:gd name="T7" fmla="*/ 2147483646 h 8"/>
                    <a:gd name="T8" fmla="*/ 2147483646 w 90"/>
                    <a:gd name="T9" fmla="*/ 2147483646 h 8"/>
                    <a:gd name="T10" fmla="*/ 2147483646 w 90"/>
                    <a:gd name="T11" fmla="*/ 2147483646 h 8"/>
                    <a:gd name="T12" fmla="*/ 0 w 90"/>
                    <a:gd name="T13" fmla="*/ 2147483646 h 8"/>
                    <a:gd name="T14" fmla="*/ 0 w 90"/>
                    <a:gd name="T15" fmla="*/ 2147483646 h 8"/>
                    <a:gd name="T16" fmla="*/ 0 w 90"/>
                    <a:gd name="T17" fmla="*/ 2147483646 h 8"/>
                    <a:gd name="T18" fmla="*/ 2147483646 w 90"/>
                    <a:gd name="T19" fmla="*/ 0 h 8"/>
                    <a:gd name="T20" fmla="*/ 2147483646 w 90"/>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0"/>
                    <a:gd name="T34" fmla="*/ 0 h 8"/>
                    <a:gd name="T35" fmla="*/ 90 w 90"/>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0" h="8">
                      <a:moveTo>
                        <a:pt x="90" y="0"/>
                      </a:moveTo>
                      <a:lnTo>
                        <a:pt x="90" y="0"/>
                      </a:lnTo>
                      <a:lnTo>
                        <a:pt x="84" y="2"/>
                      </a:lnTo>
                      <a:lnTo>
                        <a:pt x="72" y="4"/>
                      </a:lnTo>
                      <a:lnTo>
                        <a:pt x="48" y="8"/>
                      </a:lnTo>
                      <a:lnTo>
                        <a:pt x="20" y="8"/>
                      </a:lnTo>
                      <a:lnTo>
                        <a:pt x="0" y="8"/>
                      </a:lnTo>
                      <a:lnTo>
                        <a:pt x="0" y="2"/>
                      </a:lnTo>
                      <a:lnTo>
                        <a:pt x="9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grpSp>
      <p:sp>
        <p:nvSpPr>
          <p:cNvPr id="537" name="角丸四角形 536"/>
          <p:cNvSpPr/>
          <p:nvPr/>
        </p:nvSpPr>
        <p:spPr>
          <a:xfrm>
            <a:off x="16360902" y="-654735"/>
            <a:ext cx="1489075" cy="1743075"/>
          </a:xfrm>
          <a:prstGeom prst="roundRect">
            <a:avLst>
              <a:gd name="adj" fmla="val 2368"/>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bIns="0" anchor="b"/>
          <a:lstStyle/>
          <a:p>
            <a:pPr algn="ctr" fontAlgn="auto">
              <a:spcBef>
                <a:spcPts val="0"/>
              </a:spcBef>
              <a:spcAft>
                <a:spcPts val="0"/>
              </a:spcAft>
              <a:defRPr/>
            </a:pPr>
            <a:r>
              <a:rPr lang="ja-JP" altLang="en-US" sz="700" dirty="0">
                <a:solidFill>
                  <a:schemeClr val="tx1"/>
                </a:solidFill>
              </a:rPr>
              <a:t>産業へのエネルギー供給</a:t>
            </a:r>
            <a:endParaRPr lang="en-US" altLang="ja-JP" sz="1200" dirty="0">
              <a:solidFill>
                <a:schemeClr val="tx1"/>
              </a:solidFill>
            </a:endParaRPr>
          </a:p>
        </p:txBody>
      </p:sp>
      <p:pic>
        <p:nvPicPr>
          <p:cNvPr id="538" name="Picture 47" descr="ビニールハウスイラスト"/>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7078452" y="-522972"/>
            <a:ext cx="633413" cy="47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9" name="Picture 45" descr="イラスト"/>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6419640" y="-457885"/>
            <a:ext cx="376237"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0" name="テキスト ボックス 2"/>
          <p:cNvSpPr txBox="1">
            <a:spLocks noChangeArrowheads="1"/>
          </p:cNvSpPr>
          <p:nvPr/>
        </p:nvSpPr>
        <p:spPr bwMode="auto">
          <a:xfrm>
            <a:off x="16292640" y="-678547"/>
            <a:ext cx="7254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r>
              <a:rPr lang="ja-JP" altLang="en-US" sz="700">
                <a:latin typeface="Cambria" panose="02040503050406030204" pitchFamily="18" charset="0"/>
                <a:ea typeface="メイリオ" panose="020B0604030504040204" pitchFamily="50" charset="-128"/>
              </a:rPr>
              <a:t>製造、加工</a:t>
            </a:r>
            <a:endParaRPr lang="en-US" altLang="ja-JP" sz="700">
              <a:latin typeface="Cambria" panose="02040503050406030204" pitchFamily="18" charset="0"/>
              <a:ea typeface="メイリオ" panose="020B0604030504040204" pitchFamily="50" charset="-128"/>
            </a:endParaRPr>
          </a:p>
          <a:p>
            <a:pPr eaLnBrk="1" hangingPunct="1">
              <a:spcBef>
                <a:spcPct val="0"/>
              </a:spcBef>
              <a:buFontTx/>
              <a:buNone/>
            </a:pPr>
            <a:r>
              <a:rPr lang="en-US" altLang="ja-JP" sz="700">
                <a:latin typeface="Cambria" panose="02040503050406030204" pitchFamily="18" charset="0"/>
                <a:ea typeface="メイリオ" panose="020B0604030504040204" pitchFamily="50" charset="-128"/>
              </a:rPr>
              <a:t>(</a:t>
            </a:r>
            <a:r>
              <a:rPr lang="ja-JP" altLang="en-US" sz="700">
                <a:latin typeface="Cambria" panose="02040503050406030204" pitchFamily="18" charset="0"/>
                <a:ea typeface="メイリオ" panose="020B0604030504040204" pitchFamily="50" charset="-128"/>
              </a:rPr>
              <a:t>高温利用）</a:t>
            </a:r>
          </a:p>
        </p:txBody>
      </p:sp>
      <p:pic>
        <p:nvPicPr>
          <p:cNvPr id="541" name="Picture 47" descr="D:\Documents and Settings\URA01\デスクトップ\105.png"/>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6475202" y="289828"/>
            <a:ext cx="793750" cy="55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 name="Picture 48" descr="D:\Documents and Settings\URA01\デスクトップ\新しいフォルダー (2)\9121_small.jpg"/>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7102265" y="151715"/>
            <a:ext cx="676275" cy="68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3" name="テキスト ボックス 56"/>
          <p:cNvSpPr txBox="1">
            <a:spLocks noChangeArrowheads="1"/>
          </p:cNvSpPr>
          <p:nvPr/>
        </p:nvSpPr>
        <p:spPr bwMode="auto">
          <a:xfrm>
            <a:off x="16330740" y="778778"/>
            <a:ext cx="15970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r>
              <a:rPr lang="ja-JP" altLang="en-US" sz="900" u="sng">
                <a:latin typeface="Cambria" panose="02040503050406030204" pitchFamily="18" charset="0"/>
                <a:ea typeface="メイリオ" panose="020B0604030504040204" pitchFamily="50" charset="-128"/>
              </a:rPr>
              <a:t>●工場等への大規模熱供給</a:t>
            </a:r>
          </a:p>
        </p:txBody>
      </p:sp>
      <p:sp>
        <p:nvSpPr>
          <p:cNvPr id="544" name="テキスト ボックス 52"/>
          <p:cNvSpPr txBox="1">
            <a:spLocks noChangeArrowheads="1"/>
          </p:cNvSpPr>
          <p:nvPr/>
        </p:nvSpPr>
        <p:spPr bwMode="auto">
          <a:xfrm>
            <a:off x="16945102" y="-665847"/>
            <a:ext cx="90805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r>
              <a:rPr lang="ja-JP" altLang="en-US" sz="600">
                <a:latin typeface="Cambria" panose="02040503050406030204" pitchFamily="18" charset="0"/>
                <a:ea typeface="メイリオ" panose="020B0604030504040204" pitchFamily="50" charset="-128"/>
              </a:rPr>
              <a:t>熱のカスケード利用</a:t>
            </a:r>
          </a:p>
        </p:txBody>
      </p:sp>
      <p:cxnSp>
        <p:nvCxnSpPr>
          <p:cNvPr id="545" name="直線矢印コネクタ 544"/>
          <p:cNvCxnSpPr/>
          <p:nvPr/>
        </p:nvCxnSpPr>
        <p:spPr>
          <a:xfrm flipV="1">
            <a:off x="16802227" y="-288022"/>
            <a:ext cx="228600" cy="20637"/>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546" name="Picture 37" descr="D:\Documents and Settings\URA01\デスクトップ\04sikaku.jpg"/>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6784765" y="-202297"/>
            <a:ext cx="420687"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7" name="テキスト ボックス 45"/>
          <p:cNvSpPr txBox="1">
            <a:spLocks noChangeArrowheads="1"/>
          </p:cNvSpPr>
          <p:nvPr/>
        </p:nvSpPr>
        <p:spPr bwMode="auto">
          <a:xfrm>
            <a:off x="16445040" y="-18147"/>
            <a:ext cx="14811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r>
              <a:rPr lang="ja-JP" altLang="en-US" sz="700">
                <a:latin typeface="Cambria" panose="02040503050406030204" pitchFamily="18" charset="0"/>
                <a:ea typeface="メイリオ" panose="020B0604030504040204" pitchFamily="50" charset="-128"/>
              </a:rPr>
              <a:t>　生産</a:t>
            </a:r>
            <a:r>
              <a:rPr lang="en-US" altLang="ja-JP" sz="700">
                <a:latin typeface="Cambria" panose="02040503050406030204" pitchFamily="18" charset="0"/>
                <a:ea typeface="メイリオ" panose="020B0604030504040204" pitchFamily="50" charset="-128"/>
              </a:rPr>
              <a:t>(</a:t>
            </a:r>
            <a:r>
              <a:rPr lang="ja-JP" altLang="en-US" sz="700">
                <a:latin typeface="Cambria" panose="02040503050406030204" pitchFamily="18" charset="0"/>
                <a:ea typeface="メイリオ" panose="020B0604030504040204" pitchFamily="50" charset="-128"/>
              </a:rPr>
              <a:t>温室への低温利用等）</a:t>
            </a:r>
          </a:p>
        </p:txBody>
      </p:sp>
      <p:sp>
        <p:nvSpPr>
          <p:cNvPr id="548" name="テキスト ボックス 15"/>
          <p:cNvSpPr txBox="1">
            <a:spLocks noChangeArrowheads="1"/>
          </p:cNvSpPr>
          <p:nvPr/>
        </p:nvSpPr>
        <p:spPr bwMode="auto">
          <a:xfrm>
            <a:off x="16360902" y="81865"/>
            <a:ext cx="14652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eaLnBrk="1" hangingPunct="1">
              <a:spcBef>
                <a:spcPct val="0"/>
              </a:spcBef>
              <a:buFontTx/>
              <a:buNone/>
            </a:pPr>
            <a:r>
              <a:rPr lang="ja-JP" altLang="en-US" sz="700" u="sng">
                <a:latin typeface="Cambria" panose="02040503050406030204" pitchFamily="18" charset="0"/>
                <a:ea typeface="メイリオ" panose="020B0604030504040204" pitchFamily="50" charset="-128"/>
              </a:rPr>
              <a:t>●熱需要施設の組み合わせ利用</a:t>
            </a:r>
          </a:p>
        </p:txBody>
      </p:sp>
      <p:sp>
        <p:nvSpPr>
          <p:cNvPr id="549" name="小波 548"/>
          <p:cNvSpPr/>
          <p:nvPr/>
        </p:nvSpPr>
        <p:spPr>
          <a:xfrm>
            <a:off x="13460540" y="3968065"/>
            <a:ext cx="4284662" cy="334963"/>
          </a:xfrm>
          <a:prstGeom prst="doubleWave">
            <a:avLst>
              <a:gd name="adj1" fmla="val 12500"/>
              <a:gd name="adj2" fmla="val 2997"/>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eaLnBrk="1" fontAlgn="auto" hangingPunct="1">
              <a:spcBef>
                <a:spcPts val="0"/>
              </a:spcBef>
              <a:spcAft>
                <a:spcPts val="0"/>
              </a:spcAft>
              <a:defRPr/>
            </a:pPr>
            <a:r>
              <a:rPr lang="ja-JP" altLang="en-US" sz="1200" b="1" dirty="0">
                <a:solidFill>
                  <a:schemeClr val="tx1"/>
                </a:solidFill>
              </a:rPr>
              <a:t>廃棄物発電電力を有効活用</a:t>
            </a:r>
            <a:endParaRPr lang="ja-JP" altLang="en-US" sz="1100" b="1" dirty="0">
              <a:solidFill>
                <a:schemeClr val="tx1"/>
              </a:solidFill>
            </a:endParaRPr>
          </a:p>
        </p:txBody>
      </p:sp>
      <p:sp>
        <p:nvSpPr>
          <p:cNvPr id="550" name="正方形/長方形 549"/>
          <p:cNvSpPr/>
          <p:nvPr/>
        </p:nvSpPr>
        <p:spPr bwMode="auto">
          <a:xfrm>
            <a:off x="16878427" y="3204478"/>
            <a:ext cx="47625" cy="4762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nvGrpSpPr>
          <p:cNvPr id="551" name="グループ化 550"/>
          <p:cNvGrpSpPr/>
          <p:nvPr/>
        </p:nvGrpSpPr>
        <p:grpSpPr bwMode="auto">
          <a:xfrm rot="19954016">
            <a:off x="17607108" y="2579657"/>
            <a:ext cx="58576" cy="140993"/>
            <a:chOff x="12471802" y="3668802"/>
            <a:chExt cx="434170" cy="598160"/>
          </a:xfrm>
          <a:solidFill>
            <a:srgbClr val="E9CF11"/>
          </a:solidFill>
        </p:grpSpPr>
        <p:sp>
          <p:nvSpPr>
            <p:cNvPr id="552" name="二等辺三角形 551"/>
            <p:cNvSpPr/>
            <p:nvPr/>
          </p:nvSpPr>
          <p:spPr>
            <a:xfrm>
              <a:off x="12471802" y="3668802"/>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553" name="二等辺三角形 552"/>
            <p:cNvSpPr/>
            <p:nvPr/>
          </p:nvSpPr>
          <p:spPr>
            <a:xfrm rot="10800000">
              <a:off x="12688887" y="3932793"/>
              <a:ext cx="217085" cy="334169"/>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grpSp>
      <p:sp>
        <p:nvSpPr>
          <p:cNvPr id="554" name="角丸四角形 553"/>
          <p:cNvSpPr/>
          <p:nvPr/>
        </p:nvSpPr>
        <p:spPr>
          <a:xfrm>
            <a:off x="13795502" y="3561665"/>
            <a:ext cx="1536700" cy="354013"/>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ja-JP" altLang="en-US" sz="1000" dirty="0"/>
              <a:t>例　</a:t>
            </a:r>
            <a:r>
              <a:rPr lang="en-US" altLang="ja-JP" sz="1000" dirty="0"/>
              <a:t>EV</a:t>
            </a:r>
            <a:r>
              <a:rPr lang="ja-JP" altLang="en-US" sz="1000" dirty="0"/>
              <a:t>パッカー車による収集運搬低炭素化</a:t>
            </a:r>
          </a:p>
        </p:txBody>
      </p:sp>
      <p:pic>
        <p:nvPicPr>
          <p:cNvPr id="6" name="図 5"/>
          <p:cNvPicPr>
            <a:picLocks noChangeAspect="1"/>
          </p:cNvPicPr>
          <p:nvPr/>
        </p:nvPicPr>
        <p:blipFill>
          <a:blip r:embed="rId41"/>
          <a:stretch>
            <a:fillRect/>
          </a:stretch>
        </p:blipFill>
        <p:spPr>
          <a:xfrm>
            <a:off x="6083838" y="2874789"/>
            <a:ext cx="3753579" cy="2849560"/>
          </a:xfrm>
          <a:prstGeom prst="rect">
            <a:avLst/>
          </a:prstGeom>
        </p:spPr>
      </p:pic>
    </p:spTree>
    <p:extLst>
      <p:ext uri="{BB962C8B-B14F-4D97-AF65-F5344CB8AC3E}">
        <p14:creationId xmlns:p14="http://schemas.microsoft.com/office/powerpoint/2010/main" val="1030480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25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3.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5.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docProps/app.xml><?xml version="1.0" encoding="utf-8"?>
<Properties xmlns="http://schemas.openxmlformats.org/officeDocument/2006/extended-properties" xmlns:vt="http://schemas.openxmlformats.org/officeDocument/2006/docPropsVTypes">
  <Template>Office Theme</Template>
  <Words>712</Words>
  <PresentationFormat>ユーザー設定</PresentationFormat>
  <Paragraphs>136</Paragraphs>
  <Slides>2</Slides>
  <Notes>0</Notes>
  <HiddenSlides>0</HiddenSlides>
  <MMClips>0</MMClips>
  <ScaleCrop>false</ScaleCrop>
  <HeadingPairs>
    <vt:vector size="8" baseType="variant">
      <vt:variant>
        <vt:lpstr>使用されているフォント</vt:lpstr>
      </vt:variant>
      <vt:variant>
        <vt:i4>13</vt:i4>
      </vt:variant>
      <vt:variant>
        <vt:lpstr>テーマ</vt:lpstr>
      </vt:variant>
      <vt:variant>
        <vt:i4>12</vt:i4>
      </vt:variant>
      <vt:variant>
        <vt:lpstr>埋め込まれた OLE サーバー</vt:lpstr>
      </vt:variant>
      <vt:variant>
        <vt:i4>1</vt:i4>
      </vt:variant>
      <vt:variant>
        <vt:lpstr>スライド タイトル</vt:lpstr>
      </vt:variant>
      <vt:variant>
        <vt:i4>2</vt:i4>
      </vt:variant>
    </vt:vector>
  </HeadingPairs>
  <TitlesOfParts>
    <vt:vector size="28" baseType="lpstr">
      <vt:lpstr>HGPｺﾞｼｯｸE</vt:lpstr>
      <vt:lpstr>HGPｺﾞｼｯｸM</vt:lpstr>
      <vt:lpstr>HGｺﾞｼｯｸE</vt:lpstr>
      <vt:lpstr>Meiryo UI</vt:lpstr>
      <vt:lpstr>ＭＳ Ｐゴシック</vt:lpstr>
      <vt:lpstr>Meiryo</vt:lpstr>
      <vt:lpstr>Meiryo</vt:lpstr>
      <vt:lpstr>游ゴシック</vt:lpstr>
      <vt:lpstr>Arial</vt:lpstr>
      <vt:lpstr>Calibri</vt:lpstr>
      <vt:lpstr>Cambria</vt:lpstr>
      <vt:lpstr>Times New Roman</vt:lpstr>
      <vt:lpstr>Wingdings</vt:lpstr>
      <vt:lpstr>1_脱炭素標準フォーマット_20180530</vt:lpstr>
      <vt:lpstr>2_脱炭素標準フォーマット_20180530</vt:lpstr>
      <vt:lpstr>3_脱炭素標準フォーマット_20180530</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9_脱炭素標準フォーマット_20180530</vt:lpstr>
      <vt:lpstr>10_脱炭素標準フォーマット_20180530</vt:lpstr>
      <vt:lpstr>11_脱炭素標準フォーマット_20180530</vt:lpstr>
      <vt:lpstr>25_Office ​​テーマ</vt:lpstr>
      <vt:lpstr>think-cell スライド</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